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"/>
  </p:notesMasterIdLst>
  <p:handoutMasterIdLst>
    <p:handoutMasterId r:id="rId26"/>
  </p:handoutMasterIdLst>
  <p:sldIdLst>
    <p:sldId id="377" r:id="rId3"/>
    <p:sldId id="270" r:id="rId5"/>
    <p:sldId id="427" r:id="rId6"/>
    <p:sldId id="451" r:id="rId7"/>
    <p:sldId id="382" r:id="rId8"/>
    <p:sldId id="383" r:id="rId9"/>
    <p:sldId id="401" r:id="rId10"/>
    <p:sldId id="385" r:id="rId11"/>
    <p:sldId id="386" r:id="rId12"/>
    <p:sldId id="414" r:id="rId13"/>
    <p:sldId id="404" r:id="rId14"/>
    <p:sldId id="416" r:id="rId15"/>
    <p:sldId id="417" r:id="rId16"/>
    <p:sldId id="412" r:id="rId17"/>
    <p:sldId id="430" r:id="rId18"/>
    <p:sldId id="387" r:id="rId19"/>
    <p:sldId id="388" r:id="rId20"/>
    <p:sldId id="472" r:id="rId21"/>
    <p:sldId id="473" r:id="rId22"/>
    <p:sldId id="389" r:id="rId23"/>
    <p:sldId id="391" r:id="rId24"/>
    <p:sldId id="261" r:id="rId25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7" name="1206988966@qq.com" initials="1" lastIdx="1" clrIdx="2"/>
  <p:cmAuthor id="1" name="杨 伟洲" initials="杨" lastIdx="1" clrIdx="0"/>
  <p:cmAuthor id="8" name="姜伟光" initials="姜" lastIdx="1" clrIdx="0"/>
  <p:cmAuthor id="2" name="Fish Zheng" initials="FZ" lastIdx="1" clrIdx="1"/>
  <p:cmAuthor id="3" name="Author" initials="A" lastIdx="0" clrIdx="3"/>
  <p:cmAuthor id="4" name="Administrator" initials="A" lastIdx="4" clrIdx="3"/>
  <p:cmAuthor id="5" name="宋洁然" initials="宋" lastIdx="2" clrIdx="1"/>
  <p:cmAuthor id="6" name="ming qiu" initials="m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B9CDE5"/>
    <a:srgbClr val="16729F"/>
    <a:srgbClr val="92D050"/>
    <a:srgbClr val="F9CD88"/>
    <a:srgbClr val="F5B951"/>
    <a:srgbClr val="F2AB22"/>
    <a:srgbClr val="7EA6E0"/>
    <a:srgbClr val="0070C0"/>
    <a:srgbClr val="FA96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167" autoAdjust="0"/>
    <p:restoredTop sz="96182" autoAdjust="0"/>
  </p:normalViewPr>
  <p:slideViewPr>
    <p:cSldViewPr snapToGrid="0">
      <p:cViewPr varScale="1">
        <p:scale>
          <a:sx n="66" d="100"/>
          <a:sy n="66" d="100"/>
        </p:scale>
        <p:origin x="204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1" Type="http://schemas.openxmlformats.org/officeDocument/2006/relationships/tags" Target="tags/tag229.xml"/><Relationship Id="rId30" Type="http://schemas.openxmlformats.org/officeDocument/2006/relationships/commentAuthors" Target="commentAuthors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#1">
  <dgm:title val=""/>
  <dgm:desc val=""/>
  <dgm:catLst>
    <dgm:cat type="accent2" pri="11200"/>
  </dgm:catLst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E91E16-F082-4B31-ADE7-7CD10EF6E4C2}" type="doc">
      <dgm:prSet loTypeId="urn:microsoft.com/office/officeart/2005/8/layout/list1#1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5FA95AE3-F34F-4AED-BA2B-BF728ACC8F94}">
      <dgm:prSet/>
      <dgm:spPr>
        <a:solidFill>
          <a:srgbClr val="E0620E"/>
        </a:solidFill>
      </dgm:spPr>
      <dgm:t>
        <a:bodyPr/>
        <a:lstStyle/>
        <a:p>
          <a:r>
            <a:rPr lang="zh-CN" b="1" dirty="0"/>
            <a:t>基于</a:t>
          </a:r>
          <a:r>
            <a:rPr lang="en-US" b="1" dirty="0"/>
            <a:t>PostgreSQL 15.2</a:t>
          </a:r>
        </a:p>
      </dgm:t>
    </dgm:pt>
    <dgm:pt modelId="{D5085ED9-03CF-4F14-8E80-E6E66D282925}" cxnId="{68BE7549-63F2-4D80-8629-B9B12CB21861}" type="parTrans">
      <dgm:prSet/>
      <dgm:spPr/>
      <dgm:t>
        <a:bodyPr/>
        <a:lstStyle/>
        <a:p>
          <a:endParaRPr lang="en-US"/>
        </a:p>
      </dgm:t>
    </dgm:pt>
    <dgm:pt modelId="{43C72B23-79E0-44BD-9FB5-EF0CBAB7F61F}" cxnId="{68BE7549-63F2-4D80-8629-B9B12CB21861}" type="sibTrans">
      <dgm:prSet/>
      <dgm:spPr/>
      <dgm:t>
        <a:bodyPr/>
        <a:lstStyle/>
        <a:p>
          <a:endParaRPr lang="en-US"/>
        </a:p>
      </dgm:t>
    </dgm:pt>
    <dgm:pt modelId="{0192BA22-4805-45AB-9FEA-EA25013F2C9C}">
      <dgm:prSet/>
      <dgm:spPr>
        <a:solidFill>
          <a:srgbClr val="E0620E"/>
        </a:solidFill>
      </dgm:spPr>
      <dgm:t>
        <a:bodyPr/>
        <a:lstStyle/>
        <a:p>
          <a:r>
            <a:rPr lang="en-US" b="1" dirty="0"/>
            <a:t>IvorySQL</a:t>
          </a:r>
          <a:r>
            <a:rPr lang="zh-CN" b="1" dirty="0"/>
            <a:t>包括如下特性：</a:t>
          </a:r>
          <a:endParaRPr lang="en-US" b="1" dirty="0"/>
        </a:p>
      </dgm:t>
    </dgm:pt>
    <dgm:pt modelId="{CC192264-2135-4ED2-B354-E92570CFD125}" cxnId="{A49D4BF3-386E-4654-AF4B-613309A88E70}" type="parTrans">
      <dgm:prSet/>
      <dgm:spPr/>
      <dgm:t>
        <a:bodyPr/>
        <a:lstStyle/>
        <a:p>
          <a:endParaRPr lang="en-US"/>
        </a:p>
      </dgm:t>
    </dgm:pt>
    <dgm:pt modelId="{36DC77A8-6808-45BE-A09B-669F13F79BA4}" cxnId="{A49D4BF3-386E-4654-AF4B-613309A88E70}" type="sibTrans">
      <dgm:prSet/>
      <dgm:spPr/>
      <dgm:t>
        <a:bodyPr/>
        <a:lstStyle/>
        <a:p>
          <a:endParaRPr lang="en-US"/>
        </a:p>
      </dgm:t>
    </dgm:pt>
    <dgm:pt modelId="{0DF72336-F787-4CB3-984F-F314D5CD06E4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en-US" dirty="0">
              <a:latin typeface="Abadi" panose="020B0604020104020204" pitchFamily="34" charset="0"/>
            </a:rPr>
            <a:t>Oracle</a:t>
          </a:r>
          <a:r>
            <a:rPr lang="zh-CN" dirty="0">
              <a:latin typeface="Abadi" panose="020B0604020104020204" pitchFamily="34" charset="0"/>
            </a:rPr>
            <a:t>兼容</a:t>
          </a:r>
          <a:r>
            <a:rPr lang="en-US" dirty="0">
              <a:latin typeface="Abadi" panose="020B0604020104020204" pitchFamily="34" charset="0"/>
            </a:rPr>
            <a:t>-</a:t>
          </a:r>
          <a:r>
            <a:rPr lang="zh-CN" dirty="0">
              <a:latin typeface="Abadi" panose="020B0604020104020204" pitchFamily="34" charset="0"/>
            </a:rPr>
            <a:t>函数</a:t>
          </a:r>
          <a:endParaRPr lang="en-US" dirty="0">
            <a:latin typeface="Abadi" panose="020B0604020104020204" pitchFamily="34" charset="0"/>
          </a:endParaRPr>
        </a:p>
      </dgm:t>
    </dgm:pt>
    <dgm:pt modelId="{B7A5F468-3FF9-4472-B4AB-54183022BC02}" cxnId="{6F7D205A-3D85-4E27-86F2-49058BE31924}" type="parTrans">
      <dgm:prSet/>
      <dgm:spPr/>
      <dgm:t>
        <a:bodyPr/>
        <a:lstStyle/>
        <a:p>
          <a:endParaRPr lang="en-US"/>
        </a:p>
      </dgm:t>
    </dgm:pt>
    <dgm:pt modelId="{D2C74693-743C-415B-B600-01F9E0C0B527}" cxnId="{6F7D205A-3D85-4E27-86F2-49058BE31924}" type="sibTrans">
      <dgm:prSet/>
      <dgm:spPr/>
      <dgm:t>
        <a:bodyPr/>
        <a:lstStyle/>
        <a:p>
          <a:endParaRPr lang="en-US"/>
        </a:p>
      </dgm:t>
    </dgm:pt>
    <dgm:pt modelId="{88DDA7BF-93BA-4566-AD69-926F84BFE423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en-US" dirty="0">
              <a:latin typeface="Abadi" panose="020B0604020104020204" pitchFamily="34" charset="0"/>
            </a:rPr>
            <a:t>Oracle</a:t>
          </a:r>
          <a:r>
            <a:rPr lang="zh-CN" dirty="0">
              <a:latin typeface="Abadi" panose="020B0604020104020204" pitchFamily="34" charset="0"/>
            </a:rPr>
            <a:t>兼容</a:t>
          </a:r>
          <a:r>
            <a:rPr lang="en-US" dirty="0">
              <a:latin typeface="Abadi" panose="020B0604020104020204" pitchFamily="34" charset="0"/>
            </a:rPr>
            <a:t>-PL/</a:t>
          </a:r>
          <a:r>
            <a:rPr lang="en-US" dirty="0" err="1">
              <a:latin typeface="Abadi" panose="020B0604020104020204" pitchFamily="34" charset="0"/>
            </a:rPr>
            <a:t>iSQL</a:t>
          </a:r>
          <a:r>
            <a:rPr lang="zh-CN" dirty="0">
              <a:latin typeface="Abadi" panose="020B0604020104020204" pitchFamily="34" charset="0"/>
            </a:rPr>
            <a:t>过程语言</a:t>
          </a:r>
          <a:endParaRPr lang="en-US" dirty="0">
            <a:latin typeface="Abadi" panose="020B0604020104020204" pitchFamily="34" charset="0"/>
          </a:endParaRPr>
        </a:p>
      </dgm:t>
    </dgm:pt>
    <dgm:pt modelId="{1CE255E9-6B20-462A-93B7-2C33278136FB}" cxnId="{A1D62739-2227-4BC0-9F1A-DC9B398AA31B}" type="parTrans">
      <dgm:prSet/>
      <dgm:spPr/>
      <dgm:t>
        <a:bodyPr/>
        <a:lstStyle/>
        <a:p>
          <a:endParaRPr lang="en-US"/>
        </a:p>
      </dgm:t>
    </dgm:pt>
    <dgm:pt modelId="{EF5CC206-8D48-4BF8-B4E4-257DB9C39F0B}" cxnId="{A1D62739-2227-4BC0-9F1A-DC9B398AA31B}" type="sibTrans">
      <dgm:prSet/>
      <dgm:spPr/>
      <dgm:t>
        <a:bodyPr/>
        <a:lstStyle/>
        <a:p>
          <a:endParaRPr lang="en-US"/>
        </a:p>
      </dgm:t>
    </dgm:pt>
    <dgm:pt modelId="{372E193C-B5E5-4478-9D25-CB7808114591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en-US" dirty="0">
              <a:latin typeface="Abadi" panose="020B0604020104020204" pitchFamily="34" charset="0"/>
            </a:rPr>
            <a:t>Oracle</a:t>
          </a:r>
          <a:r>
            <a:rPr lang="zh-CN" dirty="0">
              <a:latin typeface="Abadi" panose="020B0604020104020204" pitchFamily="34" charset="0"/>
            </a:rPr>
            <a:t>兼容</a:t>
          </a:r>
          <a:r>
            <a:rPr lang="en-US" dirty="0">
              <a:latin typeface="Abadi" panose="020B0604020104020204" pitchFamily="34" charset="0"/>
            </a:rPr>
            <a:t>-</a:t>
          </a:r>
          <a:r>
            <a:rPr lang="zh-CN" dirty="0">
              <a:latin typeface="Abadi" panose="020B0604020104020204" pitchFamily="34" charset="0"/>
            </a:rPr>
            <a:t>多种</a:t>
          </a:r>
          <a:r>
            <a:rPr lang="en-US" dirty="0">
              <a:latin typeface="Abadi" panose="020B0604020104020204" pitchFamily="34" charset="0"/>
            </a:rPr>
            <a:t>DDL</a:t>
          </a:r>
          <a:r>
            <a:rPr lang="zh-CN" dirty="0">
              <a:latin typeface="Abadi" panose="020B0604020104020204" pitchFamily="34" charset="0"/>
            </a:rPr>
            <a:t>和</a:t>
          </a:r>
          <a:r>
            <a:rPr lang="en-US" dirty="0">
              <a:latin typeface="Abadi" panose="020B0604020104020204" pitchFamily="34" charset="0"/>
            </a:rPr>
            <a:t>DML</a:t>
          </a:r>
          <a:r>
            <a:rPr lang="zh-CN" dirty="0">
              <a:latin typeface="Abadi" panose="020B0604020104020204" pitchFamily="34" charset="0"/>
            </a:rPr>
            <a:t>语法</a:t>
          </a:r>
          <a:endParaRPr lang="en-US" dirty="0">
            <a:latin typeface="Abadi" panose="020B0604020104020204" pitchFamily="34" charset="0"/>
          </a:endParaRPr>
        </a:p>
      </dgm:t>
    </dgm:pt>
    <dgm:pt modelId="{A57E4363-18A0-4521-BA10-04A406DFE77D}" cxnId="{558FD7C7-EF05-4CA5-AB03-B6CEE94194DB}" type="parTrans">
      <dgm:prSet/>
      <dgm:spPr/>
      <dgm:t>
        <a:bodyPr/>
        <a:lstStyle/>
        <a:p>
          <a:endParaRPr lang="en-US"/>
        </a:p>
      </dgm:t>
    </dgm:pt>
    <dgm:pt modelId="{36B52D0E-EA5B-4B29-AC73-47F09CB79428}" cxnId="{558FD7C7-EF05-4CA5-AB03-B6CEE94194DB}" type="sibTrans">
      <dgm:prSet/>
      <dgm:spPr/>
      <dgm:t>
        <a:bodyPr/>
        <a:lstStyle/>
        <a:p>
          <a:endParaRPr lang="en-US"/>
        </a:p>
      </dgm:t>
    </dgm:pt>
    <dgm:pt modelId="{C223C130-CD27-4FA1-934E-A1BD98C2544E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en-US" dirty="0">
              <a:latin typeface="Abadi" panose="020B0604020104020204" pitchFamily="34" charset="0"/>
            </a:rPr>
            <a:t>Oracle</a:t>
          </a:r>
          <a:r>
            <a:rPr lang="zh-CN" dirty="0">
              <a:latin typeface="Abadi" panose="020B0604020104020204" pitchFamily="34" charset="0"/>
            </a:rPr>
            <a:t>兼容</a:t>
          </a:r>
          <a:r>
            <a:rPr lang="en-US" dirty="0">
              <a:latin typeface="Abadi" panose="020B0604020104020204" pitchFamily="34" charset="0"/>
            </a:rPr>
            <a:t>-</a:t>
          </a:r>
          <a:r>
            <a:rPr lang="zh-CN" dirty="0">
              <a:latin typeface="Abadi" panose="020B0604020104020204" pitchFamily="34" charset="0"/>
            </a:rPr>
            <a:t>日期</a:t>
          </a:r>
          <a:r>
            <a:rPr lang="en-US" dirty="0">
              <a:latin typeface="Abadi" panose="020B0604020104020204" pitchFamily="34" charset="0"/>
            </a:rPr>
            <a:t>/</a:t>
          </a:r>
          <a:r>
            <a:rPr lang="zh-CN" dirty="0">
              <a:latin typeface="Abadi" panose="020B0604020104020204" pitchFamily="34" charset="0"/>
            </a:rPr>
            <a:t>时间函数</a:t>
          </a:r>
          <a:endParaRPr lang="en-US" dirty="0">
            <a:latin typeface="Abadi" panose="020B0604020104020204" pitchFamily="34" charset="0"/>
          </a:endParaRPr>
        </a:p>
      </dgm:t>
    </dgm:pt>
    <dgm:pt modelId="{6C5C9ACF-295D-4DA1-93B2-57FE22642073}" cxnId="{1F41F730-25E4-41A3-AD3B-4900D1D2963E}" type="parTrans">
      <dgm:prSet/>
      <dgm:spPr/>
      <dgm:t>
        <a:bodyPr/>
        <a:lstStyle/>
        <a:p>
          <a:endParaRPr lang="en-US"/>
        </a:p>
      </dgm:t>
    </dgm:pt>
    <dgm:pt modelId="{69F1B679-2593-4508-B5D3-D5456AA2AD2E}" cxnId="{1F41F730-25E4-41A3-AD3B-4900D1D2963E}" type="sibTrans">
      <dgm:prSet/>
      <dgm:spPr/>
      <dgm:t>
        <a:bodyPr/>
        <a:lstStyle/>
        <a:p>
          <a:endParaRPr lang="en-US"/>
        </a:p>
      </dgm:t>
    </dgm:pt>
    <dgm:pt modelId="{AB5BFC01-C48A-4148-979B-86162003EC96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zh-CN" dirty="0">
              <a:latin typeface="Abadi" panose="020B0604020104020204" pitchFamily="34" charset="0"/>
            </a:rPr>
            <a:t>支持层次查询</a:t>
          </a:r>
          <a:endParaRPr lang="en-US" dirty="0">
            <a:latin typeface="Abadi" panose="020B0604020104020204" pitchFamily="34" charset="0"/>
          </a:endParaRPr>
        </a:p>
      </dgm:t>
    </dgm:pt>
    <dgm:pt modelId="{B8A0ADCD-3AA9-47D7-82BB-676A0A64B8F3}" cxnId="{E384CEE0-66BB-4B6F-ABD9-56EC56EBE1FA}" type="parTrans">
      <dgm:prSet/>
      <dgm:spPr/>
      <dgm:t>
        <a:bodyPr/>
        <a:lstStyle/>
        <a:p>
          <a:endParaRPr lang="en-US"/>
        </a:p>
      </dgm:t>
    </dgm:pt>
    <dgm:pt modelId="{5A9BDBAA-D4B3-41F8-9071-D93D13F20C49}" cxnId="{E384CEE0-66BB-4B6F-ABD9-56EC56EBE1FA}" type="sibTrans">
      <dgm:prSet/>
      <dgm:spPr/>
      <dgm:t>
        <a:bodyPr/>
        <a:lstStyle/>
        <a:p>
          <a:endParaRPr lang="en-US"/>
        </a:p>
      </dgm:t>
    </dgm:pt>
    <dgm:pt modelId="{566D7951-E47C-45DA-84E6-82C6B7980966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zh-CN">
              <a:latin typeface="Abadi" panose="020B0604020104020204" pitchFamily="34" charset="0"/>
            </a:rPr>
            <a:t>支持匿名块</a:t>
          </a:r>
          <a:endParaRPr lang="en-US">
            <a:latin typeface="Abadi" panose="020B0604020104020204" pitchFamily="34" charset="0"/>
          </a:endParaRPr>
        </a:p>
      </dgm:t>
    </dgm:pt>
    <dgm:pt modelId="{3C84CB5F-2319-4535-A094-F53DCFE1FD05}" cxnId="{95F1EB48-3FBC-47BE-BB5C-1D1A792A90B3}" type="parTrans">
      <dgm:prSet/>
      <dgm:spPr/>
      <dgm:t>
        <a:bodyPr/>
        <a:lstStyle/>
        <a:p>
          <a:endParaRPr lang="en-US"/>
        </a:p>
      </dgm:t>
    </dgm:pt>
    <dgm:pt modelId="{13BE9727-EC5E-4229-8FBB-D1C50CCCD0AD}" cxnId="{95F1EB48-3FBC-47BE-BB5C-1D1A792A90B3}" type="sibTrans">
      <dgm:prSet/>
      <dgm:spPr/>
      <dgm:t>
        <a:bodyPr/>
        <a:lstStyle/>
        <a:p>
          <a:endParaRPr lang="en-US"/>
        </a:p>
      </dgm:t>
    </dgm:pt>
    <dgm:pt modelId="{4FAFAB8E-B976-47BC-9DFD-54A1507601C5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zh-CN" dirty="0">
              <a:latin typeface="Abadi" panose="020B0604020104020204" pitchFamily="34" charset="0"/>
            </a:rPr>
            <a:t>通过</a:t>
          </a:r>
          <a:r>
            <a:rPr lang="en-US" dirty="0">
              <a:latin typeface="Abadi" panose="020B0604020104020204" pitchFamily="34" charset="0"/>
            </a:rPr>
            <a:t>GUC</a:t>
          </a:r>
          <a:r>
            <a:rPr lang="zh-CN" dirty="0">
              <a:latin typeface="Abadi" panose="020B0604020104020204" pitchFamily="34" charset="0"/>
            </a:rPr>
            <a:t>参数切换</a:t>
          </a:r>
          <a:r>
            <a:rPr lang="en-US" dirty="0">
              <a:latin typeface="Abadi" panose="020B0604020104020204" pitchFamily="34" charset="0"/>
            </a:rPr>
            <a:t>Oracle</a:t>
          </a:r>
          <a:r>
            <a:rPr lang="zh-CN" dirty="0">
              <a:latin typeface="Abadi" panose="020B0604020104020204" pitchFamily="34" charset="0"/>
            </a:rPr>
            <a:t>和</a:t>
          </a:r>
          <a:r>
            <a:rPr lang="en-US" dirty="0">
              <a:latin typeface="Abadi" panose="020B0604020104020204" pitchFamily="34" charset="0"/>
            </a:rPr>
            <a:t>PostgreSQL</a:t>
          </a:r>
          <a:r>
            <a:rPr lang="zh-CN" dirty="0">
              <a:latin typeface="Abadi" panose="020B0604020104020204" pitchFamily="34" charset="0"/>
            </a:rPr>
            <a:t>模式</a:t>
          </a:r>
          <a:endParaRPr lang="en-US" dirty="0">
            <a:latin typeface="Abadi" panose="020B0604020104020204" pitchFamily="34" charset="0"/>
          </a:endParaRPr>
        </a:p>
      </dgm:t>
    </dgm:pt>
    <dgm:pt modelId="{0FD81E33-A816-40D7-9221-23C3861D2910}" cxnId="{0D38EB3C-B7A9-45D0-A372-2CA62FDEB3CC}" type="parTrans">
      <dgm:prSet/>
      <dgm:spPr/>
      <dgm:t>
        <a:bodyPr/>
        <a:lstStyle/>
        <a:p>
          <a:endParaRPr lang="en-US"/>
        </a:p>
      </dgm:t>
    </dgm:pt>
    <dgm:pt modelId="{5B4423E1-2547-4789-90CC-A16382F09EB6}" cxnId="{0D38EB3C-B7A9-45D0-A372-2CA62FDEB3CC}" type="sibTrans">
      <dgm:prSet/>
      <dgm:spPr/>
      <dgm:t>
        <a:bodyPr/>
        <a:lstStyle/>
        <a:p>
          <a:endParaRPr lang="en-US"/>
        </a:p>
      </dgm:t>
    </dgm:pt>
    <dgm:pt modelId="{D71285D9-D75C-4581-BDF3-AA67BC78FE37}">
      <dgm:prSet/>
      <dgm:spPr>
        <a:solidFill>
          <a:srgbClr val="F5F6F7">
            <a:alpha val="90000"/>
          </a:srgbClr>
        </a:solidFill>
      </dgm:spPr>
      <dgm:t>
        <a:bodyPr/>
        <a:lstStyle/>
        <a:p>
          <a:r>
            <a:rPr lang="zh-CN" dirty="0">
              <a:latin typeface="Abadi" panose="020B0604020104020204" pitchFamily="34" charset="0"/>
            </a:rPr>
            <a:t>支持</a:t>
          </a:r>
          <a:r>
            <a:rPr lang="en-US" dirty="0">
              <a:latin typeface="Abadi" panose="020B0604020104020204" pitchFamily="34" charset="0"/>
            </a:rPr>
            <a:t>Package</a:t>
          </a:r>
        </a:p>
      </dgm:t>
    </dgm:pt>
    <dgm:pt modelId="{53B821F4-157C-4C3A-AB81-70A2CFB11D4A}" cxnId="{629B6D32-3E87-4C2D-A746-4E5AC00BBE91}" type="parTrans">
      <dgm:prSet/>
      <dgm:spPr/>
      <dgm:t>
        <a:bodyPr/>
        <a:lstStyle/>
        <a:p>
          <a:endParaRPr lang="en-US"/>
        </a:p>
      </dgm:t>
    </dgm:pt>
    <dgm:pt modelId="{5682DA6B-B610-41DB-8D07-08D3F3842A05}" cxnId="{629B6D32-3E87-4C2D-A746-4E5AC00BBE91}" type="sibTrans">
      <dgm:prSet/>
      <dgm:spPr/>
      <dgm:t>
        <a:bodyPr/>
        <a:lstStyle/>
        <a:p>
          <a:endParaRPr lang="en-US"/>
        </a:p>
      </dgm:t>
    </dgm:pt>
    <dgm:pt modelId="{917A9EEF-065E-4571-B3F9-6C79C3194383}" type="pres">
      <dgm:prSet presAssocID="{64E91E16-F082-4B31-ADE7-7CD10EF6E4C2}" presName="linear" presStyleCnt="0">
        <dgm:presLayoutVars>
          <dgm:dir/>
          <dgm:animLvl val="lvl"/>
          <dgm:resizeHandles val="exact"/>
        </dgm:presLayoutVars>
      </dgm:prSet>
      <dgm:spPr/>
    </dgm:pt>
    <dgm:pt modelId="{4DEBCDC6-89D8-458F-A0EF-52C74811575C}" type="pres">
      <dgm:prSet presAssocID="{5FA95AE3-F34F-4AED-BA2B-BF728ACC8F94}" presName="parentLin" presStyleCnt="0"/>
      <dgm:spPr/>
    </dgm:pt>
    <dgm:pt modelId="{2A8A3D37-088B-4E4D-BD25-341E1276C3C7}" type="pres">
      <dgm:prSet presAssocID="{5FA95AE3-F34F-4AED-BA2B-BF728ACC8F94}" presName="parentLeftMargin" presStyleLbl="node1" presStyleIdx="0" presStyleCnt="2"/>
      <dgm:spPr/>
    </dgm:pt>
    <dgm:pt modelId="{AB069E6D-E9DE-4C48-9CA1-44BCBBD2E755}" type="pres">
      <dgm:prSet presAssocID="{5FA95AE3-F34F-4AED-BA2B-BF728ACC8F94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89EFD807-199F-40C8-B9CD-DD80DA6D99C1}" type="pres">
      <dgm:prSet presAssocID="{5FA95AE3-F34F-4AED-BA2B-BF728ACC8F94}" presName="negativeSpace" presStyleCnt="0"/>
      <dgm:spPr/>
    </dgm:pt>
    <dgm:pt modelId="{CC1EB740-71C8-488A-8E0E-D42E01436A42}" type="pres">
      <dgm:prSet presAssocID="{5FA95AE3-F34F-4AED-BA2B-BF728ACC8F94}" presName="childText" presStyleLbl="conFgAcc1" presStyleIdx="0" presStyleCnt="2">
        <dgm:presLayoutVars>
          <dgm:bulletEnabled val="1"/>
        </dgm:presLayoutVars>
      </dgm:prSet>
      <dgm:spPr>
        <a:solidFill>
          <a:srgbClr val="F5F6F7">
            <a:alpha val="90000"/>
          </a:srgbClr>
        </a:solidFill>
      </dgm:spPr>
    </dgm:pt>
    <dgm:pt modelId="{752F917A-FA4E-4376-9BF0-818180BC2DCD}" type="pres">
      <dgm:prSet presAssocID="{43C72B23-79E0-44BD-9FB5-EF0CBAB7F61F}" presName="spaceBetweenRectangles" presStyleCnt="0"/>
      <dgm:spPr/>
    </dgm:pt>
    <dgm:pt modelId="{700F7459-4CCE-44A7-9905-E400B34E4152}" type="pres">
      <dgm:prSet presAssocID="{0192BA22-4805-45AB-9FEA-EA25013F2C9C}" presName="parentLin" presStyleCnt="0"/>
      <dgm:spPr/>
    </dgm:pt>
    <dgm:pt modelId="{818385CA-42DB-4317-A353-C43E7C4CF394}" type="pres">
      <dgm:prSet presAssocID="{0192BA22-4805-45AB-9FEA-EA25013F2C9C}" presName="parentLeftMargin" presStyleLbl="node1" presStyleIdx="0" presStyleCnt="2"/>
      <dgm:spPr/>
    </dgm:pt>
    <dgm:pt modelId="{40A4093A-4F98-45C4-A251-663208A3364E}" type="pres">
      <dgm:prSet presAssocID="{0192BA22-4805-45AB-9FEA-EA25013F2C9C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7CB2D37E-132B-456F-9A73-325932C32BE9}" type="pres">
      <dgm:prSet presAssocID="{0192BA22-4805-45AB-9FEA-EA25013F2C9C}" presName="negativeSpace" presStyleCnt="0"/>
      <dgm:spPr/>
    </dgm:pt>
    <dgm:pt modelId="{05126D3A-1B11-40E4-B491-EF4D347DA87E}" type="pres">
      <dgm:prSet presAssocID="{0192BA22-4805-45AB-9FEA-EA25013F2C9C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93ED4412-D930-4B7F-860C-6F49E0FE533E}" type="presOf" srcId="{C223C130-CD27-4FA1-934E-A1BD98C2544E}" destId="{05126D3A-1B11-40E4-B491-EF4D347DA87E}" srcOrd="0" destOrd="3" presId="urn:microsoft.com/office/officeart/2005/8/layout/list1#1"/>
    <dgm:cxn modelId="{2B006727-C528-4158-A480-ADC2084F1926}" type="presOf" srcId="{566D7951-E47C-45DA-84E6-82C6B7980966}" destId="{05126D3A-1B11-40E4-B491-EF4D347DA87E}" srcOrd="0" destOrd="5" presId="urn:microsoft.com/office/officeart/2005/8/layout/list1#1"/>
    <dgm:cxn modelId="{1F41F730-25E4-41A3-AD3B-4900D1D2963E}" srcId="{0192BA22-4805-45AB-9FEA-EA25013F2C9C}" destId="{C223C130-CD27-4FA1-934E-A1BD98C2544E}" srcOrd="3" destOrd="0" parTransId="{6C5C9ACF-295D-4DA1-93B2-57FE22642073}" sibTransId="{69F1B679-2593-4508-B5D3-D5456AA2AD2E}"/>
    <dgm:cxn modelId="{629B6D32-3E87-4C2D-A746-4E5AC00BBE91}" srcId="{566D7951-E47C-45DA-84E6-82C6B7980966}" destId="{D71285D9-D75C-4581-BDF3-AA67BC78FE37}" srcOrd="1" destOrd="0" parTransId="{53B821F4-157C-4C3A-AB81-70A2CFB11D4A}" sibTransId="{5682DA6B-B610-41DB-8D07-08D3F3842A05}"/>
    <dgm:cxn modelId="{A1D62739-2227-4BC0-9F1A-DC9B398AA31B}" srcId="{0192BA22-4805-45AB-9FEA-EA25013F2C9C}" destId="{88DDA7BF-93BA-4566-AD69-926F84BFE423}" srcOrd="1" destOrd="0" parTransId="{1CE255E9-6B20-462A-93B7-2C33278136FB}" sibTransId="{EF5CC206-8D48-4BF8-B4E4-257DB9C39F0B}"/>
    <dgm:cxn modelId="{0D38EB3C-B7A9-45D0-A372-2CA62FDEB3CC}" srcId="{566D7951-E47C-45DA-84E6-82C6B7980966}" destId="{4FAFAB8E-B976-47BC-9DFD-54A1507601C5}" srcOrd="0" destOrd="0" parTransId="{0FD81E33-A816-40D7-9221-23C3861D2910}" sibTransId="{5B4423E1-2547-4789-90CC-A16382F09EB6}"/>
    <dgm:cxn modelId="{854ADF63-9B9B-4622-A802-55554C842233}" type="presOf" srcId="{5FA95AE3-F34F-4AED-BA2B-BF728ACC8F94}" destId="{AB069E6D-E9DE-4C48-9CA1-44BCBBD2E755}" srcOrd="1" destOrd="0" presId="urn:microsoft.com/office/officeart/2005/8/layout/list1#1"/>
    <dgm:cxn modelId="{FECCA244-C182-4F90-9D43-5772E69B7FB5}" type="presOf" srcId="{5FA95AE3-F34F-4AED-BA2B-BF728ACC8F94}" destId="{2A8A3D37-088B-4E4D-BD25-341E1276C3C7}" srcOrd="0" destOrd="0" presId="urn:microsoft.com/office/officeart/2005/8/layout/list1#1"/>
    <dgm:cxn modelId="{652ECE67-78F8-4045-B49E-D0A355FF6A4B}" type="presOf" srcId="{88DDA7BF-93BA-4566-AD69-926F84BFE423}" destId="{05126D3A-1B11-40E4-B491-EF4D347DA87E}" srcOrd="0" destOrd="1" presId="urn:microsoft.com/office/officeart/2005/8/layout/list1#1"/>
    <dgm:cxn modelId="{95F1EB48-3FBC-47BE-BB5C-1D1A792A90B3}" srcId="{0192BA22-4805-45AB-9FEA-EA25013F2C9C}" destId="{566D7951-E47C-45DA-84E6-82C6B7980966}" srcOrd="5" destOrd="0" parTransId="{3C84CB5F-2319-4535-A094-F53DCFE1FD05}" sibTransId="{13BE9727-EC5E-4229-8FBB-D1C50CCCD0AD}"/>
    <dgm:cxn modelId="{68BE7549-63F2-4D80-8629-B9B12CB21861}" srcId="{64E91E16-F082-4B31-ADE7-7CD10EF6E4C2}" destId="{5FA95AE3-F34F-4AED-BA2B-BF728ACC8F94}" srcOrd="0" destOrd="0" parTransId="{D5085ED9-03CF-4F14-8E80-E6E66D282925}" sibTransId="{43C72B23-79E0-44BD-9FB5-EF0CBAB7F61F}"/>
    <dgm:cxn modelId="{8F169B71-8EAF-4D9B-B5DE-9EC646136C60}" type="presOf" srcId="{4FAFAB8E-B976-47BC-9DFD-54A1507601C5}" destId="{05126D3A-1B11-40E4-B491-EF4D347DA87E}" srcOrd="0" destOrd="6" presId="urn:microsoft.com/office/officeart/2005/8/layout/list1#1"/>
    <dgm:cxn modelId="{6F7D205A-3D85-4E27-86F2-49058BE31924}" srcId="{0192BA22-4805-45AB-9FEA-EA25013F2C9C}" destId="{0DF72336-F787-4CB3-984F-F314D5CD06E4}" srcOrd="0" destOrd="0" parTransId="{B7A5F468-3FF9-4472-B4AB-54183022BC02}" sibTransId="{D2C74693-743C-415B-B600-01F9E0C0B527}"/>
    <dgm:cxn modelId="{1E9B7F94-CD3C-4124-8CE1-4553B7722B35}" type="presOf" srcId="{AB5BFC01-C48A-4148-979B-86162003EC96}" destId="{05126D3A-1B11-40E4-B491-EF4D347DA87E}" srcOrd="0" destOrd="4" presId="urn:microsoft.com/office/officeart/2005/8/layout/list1#1"/>
    <dgm:cxn modelId="{77E3B9B3-4CDC-4F38-A681-BCB262685A90}" type="presOf" srcId="{0192BA22-4805-45AB-9FEA-EA25013F2C9C}" destId="{40A4093A-4F98-45C4-A251-663208A3364E}" srcOrd="1" destOrd="0" presId="urn:microsoft.com/office/officeart/2005/8/layout/list1#1"/>
    <dgm:cxn modelId="{558FD7C7-EF05-4CA5-AB03-B6CEE94194DB}" srcId="{0192BA22-4805-45AB-9FEA-EA25013F2C9C}" destId="{372E193C-B5E5-4478-9D25-CB7808114591}" srcOrd="2" destOrd="0" parTransId="{A57E4363-18A0-4521-BA10-04A406DFE77D}" sibTransId="{36B52D0E-EA5B-4B29-AC73-47F09CB79428}"/>
    <dgm:cxn modelId="{C7F6F1C9-010E-4190-8317-2435AE7535ED}" type="presOf" srcId="{372E193C-B5E5-4478-9D25-CB7808114591}" destId="{05126D3A-1B11-40E4-B491-EF4D347DA87E}" srcOrd="0" destOrd="2" presId="urn:microsoft.com/office/officeart/2005/8/layout/list1#1"/>
    <dgm:cxn modelId="{9C7952D5-3C35-425A-BF7A-F57FC1151226}" type="presOf" srcId="{D71285D9-D75C-4581-BDF3-AA67BC78FE37}" destId="{05126D3A-1B11-40E4-B491-EF4D347DA87E}" srcOrd="0" destOrd="7" presId="urn:microsoft.com/office/officeart/2005/8/layout/list1#1"/>
    <dgm:cxn modelId="{DBE292D5-DD79-4FCD-AA4B-0A4B9259674D}" type="presOf" srcId="{0192BA22-4805-45AB-9FEA-EA25013F2C9C}" destId="{818385CA-42DB-4317-A353-C43E7C4CF394}" srcOrd="0" destOrd="0" presId="urn:microsoft.com/office/officeart/2005/8/layout/list1#1"/>
    <dgm:cxn modelId="{E384CEE0-66BB-4B6F-ABD9-56EC56EBE1FA}" srcId="{0192BA22-4805-45AB-9FEA-EA25013F2C9C}" destId="{AB5BFC01-C48A-4148-979B-86162003EC96}" srcOrd="4" destOrd="0" parTransId="{B8A0ADCD-3AA9-47D7-82BB-676A0A64B8F3}" sibTransId="{5A9BDBAA-D4B3-41F8-9071-D93D13F20C49}"/>
    <dgm:cxn modelId="{FE53A7EB-FC85-4B41-BF31-2096061AC679}" type="presOf" srcId="{64E91E16-F082-4B31-ADE7-7CD10EF6E4C2}" destId="{917A9EEF-065E-4571-B3F9-6C79C3194383}" srcOrd="0" destOrd="0" presId="urn:microsoft.com/office/officeart/2005/8/layout/list1#1"/>
    <dgm:cxn modelId="{A49D4BF3-386E-4654-AF4B-613309A88E70}" srcId="{64E91E16-F082-4B31-ADE7-7CD10EF6E4C2}" destId="{0192BA22-4805-45AB-9FEA-EA25013F2C9C}" srcOrd="1" destOrd="0" parTransId="{CC192264-2135-4ED2-B354-E92570CFD125}" sibTransId="{36DC77A8-6808-45BE-A09B-669F13F79BA4}"/>
    <dgm:cxn modelId="{24B03AFE-C60B-4378-BB0D-B6DEF8621B7C}" type="presOf" srcId="{0DF72336-F787-4CB3-984F-F314D5CD06E4}" destId="{05126D3A-1B11-40E4-B491-EF4D347DA87E}" srcOrd="0" destOrd="0" presId="urn:microsoft.com/office/officeart/2005/8/layout/list1#1"/>
    <dgm:cxn modelId="{446A7284-084E-4497-9BAB-0761E0E0DA0B}" type="presParOf" srcId="{917A9EEF-065E-4571-B3F9-6C79C3194383}" destId="{4DEBCDC6-89D8-458F-A0EF-52C74811575C}" srcOrd="0" destOrd="0" presId="urn:microsoft.com/office/officeart/2005/8/layout/list1#1"/>
    <dgm:cxn modelId="{F6FE3567-0892-4E2C-A772-9F6D998EB70F}" type="presParOf" srcId="{4DEBCDC6-89D8-458F-A0EF-52C74811575C}" destId="{2A8A3D37-088B-4E4D-BD25-341E1276C3C7}" srcOrd="0" destOrd="0" presId="urn:microsoft.com/office/officeart/2005/8/layout/list1#1"/>
    <dgm:cxn modelId="{155755D3-B36C-4F44-AE21-92C0E13FE5CB}" type="presParOf" srcId="{4DEBCDC6-89D8-458F-A0EF-52C74811575C}" destId="{AB069E6D-E9DE-4C48-9CA1-44BCBBD2E755}" srcOrd="1" destOrd="0" presId="urn:microsoft.com/office/officeart/2005/8/layout/list1#1"/>
    <dgm:cxn modelId="{EE4EAA48-4587-4D31-853C-638A0D98C487}" type="presParOf" srcId="{917A9EEF-065E-4571-B3F9-6C79C3194383}" destId="{89EFD807-199F-40C8-B9CD-DD80DA6D99C1}" srcOrd="1" destOrd="0" presId="urn:microsoft.com/office/officeart/2005/8/layout/list1#1"/>
    <dgm:cxn modelId="{E80B5D61-C191-47DF-9C67-8DB9A14187A0}" type="presParOf" srcId="{917A9EEF-065E-4571-B3F9-6C79C3194383}" destId="{CC1EB740-71C8-488A-8E0E-D42E01436A42}" srcOrd="2" destOrd="0" presId="urn:microsoft.com/office/officeart/2005/8/layout/list1#1"/>
    <dgm:cxn modelId="{EE05D836-6BC6-4B46-8CCC-C6B35FE4B978}" type="presParOf" srcId="{917A9EEF-065E-4571-B3F9-6C79C3194383}" destId="{752F917A-FA4E-4376-9BF0-818180BC2DCD}" srcOrd="3" destOrd="0" presId="urn:microsoft.com/office/officeart/2005/8/layout/list1#1"/>
    <dgm:cxn modelId="{0B521AEC-0D0D-473E-9411-EBE0E9B6BDD2}" type="presParOf" srcId="{917A9EEF-065E-4571-B3F9-6C79C3194383}" destId="{700F7459-4CCE-44A7-9905-E400B34E4152}" srcOrd="4" destOrd="0" presId="urn:microsoft.com/office/officeart/2005/8/layout/list1#1"/>
    <dgm:cxn modelId="{44D01978-8B22-4EC7-9704-D2193B20727F}" type="presParOf" srcId="{700F7459-4CCE-44A7-9905-E400B34E4152}" destId="{818385CA-42DB-4317-A353-C43E7C4CF394}" srcOrd="0" destOrd="0" presId="urn:microsoft.com/office/officeart/2005/8/layout/list1#1"/>
    <dgm:cxn modelId="{F7C7D10E-7BBE-4F24-9F5A-0CDE4CE08937}" type="presParOf" srcId="{700F7459-4CCE-44A7-9905-E400B34E4152}" destId="{40A4093A-4F98-45C4-A251-663208A3364E}" srcOrd="1" destOrd="0" presId="urn:microsoft.com/office/officeart/2005/8/layout/list1#1"/>
    <dgm:cxn modelId="{603D3B27-F46B-4FE9-9023-C3800783A64E}" type="presParOf" srcId="{917A9EEF-065E-4571-B3F9-6C79C3194383}" destId="{7CB2D37E-132B-456F-9A73-325932C32BE9}" srcOrd="5" destOrd="0" presId="urn:microsoft.com/office/officeart/2005/8/layout/list1#1"/>
    <dgm:cxn modelId="{D2E26EB5-1166-4F26-A585-5E0170CE8C9E}" type="presParOf" srcId="{917A9EEF-065E-4571-B3F9-6C79C3194383}" destId="{05126D3A-1B11-40E4-B491-EF4D347DA87E}" srcOrd="6" destOrd="0" presId="urn:microsoft.com/office/officeart/2005/8/layout/list1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1ABD2A-8401-413B-8455-271B8CB0E692}" type="doc">
      <dgm:prSet loTypeId="urn:microsoft.com/office/officeart/2005/8/layout/hierarchy1#1" loCatId="hierarchy" qsTypeId="urn:microsoft.com/office/officeart/2005/8/quickstyle/simple1#2" qsCatId="simple" csTypeId="urn:microsoft.com/office/officeart/2005/8/colors/accent2_2#1" csCatId="accent1" phldr="1"/>
      <dgm:spPr/>
      <dgm:t>
        <a:bodyPr/>
        <a:lstStyle/>
        <a:p>
          <a:endParaRPr lang="en-US"/>
        </a:p>
      </dgm:t>
    </dgm:pt>
    <dgm:pt modelId="{B0BC9989-879C-490D-8E85-D40368E72D2A}">
      <dgm:prSet/>
      <dgm:spPr/>
      <dgm:t>
        <a:bodyPr/>
        <a:lstStyle/>
        <a:p>
          <a:r>
            <a:rPr lang="zh-CN" b="1" dirty="0"/>
            <a:t>贡献源码</a:t>
          </a:r>
          <a:endParaRPr lang="en-US" b="1" dirty="0"/>
        </a:p>
      </dgm:t>
    </dgm:pt>
    <dgm:pt modelId="{2F1304CF-AEAA-4135-9077-B9D3809912DC}" cxnId="{3F754495-B38A-4871-9DF5-6E058C09252B}" type="parTrans">
      <dgm:prSet/>
      <dgm:spPr/>
      <dgm:t>
        <a:bodyPr/>
        <a:lstStyle/>
        <a:p>
          <a:endParaRPr lang="en-US"/>
        </a:p>
      </dgm:t>
    </dgm:pt>
    <dgm:pt modelId="{640083B7-C3EB-4C1C-A3DD-76A060EA5E48}" cxnId="{3F754495-B38A-4871-9DF5-6E058C09252B}" type="sibTrans">
      <dgm:prSet/>
      <dgm:spPr/>
      <dgm:t>
        <a:bodyPr/>
        <a:lstStyle/>
        <a:p>
          <a:endParaRPr lang="en-US"/>
        </a:p>
      </dgm:t>
    </dgm:pt>
    <dgm:pt modelId="{E493C020-847D-4A60-9E79-1C3984C0A25D}">
      <dgm:prSet/>
      <dgm:spPr/>
      <dgm:t>
        <a:bodyPr/>
        <a:lstStyle/>
        <a:p>
          <a:r>
            <a:rPr lang="zh-CN" b="1" dirty="0"/>
            <a:t>提交特性代码</a:t>
          </a:r>
          <a:endParaRPr lang="en-US" b="1" dirty="0"/>
        </a:p>
      </dgm:t>
    </dgm:pt>
    <dgm:pt modelId="{C0FFF4FA-2C97-431A-BA82-6D7378B7693B}" cxnId="{25FA9685-3187-4CBD-8EEB-0146F64C2F38}" type="parTrans">
      <dgm:prSet/>
      <dgm:spPr/>
      <dgm:t>
        <a:bodyPr/>
        <a:lstStyle/>
        <a:p>
          <a:endParaRPr lang="en-US"/>
        </a:p>
      </dgm:t>
    </dgm:pt>
    <dgm:pt modelId="{C3097E36-0A86-4EBC-A5F0-4AF007D251B5}" cxnId="{25FA9685-3187-4CBD-8EEB-0146F64C2F38}" type="sibTrans">
      <dgm:prSet/>
      <dgm:spPr/>
      <dgm:t>
        <a:bodyPr/>
        <a:lstStyle/>
        <a:p>
          <a:endParaRPr lang="en-US"/>
        </a:p>
      </dgm:t>
    </dgm:pt>
    <dgm:pt modelId="{A6BF452E-7801-4A3B-A42C-6F2289B0D87D}">
      <dgm:prSet/>
      <dgm:spPr/>
      <dgm:t>
        <a:bodyPr/>
        <a:lstStyle/>
        <a:p>
          <a:r>
            <a:rPr lang="zh-CN" b="1" dirty="0"/>
            <a:t>审查</a:t>
          </a:r>
          <a:r>
            <a:rPr lang="en-US" b="1" dirty="0"/>
            <a:t>PR</a:t>
          </a:r>
        </a:p>
      </dgm:t>
    </dgm:pt>
    <dgm:pt modelId="{C9F15428-7B36-41C2-8866-6E3C9173CC86}" cxnId="{3EA9F8DE-5767-4C60-AF2C-437834A23BE5}" type="parTrans">
      <dgm:prSet/>
      <dgm:spPr/>
      <dgm:t>
        <a:bodyPr/>
        <a:lstStyle/>
        <a:p>
          <a:endParaRPr lang="en-US"/>
        </a:p>
      </dgm:t>
    </dgm:pt>
    <dgm:pt modelId="{B41B8E4D-C873-416B-B27B-3A8813B5D126}" cxnId="{3EA9F8DE-5767-4C60-AF2C-437834A23BE5}" type="sibTrans">
      <dgm:prSet/>
      <dgm:spPr/>
      <dgm:t>
        <a:bodyPr/>
        <a:lstStyle/>
        <a:p>
          <a:endParaRPr lang="en-US"/>
        </a:p>
      </dgm:t>
    </dgm:pt>
    <dgm:pt modelId="{526EA460-C509-43C6-A22C-3717F9E9217C}">
      <dgm:prSet/>
      <dgm:spPr/>
      <dgm:t>
        <a:bodyPr/>
        <a:lstStyle/>
        <a:p>
          <a:r>
            <a:rPr lang="zh-CN" b="1" dirty="0"/>
            <a:t>提交修复</a:t>
          </a:r>
          <a:r>
            <a:rPr lang="en-US" b="1" dirty="0"/>
            <a:t>BUG</a:t>
          </a:r>
          <a:r>
            <a:rPr lang="zh-CN" b="1" dirty="0"/>
            <a:t>的</a:t>
          </a:r>
          <a:r>
            <a:rPr lang="en-US" b="1" dirty="0"/>
            <a:t>PR</a:t>
          </a:r>
        </a:p>
      </dgm:t>
    </dgm:pt>
    <dgm:pt modelId="{3C8E68BF-924E-4B97-A33A-71A1A36FDA07}" cxnId="{9E4AD775-451A-4675-919F-0CA7609A6105}" type="parTrans">
      <dgm:prSet/>
      <dgm:spPr/>
      <dgm:t>
        <a:bodyPr/>
        <a:lstStyle/>
        <a:p>
          <a:endParaRPr lang="en-US"/>
        </a:p>
      </dgm:t>
    </dgm:pt>
    <dgm:pt modelId="{9D873209-82B4-4369-81E6-C89389EA9B1F}" cxnId="{9E4AD775-451A-4675-919F-0CA7609A6105}" type="sibTrans">
      <dgm:prSet/>
      <dgm:spPr/>
      <dgm:t>
        <a:bodyPr/>
        <a:lstStyle/>
        <a:p>
          <a:endParaRPr lang="en-US"/>
        </a:p>
      </dgm:t>
    </dgm:pt>
    <dgm:pt modelId="{40179ED7-B1F0-47DC-ABC4-281E7F8604BA}">
      <dgm:prSet/>
      <dgm:spPr/>
      <dgm:t>
        <a:bodyPr/>
        <a:lstStyle/>
        <a:p>
          <a:r>
            <a:rPr lang="zh-CN" b="1" dirty="0"/>
            <a:t>测试并报告</a:t>
          </a:r>
          <a:r>
            <a:rPr lang="en-US" b="1" dirty="0"/>
            <a:t>Bug</a:t>
          </a:r>
        </a:p>
      </dgm:t>
    </dgm:pt>
    <dgm:pt modelId="{256AE049-68AC-43B5-BF4A-02CBB15ECEC6}" cxnId="{EB9B9445-CFDC-4A4F-B42A-C4D136841A36}" type="parTrans">
      <dgm:prSet/>
      <dgm:spPr/>
      <dgm:t>
        <a:bodyPr/>
        <a:lstStyle/>
        <a:p>
          <a:endParaRPr lang="en-US"/>
        </a:p>
      </dgm:t>
    </dgm:pt>
    <dgm:pt modelId="{76F10681-FE5E-4BC9-91ED-9C96B6AB50F0}" cxnId="{EB9B9445-CFDC-4A4F-B42A-C4D136841A36}" type="sibTrans">
      <dgm:prSet/>
      <dgm:spPr/>
      <dgm:t>
        <a:bodyPr/>
        <a:lstStyle/>
        <a:p>
          <a:endParaRPr lang="en-US"/>
        </a:p>
      </dgm:t>
    </dgm:pt>
    <dgm:pt modelId="{B61D952D-635C-4EA1-9742-6F946A3AAA3C}">
      <dgm:prSet/>
      <dgm:spPr/>
      <dgm:t>
        <a:bodyPr/>
        <a:lstStyle/>
        <a:p>
          <a:r>
            <a:rPr lang="zh-CN" b="1" dirty="0"/>
            <a:t>关于</a:t>
          </a:r>
          <a:r>
            <a:rPr lang="en-US" b="1" dirty="0"/>
            <a:t>IvorySQL</a:t>
          </a:r>
          <a:r>
            <a:rPr lang="zh-CN" b="1" dirty="0"/>
            <a:t>的博客</a:t>
          </a:r>
          <a:endParaRPr lang="en-US" b="1" dirty="0"/>
        </a:p>
      </dgm:t>
    </dgm:pt>
    <dgm:pt modelId="{C7196ACA-2A4F-4B96-B503-9B514CADF257}" cxnId="{9C1298A3-456C-4DCF-8CD8-F73EE59F573F}" type="parTrans">
      <dgm:prSet/>
      <dgm:spPr/>
      <dgm:t>
        <a:bodyPr/>
        <a:lstStyle/>
        <a:p>
          <a:endParaRPr lang="en-US"/>
        </a:p>
      </dgm:t>
    </dgm:pt>
    <dgm:pt modelId="{6BC8F0C3-E76B-4F16-A0D0-B1FFC605E990}" cxnId="{9C1298A3-456C-4DCF-8CD8-F73EE59F573F}" type="sibTrans">
      <dgm:prSet/>
      <dgm:spPr/>
      <dgm:t>
        <a:bodyPr/>
        <a:lstStyle/>
        <a:p>
          <a:endParaRPr lang="en-US"/>
        </a:p>
      </dgm:t>
    </dgm:pt>
    <dgm:pt modelId="{E6164E63-63D4-4E5C-8391-E036F6BBF2E3}">
      <dgm:prSet/>
      <dgm:spPr/>
      <dgm:t>
        <a:bodyPr/>
        <a:lstStyle/>
        <a:p>
          <a:r>
            <a:rPr lang="zh-CN" b="1" dirty="0"/>
            <a:t>回答用户问题</a:t>
          </a:r>
          <a:endParaRPr lang="en-US" b="1" dirty="0"/>
        </a:p>
      </dgm:t>
    </dgm:pt>
    <dgm:pt modelId="{9A7EB739-DE9D-4642-85E4-C5BEFCF4C78E}" cxnId="{9EF7F0B8-CC8E-4868-942B-30803C155E51}" type="parTrans">
      <dgm:prSet/>
      <dgm:spPr/>
      <dgm:t>
        <a:bodyPr/>
        <a:lstStyle/>
        <a:p>
          <a:endParaRPr lang="en-US"/>
        </a:p>
      </dgm:t>
    </dgm:pt>
    <dgm:pt modelId="{5F744939-D7B6-4CF3-AE05-7AAEC411E391}" cxnId="{9EF7F0B8-CC8E-4868-942B-30803C155E51}" type="sibTrans">
      <dgm:prSet/>
      <dgm:spPr/>
      <dgm:t>
        <a:bodyPr/>
        <a:lstStyle/>
        <a:p>
          <a:endParaRPr lang="en-US"/>
        </a:p>
      </dgm:t>
    </dgm:pt>
    <dgm:pt modelId="{47874BE7-BA0A-4F5F-B0D7-38E4794578E9}">
      <dgm:prSet/>
      <dgm:spPr/>
      <dgm:t>
        <a:bodyPr/>
        <a:lstStyle/>
        <a:p>
          <a:r>
            <a:rPr lang="zh-CN" b="1" dirty="0"/>
            <a:t>贡献文档及站点资料</a:t>
          </a:r>
          <a:endParaRPr lang="en-US" b="1" dirty="0"/>
        </a:p>
      </dgm:t>
    </dgm:pt>
    <dgm:pt modelId="{E4A9430F-B479-497A-B187-647747EADDE7}" cxnId="{ECB8F205-C8D5-4E43-80D4-051DDB22A000}" type="parTrans">
      <dgm:prSet/>
      <dgm:spPr/>
      <dgm:t>
        <a:bodyPr/>
        <a:lstStyle/>
        <a:p>
          <a:endParaRPr lang="en-US"/>
        </a:p>
      </dgm:t>
    </dgm:pt>
    <dgm:pt modelId="{EA10B956-373B-43E4-BA36-36AF5D97CA98}" cxnId="{ECB8F205-C8D5-4E43-80D4-051DDB22A000}" type="sibTrans">
      <dgm:prSet/>
      <dgm:spPr/>
      <dgm:t>
        <a:bodyPr/>
        <a:lstStyle/>
        <a:p>
          <a:endParaRPr lang="en-US"/>
        </a:p>
      </dgm:t>
    </dgm:pt>
    <dgm:pt modelId="{C976C37A-176B-411F-A268-E1339EE610C6}">
      <dgm:prSet/>
      <dgm:spPr/>
      <dgm:t>
        <a:bodyPr/>
        <a:lstStyle/>
        <a:p>
          <a:r>
            <a:rPr lang="zh-CN" b="1" dirty="0"/>
            <a:t>为</a:t>
          </a:r>
          <a:r>
            <a:rPr lang="en-US" b="1" dirty="0" err="1"/>
            <a:t>IvorySQL创建和托管（RPM和</a:t>
          </a:r>
          <a:r>
            <a:rPr lang="en-US" b="1" dirty="0"/>
            <a:t>/</a:t>
          </a:r>
          <a:r>
            <a:rPr lang="en-US" b="1" dirty="0" err="1"/>
            <a:t>或DEB）包</a:t>
          </a:r>
          <a:endParaRPr lang="en-US" b="1" dirty="0"/>
        </a:p>
      </dgm:t>
    </dgm:pt>
    <dgm:pt modelId="{FBBE7DE9-8AB2-471D-B644-3CBAA9E90884}" cxnId="{F4E2E6C0-744A-41AD-8F7B-4ED216B6BA5E}" type="parTrans">
      <dgm:prSet/>
      <dgm:spPr/>
      <dgm:t>
        <a:bodyPr/>
        <a:lstStyle/>
        <a:p>
          <a:endParaRPr lang="en-US"/>
        </a:p>
      </dgm:t>
    </dgm:pt>
    <dgm:pt modelId="{3CFA8C52-039C-411B-9B04-354D3E36DD2A}" cxnId="{F4E2E6C0-744A-41AD-8F7B-4ED216B6BA5E}" type="sibTrans">
      <dgm:prSet/>
      <dgm:spPr/>
      <dgm:t>
        <a:bodyPr/>
        <a:lstStyle/>
        <a:p>
          <a:endParaRPr lang="en-US"/>
        </a:p>
      </dgm:t>
    </dgm:pt>
    <dgm:pt modelId="{153A386B-7C89-423E-9D70-22D98FF7BD88}" type="pres">
      <dgm:prSet presAssocID="{361ABD2A-8401-413B-8455-271B8CB0E692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D2C354A-B93E-4E19-A7AD-B770B3F9C748}" type="pres">
      <dgm:prSet presAssocID="{B0BC9989-879C-490D-8E85-D40368E72D2A}" presName="hierRoot1" presStyleCnt="0"/>
      <dgm:spPr/>
    </dgm:pt>
    <dgm:pt modelId="{24F4AA4A-1A3E-4A58-8E6F-75D01594E348}" type="pres">
      <dgm:prSet presAssocID="{B0BC9989-879C-490D-8E85-D40368E72D2A}" presName="composite" presStyleCnt="0"/>
      <dgm:spPr/>
    </dgm:pt>
    <dgm:pt modelId="{01E5D6A3-AFD8-4ED0-AD9A-E8CAB20F34B8}" type="pres">
      <dgm:prSet presAssocID="{B0BC9989-879C-490D-8E85-D40368E72D2A}" presName="background" presStyleLbl="node0" presStyleIdx="0" presStyleCnt="6"/>
      <dgm:spPr/>
    </dgm:pt>
    <dgm:pt modelId="{35551676-B44E-4FAD-8A0A-DBF31B7EC743}" type="pres">
      <dgm:prSet presAssocID="{B0BC9989-879C-490D-8E85-D40368E72D2A}" presName="text" presStyleLbl="fgAcc0" presStyleIdx="0" presStyleCnt="6">
        <dgm:presLayoutVars>
          <dgm:chPref val="3"/>
        </dgm:presLayoutVars>
      </dgm:prSet>
      <dgm:spPr/>
    </dgm:pt>
    <dgm:pt modelId="{DC50C55F-1658-41F0-88F4-682A5D4FA804}" type="pres">
      <dgm:prSet presAssocID="{B0BC9989-879C-490D-8E85-D40368E72D2A}" presName="hierChild2" presStyleCnt="0"/>
      <dgm:spPr/>
    </dgm:pt>
    <dgm:pt modelId="{7DC43019-2577-44DF-A3AD-1B72BDCD99E7}" type="pres">
      <dgm:prSet presAssocID="{C0FFF4FA-2C97-431A-BA82-6D7378B7693B}" presName="Name10" presStyleLbl="parChTrans1D2" presStyleIdx="0" presStyleCnt="3"/>
      <dgm:spPr/>
    </dgm:pt>
    <dgm:pt modelId="{467BF4CB-19AF-4E0F-AABF-B8DC0F602A4C}" type="pres">
      <dgm:prSet presAssocID="{E493C020-847D-4A60-9E79-1C3984C0A25D}" presName="hierRoot2" presStyleCnt="0"/>
      <dgm:spPr/>
    </dgm:pt>
    <dgm:pt modelId="{FB517CDE-4C4B-490A-884A-C0494A98101F}" type="pres">
      <dgm:prSet presAssocID="{E493C020-847D-4A60-9E79-1C3984C0A25D}" presName="composite2" presStyleCnt="0"/>
      <dgm:spPr/>
    </dgm:pt>
    <dgm:pt modelId="{372CF6DB-2186-4B6F-8AEF-45A8D28B406E}" type="pres">
      <dgm:prSet presAssocID="{E493C020-847D-4A60-9E79-1C3984C0A25D}" presName="background2" presStyleLbl="node2" presStyleIdx="0" presStyleCnt="3"/>
      <dgm:spPr/>
    </dgm:pt>
    <dgm:pt modelId="{835E4683-D8EB-4A1F-8EB9-7D8B30A6C3D7}" type="pres">
      <dgm:prSet presAssocID="{E493C020-847D-4A60-9E79-1C3984C0A25D}" presName="text2" presStyleLbl="fgAcc2" presStyleIdx="0" presStyleCnt="3">
        <dgm:presLayoutVars>
          <dgm:chPref val="3"/>
        </dgm:presLayoutVars>
      </dgm:prSet>
      <dgm:spPr/>
    </dgm:pt>
    <dgm:pt modelId="{B733AD45-8ADA-48B3-B25B-35C932C20169}" type="pres">
      <dgm:prSet presAssocID="{E493C020-847D-4A60-9E79-1C3984C0A25D}" presName="hierChild3" presStyleCnt="0"/>
      <dgm:spPr/>
    </dgm:pt>
    <dgm:pt modelId="{E063B721-57F7-4882-87CC-DBB234814D51}" type="pres">
      <dgm:prSet presAssocID="{C9F15428-7B36-41C2-8866-6E3C9173CC86}" presName="Name10" presStyleLbl="parChTrans1D2" presStyleIdx="1" presStyleCnt="3"/>
      <dgm:spPr/>
    </dgm:pt>
    <dgm:pt modelId="{B634EF57-D30B-4AAE-A480-2609B21D11AB}" type="pres">
      <dgm:prSet presAssocID="{A6BF452E-7801-4A3B-A42C-6F2289B0D87D}" presName="hierRoot2" presStyleCnt="0"/>
      <dgm:spPr/>
    </dgm:pt>
    <dgm:pt modelId="{62FC0E81-F45E-4B1D-9611-307E513A8C54}" type="pres">
      <dgm:prSet presAssocID="{A6BF452E-7801-4A3B-A42C-6F2289B0D87D}" presName="composite2" presStyleCnt="0"/>
      <dgm:spPr/>
    </dgm:pt>
    <dgm:pt modelId="{F0877E1B-D478-4B39-831F-0B24C5FA4846}" type="pres">
      <dgm:prSet presAssocID="{A6BF452E-7801-4A3B-A42C-6F2289B0D87D}" presName="background2" presStyleLbl="node2" presStyleIdx="1" presStyleCnt="3"/>
      <dgm:spPr/>
    </dgm:pt>
    <dgm:pt modelId="{01D31175-1BFD-4BF7-BAA1-E7A3E4D01930}" type="pres">
      <dgm:prSet presAssocID="{A6BF452E-7801-4A3B-A42C-6F2289B0D87D}" presName="text2" presStyleLbl="fgAcc2" presStyleIdx="1" presStyleCnt="3">
        <dgm:presLayoutVars>
          <dgm:chPref val="3"/>
        </dgm:presLayoutVars>
      </dgm:prSet>
      <dgm:spPr/>
    </dgm:pt>
    <dgm:pt modelId="{7F31609E-34A2-4252-A3AD-94F8719B5F54}" type="pres">
      <dgm:prSet presAssocID="{A6BF452E-7801-4A3B-A42C-6F2289B0D87D}" presName="hierChild3" presStyleCnt="0"/>
      <dgm:spPr/>
    </dgm:pt>
    <dgm:pt modelId="{574CF691-3A27-4DD9-8B4D-ADC32C13C556}" type="pres">
      <dgm:prSet presAssocID="{3C8E68BF-924E-4B97-A33A-71A1A36FDA07}" presName="Name10" presStyleLbl="parChTrans1D2" presStyleIdx="2" presStyleCnt="3"/>
      <dgm:spPr/>
    </dgm:pt>
    <dgm:pt modelId="{DF232B17-0630-448E-80C8-99BC42DC0006}" type="pres">
      <dgm:prSet presAssocID="{526EA460-C509-43C6-A22C-3717F9E9217C}" presName="hierRoot2" presStyleCnt="0"/>
      <dgm:spPr/>
    </dgm:pt>
    <dgm:pt modelId="{76121903-99E8-482B-B974-09F7588AF452}" type="pres">
      <dgm:prSet presAssocID="{526EA460-C509-43C6-A22C-3717F9E9217C}" presName="composite2" presStyleCnt="0"/>
      <dgm:spPr/>
    </dgm:pt>
    <dgm:pt modelId="{CDE4B1E3-4409-45AE-A95B-388E93C7A921}" type="pres">
      <dgm:prSet presAssocID="{526EA460-C509-43C6-A22C-3717F9E9217C}" presName="background2" presStyleLbl="node2" presStyleIdx="2" presStyleCnt="3"/>
      <dgm:spPr/>
    </dgm:pt>
    <dgm:pt modelId="{17771F45-3FCB-49B8-8331-B29F56ACA841}" type="pres">
      <dgm:prSet presAssocID="{526EA460-C509-43C6-A22C-3717F9E9217C}" presName="text2" presStyleLbl="fgAcc2" presStyleIdx="2" presStyleCnt="3">
        <dgm:presLayoutVars>
          <dgm:chPref val="3"/>
        </dgm:presLayoutVars>
      </dgm:prSet>
      <dgm:spPr/>
    </dgm:pt>
    <dgm:pt modelId="{88141605-A6D9-458B-BD02-9376AB3A63F1}" type="pres">
      <dgm:prSet presAssocID="{526EA460-C509-43C6-A22C-3717F9E9217C}" presName="hierChild3" presStyleCnt="0"/>
      <dgm:spPr/>
    </dgm:pt>
    <dgm:pt modelId="{B47F0B4B-6848-49CF-9DAD-B665F7B1CF7D}" type="pres">
      <dgm:prSet presAssocID="{40179ED7-B1F0-47DC-ABC4-281E7F8604BA}" presName="hierRoot1" presStyleCnt="0"/>
      <dgm:spPr/>
    </dgm:pt>
    <dgm:pt modelId="{01A94510-290D-472B-916D-BA8DA98FC841}" type="pres">
      <dgm:prSet presAssocID="{40179ED7-B1F0-47DC-ABC4-281E7F8604BA}" presName="composite" presStyleCnt="0"/>
      <dgm:spPr/>
    </dgm:pt>
    <dgm:pt modelId="{BDB2B5F3-1C7E-4760-8D5A-FE294458D685}" type="pres">
      <dgm:prSet presAssocID="{40179ED7-B1F0-47DC-ABC4-281E7F8604BA}" presName="background" presStyleLbl="node0" presStyleIdx="1" presStyleCnt="6"/>
      <dgm:spPr/>
    </dgm:pt>
    <dgm:pt modelId="{20816780-E7C0-4157-AD6C-EC77876EF69C}" type="pres">
      <dgm:prSet presAssocID="{40179ED7-B1F0-47DC-ABC4-281E7F8604BA}" presName="text" presStyleLbl="fgAcc0" presStyleIdx="1" presStyleCnt="6">
        <dgm:presLayoutVars>
          <dgm:chPref val="3"/>
        </dgm:presLayoutVars>
      </dgm:prSet>
      <dgm:spPr/>
    </dgm:pt>
    <dgm:pt modelId="{9CE9C73F-BA38-43FB-9A82-90CD0B194B7E}" type="pres">
      <dgm:prSet presAssocID="{40179ED7-B1F0-47DC-ABC4-281E7F8604BA}" presName="hierChild2" presStyleCnt="0"/>
      <dgm:spPr/>
    </dgm:pt>
    <dgm:pt modelId="{C4A1DD43-A00A-4BB9-9A6E-0D89EF1D6B0A}" type="pres">
      <dgm:prSet presAssocID="{B61D952D-635C-4EA1-9742-6F946A3AAA3C}" presName="hierRoot1" presStyleCnt="0"/>
      <dgm:spPr/>
    </dgm:pt>
    <dgm:pt modelId="{3F3B6ED9-C771-488E-BCBD-C9A806AD8CA2}" type="pres">
      <dgm:prSet presAssocID="{B61D952D-635C-4EA1-9742-6F946A3AAA3C}" presName="composite" presStyleCnt="0"/>
      <dgm:spPr/>
    </dgm:pt>
    <dgm:pt modelId="{2B652519-AFCF-4D76-9493-5821B06C190A}" type="pres">
      <dgm:prSet presAssocID="{B61D952D-635C-4EA1-9742-6F946A3AAA3C}" presName="background" presStyleLbl="node0" presStyleIdx="2" presStyleCnt="6"/>
      <dgm:spPr/>
    </dgm:pt>
    <dgm:pt modelId="{2775F679-2889-4FAC-A1C0-F5A2DAF89B1C}" type="pres">
      <dgm:prSet presAssocID="{B61D952D-635C-4EA1-9742-6F946A3AAA3C}" presName="text" presStyleLbl="fgAcc0" presStyleIdx="2" presStyleCnt="6">
        <dgm:presLayoutVars>
          <dgm:chPref val="3"/>
        </dgm:presLayoutVars>
      </dgm:prSet>
      <dgm:spPr/>
    </dgm:pt>
    <dgm:pt modelId="{BB28110D-EE9D-40A7-A312-3A2A20E6E10C}" type="pres">
      <dgm:prSet presAssocID="{B61D952D-635C-4EA1-9742-6F946A3AAA3C}" presName="hierChild2" presStyleCnt="0"/>
      <dgm:spPr/>
    </dgm:pt>
    <dgm:pt modelId="{55E74FBF-189A-492F-B91D-8E73827BAE0D}" type="pres">
      <dgm:prSet presAssocID="{E6164E63-63D4-4E5C-8391-E036F6BBF2E3}" presName="hierRoot1" presStyleCnt="0"/>
      <dgm:spPr/>
    </dgm:pt>
    <dgm:pt modelId="{20177F3D-F315-4F23-AA7C-C3245D5B59A2}" type="pres">
      <dgm:prSet presAssocID="{E6164E63-63D4-4E5C-8391-E036F6BBF2E3}" presName="composite" presStyleCnt="0"/>
      <dgm:spPr/>
    </dgm:pt>
    <dgm:pt modelId="{3CC20245-8CEF-481E-84A2-C9E1F76A9938}" type="pres">
      <dgm:prSet presAssocID="{E6164E63-63D4-4E5C-8391-E036F6BBF2E3}" presName="background" presStyleLbl="node0" presStyleIdx="3" presStyleCnt="6"/>
      <dgm:spPr/>
    </dgm:pt>
    <dgm:pt modelId="{A966EA0A-9FAB-4F5B-9F98-8EFEDA9B8C66}" type="pres">
      <dgm:prSet presAssocID="{E6164E63-63D4-4E5C-8391-E036F6BBF2E3}" presName="text" presStyleLbl="fgAcc0" presStyleIdx="3" presStyleCnt="6">
        <dgm:presLayoutVars>
          <dgm:chPref val="3"/>
        </dgm:presLayoutVars>
      </dgm:prSet>
      <dgm:spPr/>
    </dgm:pt>
    <dgm:pt modelId="{C37EFD14-3D8B-4427-A2D7-8A1CA2776BB8}" type="pres">
      <dgm:prSet presAssocID="{E6164E63-63D4-4E5C-8391-E036F6BBF2E3}" presName="hierChild2" presStyleCnt="0"/>
      <dgm:spPr/>
    </dgm:pt>
    <dgm:pt modelId="{F6481E08-ED08-49EA-8FE6-2263E182946B}" type="pres">
      <dgm:prSet presAssocID="{47874BE7-BA0A-4F5F-B0D7-38E4794578E9}" presName="hierRoot1" presStyleCnt="0"/>
      <dgm:spPr/>
    </dgm:pt>
    <dgm:pt modelId="{F74DFB90-501E-43C3-BEBA-8B5DB5391B26}" type="pres">
      <dgm:prSet presAssocID="{47874BE7-BA0A-4F5F-B0D7-38E4794578E9}" presName="composite" presStyleCnt="0"/>
      <dgm:spPr/>
    </dgm:pt>
    <dgm:pt modelId="{4473AD80-FCE8-4A76-A7C1-109F58E2B750}" type="pres">
      <dgm:prSet presAssocID="{47874BE7-BA0A-4F5F-B0D7-38E4794578E9}" presName="background" presStyleLbl="node0" presStyleIdx="4" presStyleCnt="6"/>
      <dgm:spPr/>
    </dgm:pt>
    <dgm:pt modelId="{BB763274-2249-4C09-BB3B-1D66EB8BD2C9}" type="pres">
      <dgm:prSet presAssocID="{47874BE7-BA0A-4F5F-B0D7-38E4794578E9}" presName="text" presStyleLbl="fgAcc0" presStyleIdx="4" presStyleCnt="6">
        <dgm:presLayoutVars>
          <dgm:chPref val="3"/>
        </dgm:presLayoutVars>
      </dgm:prSet>
      <dgm:spPr/>
    </dgm:pt>
    <dgm:pt modelId="{9D283134-CE3D-482C-B0D0-FE8E8287C789}" type="pres">
      <dgm:prSet presAssocID="{47874BE7-BA0A-4F5F-B0D7-38E4794578E9}" presName="hierChild2" presStyleCnt="0"/>
      <dgm:spPr/>
    </dgm:pt>
    <dgm:pt modelId="{AC41C9CD-E5FE-49B6-BB1C-E7876B66F5D3}" type="pres">
      <dgm:prSet presAssocID="{C976C37A-176B-411F-A268-E1339EE610C6}" presName="hierRoot1" presStyleCnt="0"/>
      <dgm:spPr/>
    </dgm:pt>
    <dgm:pt modelId="{E82CE24E-1AA9-485D-96E3-2D15B269954E}" type="pres">
      <dgm:prSet presAssocID="{C976C37A-176B-411F-A268-E1339EE610C6}" presName="composite" presStyleCnt="0"/>
      <dgm:spPr/>
    </dgm:pt>
    <dgm:pt modelId="{FCDCEE61-745B-4355-9ED9-DAC5CBFFB0BA}" type="pres">
      <dgm:prSet presAssocID="{C976C37A-176B-411F-A268-E1339EE610C6}" presName="background" presStyleLbl="node0" presStyleIdx="5" presStyleCnt="6"/>
      <dgm:spPr/>
    </dgm:pt>
    <dgm:pt modelId="{60786F08-E999-4D1D-B867-9C05C86741B6}" type="pres">
      <dgm:prSet presAssocID="{C976C37A-176B-411F-A268-E1339EE610C6}" presName="text" presStyleLbl="fgAcc0" presStyleIdx="5" presStyleCnt="6">
        <dgm:presLayoutVars>
          <dgm:chPref val="3"/>
        </dgm:presLayoutVars>
      </dgm:prSet>
      <dgm:spPr/>
    </dgm:pt>
    <dgm:pt modelId="{E2A48A3E-675D-492B-B270-1241E02091E7}" type="pres">
      <dgm:prSet presAssocID="{C976C37A-176B-411F-A268-E1339EE610C6}" presName="hierChild2" presStyleCnt="0"/>
      <dgm:spPr/>
    </dgm:pt>
  </dgm:ptLst>
  <dgm:cxnLst>
    <dgm:cxn modelId="{ECB8F205-C8D5-4E43-80D4-051DDB22A000}" srcId="{361ABD2A-8401-413B-8455-271B8CB0E692}" destId="{47874BE7-BA0A-4F5F-B0D7-38E4794578E9}" srcOrd="4" destOrd="0" parTransId="{E4A9430F-B479-497A-B187-647747EADDE7}" sibTransId="{EA10B956-373B-43E4-BA36-36AF5D97CA98}"/>
    <dgm:cxn modelId="{C21B9409-40D0-4434-AEA4-7109207595C4}" type="presOf" srcId="{C0FFF4FA-2C97-431A-BA82-6D7378B7693B}" destId="{7DC43019-2577-44DF-A3AD-1B72BDCD99E7}" srcOrd="0" destOrd="0" presId="urn:microsoft.com/office/officeart/2005/8/layout/hierarchy1#1"/>
    <dgm:cxn modelId="{F4919F10-A0CF-4EA0-8F09-BC029FD0E7CB}" type="presOf" srcId="{C976C37A-176B-411F-A268-E1339EE610C6}" destId="{60786F08-E999-4D1D-B867-9C05C86741B6}" srcOrd="0" destOrd="0" presId="urn:microsoft.com/office/officeart/2005/8/layout/hierarchy1#1"/>
    <dgm:cxn modelId="{9696A719-24F1-442A-AD73-0D97851A60EA}" type="presOf" srcId="{40179ED7-B1F0-47DC-ABC4-281E7F8604BA}" destId="{20816780-E7C0-4157-AD6C-EC77876EF69C}" srcOrd="0" destOrd="0" presId="urn:microsoft.com/office/officeart/2005/8/layout/hierarchy1#1"/>
    <dgm:cxn modelId="{A4E3C723-58CC-4A88-B4A9-D7182C0BB8DA}" type="presOf" srcId="{361ABD2A-8401-413B-8455-271B8CB0E692}" destId="{153A386B-7C89-423E-9D70-22D98FF7BD88}" srcOrd="0" destOrd="0" presId="urn:microsoft.com/office/officeart/2005/8/layout/hierarchy1#1"/>
    <dgm:cxn modelId="{C0CF413C-C852-4140-82CE-1DC9667B40E6}" type="presOf" srcId="{E6164E63-63D4-4E5C-8391-E036F6BBF2E3}" destId="{A966EA0A-9FAB-4F5B-9F98-8EFEDA9B8C66}" srcOrd="0" destOrd="0" presId="urn:microsoft.com/office/officeart/2005/8/layout/hierarchy1#1"/>
    <dgm:cxn modelId="{EB9B9445-CFDC-4A4F-B42A-C4D136841A36}" srcId="{361ABD2A-8401-413B-8455-271B8CB0E692}" destId="{40179ED7-B1F0-47DC-ABC4-281E7F8604BA}" srcOrd="1" destOrd="0" parTransId="{256AE049-68AC-43B5-BF4A-02CBB15ECEC6}" sibTransId="{76F10681-FE5E-4BC9-91ED-9C96B6AB50F0}"/>
    <dgm:cxn modelId="{1CA2C972-EBE0-446B-9FCE-A5B7F17021DB}" type="presOf" srcId="{B0BC9989-879C-490D-8E85-D40368E72D2A}" destId="{35551676-B44E-4FAD-8A0A-DBF31B7EC743}" srcOrd="0" destOrd="0" presId="urn:microsoft.com/office/officeart/2005/8/layout/hierarchy1#1"/>
    <dgm:cxn modelId="{9E4AD775-451A-4675-919F-0CA7609A6105}" srcId="{B0BC9989-879C-490D-8E85-D40368E72D2A}" destId="{526EA460-C509-43C6-A22C-3717F9E9217C}" srcOrd="2" destOrd="0" parTransId="{3C8E68BF-924E-4B97-A33A-71A1A36FDA07}" sibTransId="{9D873209-82B4-4369-81E6-C89389EA9B1F}"/>
    <dgm:cxn modelId="{81E1E657-AA64-4ECB-AE9F-5CABDDBD9B69}" type="presOf" srcId="{B61D952D-635C-4EA1-9742-6F946A3AAA3C}" destId="{2775F679-2889-4FAC-A1C0-F5A2DAF89B1C}" srcOrd="0" destOrd="0" presId="urn:microsoft.com/office/officeart/2005/8/layout/hierarchy1#1"/>
    <dgm:cxn modelId="{CD000582-1166-4B63-8CF2-0AB9C94228B9}" type="presOf" srcId="{47874BE7-BA0A-4F5F-B0D7-38E4794578E9}" destId="{BB763274-2249-4C09-BB3B-1D66EB8BD2C9}" srcOrd="0" destOrd="0" presId="urn:microsoft.com/office/officeart/2005/8/layout/hierarchy1#1"/>
    <dgm:cxn modelId="{25FA9685-3187-4CBD-8EEB-0146F64C2F38}" srcId="{B0BC9989-879C-490D-8E85-D40368E72D2A}" destId="{E493C020-847D-4A60-9E79-1C3984C0A25D}" srcOrd="0" destOrd="0" parTransId="{C0FFF4FA-2C97-431A-BA82-6D7378B7693B}" sibTransId="{C3097E36-0A86-4EBC-A5F0-4AF007D251B5}"/>
    <dgm:cxn modelId="{3F754495-B38A-4871-9DF5-6E058C09252B}" srcId="{361ABD2A-8401-413B-8455-271B8CB0E692}" destId="{B0BC9989-879C-490D-8E85-D40368E72D2A}" srcOrd="0" destOrd="0" parTransId="{2F1304CF-AEAA-4135-9077-B9D3809912DC}" sibTransId="{640083B7-C3EB-4C1C-A3DD-76A060EA5E48}"/>
    <dgm:cxn modelId="{9C1298A3-456C-4DCF-8CD8-F73EE59F573F}" srcId="{361ABD2A-8401-413B-8455-271B8CB0E692}" destId="{B61D952D-635C-4EA1-9742-6F946A3AAA3C}" srcOrd="2" destOrd="0" parTransId="{C7196ACA-2A4F-4B96-B503-9B514CADF257}" sibTransId="{6BC8F0C3-E76B-4F16-A0D0-B1FFC605E990}"/>
    <dgm:cxn modelId="{30D9E9AE-E9BC-43C3-9220-DD9340DA92AF}" type="presOf" srcId="{3C8E68BF-924E-4B97-A33A-71A1A36FDA07}" destId="{574CF691-3A27-4DD9-8B4D-ADC32C13C556}" srcOrd="0" destOrd="0" presId="urn:microsoft.com/office/officeart/2005/8/layout/hierarchy1#1"/>
    <dgm:cxn modelId="{9A1CA1B3-913A-462B-93BC-A927F1ED1005}" type="presOf" srcId="{C9F15428-7B36-41C2-8866-6E3C9173CC86}" destId="{E063B721-57F7-4882-87CC-DBB234814D51}" srcOrd="0" destOrd="0" presId="urn:microsoft.com/office/officeart/2005/8/layout/hierarchy1#1"/>
    <dgm:cxn modelId="{9EF7F0B8-CC8E-4868-942B-30803C155E51}" srcId="{361ABD2A-8401-413B-8455-271B8CB0E692}" destId="{E6164E63-63D4-4E5C-8391-E036F6BBF2E3}" srcOrd="3" destOrd="0" parTransId="{9A7EB739-DE9D-4642-85E4-C5BEFCF4C78E}" sibTransId="{5F744939-D7B6-4CF3-AE05-7AAEC411E391}"/>
    <dgm:cxn modelId="{F4E2E6C0-744A-41AD-8F7B-4ED216B6BA5E}" srcId="{361ABD2A-8401-413B-8455-271B8CB0E692}" destId="{C976C37A-176B-411F-A268-E1339EE610C6}" srcOrd="5" destOrd="0" parTransId="{FBBE7DE9-8AB2-471D-B644-3CBAA9E90884}" sibTransId="{3CFA8C52-039C-411B-9B04-354D3E36DD2A}"/>
    <dgm:cxn modelId="{56791ADA-6CAA-4D4C-A389-808E96F149EF}" type="presOf" srcId="{E493C020-847D-4A60-9E79-1C3984C0A25D}" destId="{835E4683-D8EB-4A1F-8EB9-7D8B30A6C3D7}" srcOrd="0" destOrd="0" presId="urn:microsoft.com/office/officeart/2005/8/layout/hierarchy1#1"/>
    <dgm:cxn modelId="{5D0B79DD-7BD3-40E2-B0B5-00593418BE30}" type="presOf" srcId="{526EA460-C509-43C6-A22C-3717F9E9217C}" destId="{17771F45-3FCB-49B8-8331-B29F56ACA841}" srcOrd="0" destOrd="0" presId="urn:microsoft.com/office/officeart/2005/8/layout/hierarchy1#1"/>
    <dgm:cxn modelId="{3EA9F8DE-5767-4C60-AF2C-437834A23BE5}" srcId="{B0BC9989-879C-490D-8E85-D40368E72D2A}" destId="{A6BF452E-7801-4A3B-A42C-6F2289B0D87D}" srcOrd="1" destOrd="0" parTransId="{C9F15428-7B36-41C2-8866-6E3C9173CC86}" sibTransId="{B41B8E4D-C873-416B-B27B-3A8813B5D126}"/>
    <dgm:cxn modelId="{692367F4-9083-409F-B456-D4429A86824F}" type="presOf" srcId="{A6BF452E-7801-4A3B-A42C-6F2289B0D87D}" destId="{01D31175-1BFD-4BF7-BAA1-E7A3E4D01930}" srcOrd="0" destOrd="0" presId="urn:microsoft.com/office/officeart/2005/8/layout/hierarchy1#1"/>
    <dgm:cxn modelId="{C5773424-0E6F-4E64-B697-21C423C18CFD}" type="presParOf" srcId="{153A386B-7C89-423E-9D70-22D98FF7BD88}" destId="{FD2C354A-B93E-4E19-A7AD-B770B3F9C748}" srcOrd="0" destOrd="0" presId="urn:microsoft.com/office/officeart/2005/8/layout/hierarchy1#1"/>
    <dgm:cxn modelId="{2E11DDFF-10D5-403F-9C12-D8559D936737}" type="presParOf" srcId="{FD2C354A-B93E-4E19-A7AD-B770B3F9C748}" destId="{24F4AA4A-1A3E-4A58-8E6F-75D01594E348}" srcOrd="0" destOrd="0" presId="urn:microsoft.com/office/officeart/2005/8/layout/hierarchy1#1"/>
    <dgm:cxn modelId="{A0EB7472-CB14-48A1-B72C-1EA67B87471C}" type="presParOf" srcId="{24F4AA4A-1A3E-4A58-8E6F-75D01594E348}" destId="{01E5D6A3-AFD8-4ED0-AD9A-E8CAB20F34B8}" srcOrd="0" destOrd="0" presId="urn:microsoft.com/office/officeart/2005/8/layout/hierarchy1#1"/>
    <dgm:cxn modelId="{DC3F0709-0783-481E-9F9D-DC17915450FD}" type="presParOf" srcId="{24F4AA4A-1A3E-4A58-8E6F-75D01594E348}" destId="{35551676-B44E-4FAD-8A0A-DBF31B7EC743}" srcOrd="1" destOrd="0" presId="urn:microsoft.com/office/officeart/2005/8/layout/hierarchy1#1"/>
    <dgm:cxn modelId="{DA845DB0-7E90-41B3-AE56-D8961A2B3C14}" type="presParOf" srcId="{FD2C354A-B93E-4E19-A7AD-B770B3F9C748}" destId="{DC50C55F-1658-41F0-88F4-682A5D4FA804}" srcOrd="1" destOrd="0" presId="urn:microsoft.com/office/officeart/2005/8/layout/hierarchy1#1"/>
    <dgm:cxn modelId="{A2291A35-12E9-490C-9D04-6B94A55A7112}" type="presParOf" srcId="{DC50C55F-1658-41F0-88F4-682A5D4FA804}" destId="{7DC43019-2577-44DF-A3AD-1B72BDCD99E7}" srcOrd="0" destOrd="0" presId="urn:microsoft.com/office/officeart/2005/8/layout/hierarchy1#1"/>
    <dgm:cxn modelId="{EFB4DC7C-69C7-4AD0-B083-352A54D1981D}" type="presParOf" srcId="{DC50C55F-1658-41F0-88F4-682A5D4FA804}" destId="{467BF4CB-19AF-4E0F-AABF-B8DC0F602A4C}" srcOrd="1" destOrd="0" presId="urn:microsoft.com/office/officeart/2005/8/layout/hierarchy1#1"/>
    <dgm:cxn modelId="{5A5883BD-5149-44A9-8161-9CB8EE649B59}" type="presParOf" srcId="{467BF4CB-19AF-4E0F-AABF-B8DC0F602A4C}" destId="{FB517CDE-4C4B-490A-884A-C0494A98101F}" srcOrd="0" destOrd="0" presId="urn:microsoft.com/office/officeart/2005/8/layout/hierarchy1#1"/>
    <dgm:cxn modelId="{5821670C-A008-4A6B-8276-3452E06103C0}" type="presParOf" srcId="{FB517CDE-4C4B-490A-884A-C0494A98101F}" destId="{372CF6DB-2186-4B6F-8AEF-45A8D28B406E}" srcOrd="0" destOrd="0" presId="urn:microsoft.com/office/officeart/2005/8/layout/hierarchy1#1"/>
    <dgm:cxn modelId="{2562C043-453C-4C2A-ADD4-5282566579D1}" type="presParOf" srcId="{FB517CDE-4C4B-490A-884A-C0494A98101F}" destId="{835E4683-D8EB-4A1F-8EB9-7D8B30A6C3D7}" srcOrd="1" destOrd="0" presId="urn:microsoft.com/office/officeart/2005/8/layout/hierarchy1#1"/>
    <dgm:cxn modelId="{D41C2A6A-EED2-4DA1-8D27-9BFF727F28F6}" type="presParOf" srcId="{467BF4CB-19AF-4E0F-AABF-B8DC0F602A4C}" destId="{B733AD45-8ADA-48B3-B25B-35C932C20169}" srcOrd="1" destOrd="0" presId="urn:microsoft.com/office/officeart/2005/8/layout/hierarchy1#1"/>
    <dgm:cxn modelId="{BD22A031-7968-4B46-8D02-483A177CA996}" type="presParOf" srcId="{DC50C55F-1658-41F0-88F4-682A5D4FA804}" destId="{E063B721-57F7-4882-87CC-DBB234814D51}" srcOrd="2" destOrd="0" presId="urn:microsoft.com/office/officeart/2005/8/layout/hierarchy1#1"/>
    <dgm:cxn modelId="{D91B60D7-5B87-4239-85D1-8C2B0C4B9C3E}" type="presParOf" srcId="{DC50C55F-1658-41F0-88F4-682A5D4FA804}" destId="{B634EF57-D30B-4AAE-A480-2609B21D11AB}" srcOrd="3" destOrd="0" presId="urn:microsoft.com/office/officeart/2005/8/layout/hierarchy1#1"/>
    <dgm:cxn modelId="{5C7A5DB4-8374-4BDB-A56A-6A31900C33C7}" type="presParOf" srcId="{B634EF57-D30B-4AAE-A480-2609B21D11AB}" destId="{62FC0E81-F45E-4B1D-9611-307E513A8C54}" srcOrd="0" destOrd="0" presId="urn:microsoft.com/office/officeart/2005/8/layout/hierarchy1#1"/>
    <dgm:cxn modelId="{2E7C461A-684E-4FB6-B65F-C115A9FBC99E}" type="presParOf" srcId="{62FC0E81-F45E-4B1D-9611-307E513A8C54}" destId="{F0877E1B-D478-4B39-831F-0B24C5FA4846}" srcOrd="0" destOrd="0" presId="urn:microsoft.com/office/officeart/2005/8/layout/hierarchy1#1"/>
    <dgm:cxn modelId="{0DCEC869-9C0C-4103-B495-EAC49F9CAE3A}" type="presParOf" srcId="{62FC0E81-F45E-4B1D-9611-307E513A8C54}" destId="{01D31175-1BFD-4BF7-BAA1-E7A3E4D01930}" srcOrd="1" destOrd="0" presId="urn:microsoft.com/office/officeart/2005/8/layout/hierarchy1#1"/>
    <dgm:cxn modelId="{55E50EEA-2FBA-4725-8F90-5E042A7D41CA}" type="presParOf" srcId="{B634EF57-D30B-4AAE-A480-2609B21D11AB}" destId="{7F31609E-34A2-4252-A3AD-94F8719B5F54}" srcOrd="1" destOrd="0" presId="urn:microsoft.com/office/officeart/2005/8/layout/hierarchy1#1"/>
    <dgm:cxn modelId="{58FB3296-302C-48F8-9862-31A13E292EB0}" type="presParOf" srcId="{DC50C55F-1658-41F0-88F4-682A5D4FA804}" destId="{574CF691-3A27-4DD9-8B4D-ADC32C13C556}" srcOrd="4" destOrd="0" presId="urn:microsoft.com/office/officeart/2005/8/layout/hierarchy1#1"/>
    <dgm:cxn modelId="{B1B8019B-DB05-4751-B26D-2B486029DD04}" type="presParOf" srcId="{DC50C55F-1658-41F0-88F4-682A5D4FA804}" destId="{DF232B17-0630-448E-80C8-99BC42DC0006}" srcOrd="5" destOrd="0" presId="urn:microsoft.com/office/officeart/2005/8/layout/hierarchy1#1"/>
    <dgm:cxn modelId="{DABCB314-F491-471B-97A0-609E30BD37D7}" type="presParOf" srcId="{DF232B17-0630-448E-80C8-99BC42DC0006}" destId="{76121903-99E8-482B-B974-09F7588AF452}" srcOrd="0" destOrd="0" presId="urn:microsoft.com/office/officeart/2005/8/layout/hierarchy1#1"/>
    <dgm:cxn modelId="{A1E320BF-E974-4AA9-B57C-58AD8775746A}" type="presParOf" srcId="{76121903-99E8-482B-B974-09F7588AF452}" destId="{CDE4B1E3-4409-45AE-A95B-388E93C7A921}" srcOrd="0" destOrd="0" presId="urn:microsoft.com/office/officeart/2005/8/layout/hierarchy1#1"/>
    <dgm:cxn modelId="{081C14A8-70F4-4534-BFB7-99AF86992CF5}" type="presParOf" srcId="{76121903-99E8-482B-B974-09F7588AF452}" destId="{17771F45-3FCB-49B8-8331-B29F56ACA841}" srcOrd="1" destOrd="0" presId="urn:microsoft.com/office/officeart/2005/8/layout/hierarchy1#1"/>
    <dgm:cxn modelId="{A81929CB-ADC0-4683-B264-6D485D2B3570}" type="presParOf" srcId="{DF232B17-0630-448E-80C8-99BC42DC0006}" destId="{88141605-A6D9-458B-BD02-9376AB3A63F1}" srcOrd="1" destOrd="0" presId="urn:microsoft.com/office/officeart/2005/8/layout/hierarchy1#1"/>
    <dgm:cxn modelId="{D0B43CD5-D12E-48AC-ABAD-F3692C45570B}" type="presParOf" srcId="{153A386B-7C89-423E-9D70-22D98FF7BD88}" destId="{B47F0B4B-6848-49CF-9DAD-B665F7B1CF7D}" srcOrd="1" destOrd="0" presId="urn:microsoft.com/office/officeart/2005/8/layout/hierarchy1#1"/>
    <dgm:cxn modelId="{DB830604-C488-46FD-AA59-487BA32EA202}" type="presParOf" srcId="{B47F0B4B-6848-49CF-9DAD-B665F7B1CF7D}" destId="{01A94510-290D-472B-916D-BA8DA98FC841}" srcOrd="0" destOrd="0" presId="urn:microsoft.com/office/officeart/2005/8/layout/hierarchy1#1"/>
    <dgm:cxn modelId="{C597E237-0AF5-4817-8402-15A0C148EBC5}" type="presParOf" srcId="{01A94510-290D-472B-916D-BA8DA98FC841}" destId="{BDB2B5F3-1C7E-4760-8D5A-FE294458D685}" srcOrd="0" destOrd="0" presId="urn:microsoft.com/office/officeart/2005/8/layout/hierarchy1#1"/>
    <dgm:cxn modelId="{9F045770-FF4B-4CA5-98B3-99BCACFDC711}" type="presParOf" srcId="{01A94510-290D-472B-916D-BA8DA98FC841}" destId="{20816780-E7C0-4157-AD6C-EC77876EF69C}" srcOrd="1" destOrd="0" presId="urn:microsoft.com/office/officeart/2005/8/layout/hierarchy1#1"/>
    <dgm:cxn modelId="{D375AA48-3588-4096-A4A8-679EB1D65272}" type="presParOf" srcId="{B47F0B4B-6848-49CF-9DAD-B665F7B1CF7D}" destId="{9CE9C73F-BA38-43FB-9A82-90CD0B194B7E}" srcOrd="1" destOrd="0" presId="urn:microsoft.com/office/officeart/2005/8/layout/hierarchy1#1"/>
    <dgm:cxn modelId="{F066551C-A17D-4771-9289-6E97BF09A04B}" type="presParOf" srcId="{153A386B-7C89-423E-9D70-22D98FF7BD88}" destId="{C4A1DD43-A00A-4BB9-9A6E-0D89EF1D6B0A}" srcOrd="2" destOrd="0" presId="urn:microsoft.com/office/officeart/2005/8/layout/hierarchy1#1"/>
    <dgm:cxn modelId="{CD521C56-122C-4D84-8A31-2947C01C4496}" type="presParOf" srcId="{C4A1DD43-A00A-4BB9-9A6E-0D89EF1D6B0A}" destId="{3F3B6ED9-C771-488E-BCBD-C9A806AD8CA2}" srcOrd="0" destOrd="0" presId="urn:microsoft.com/office/officeart/2005/8/layout/hierarchy1#1"/>
    <dgm:cxn modelId="{3C1B00A7-EAA4-433C-B9D4-EB00AC78E051}" type="presParOf" srcId="{3F3B6ED9-C771-488E-BCBD-C9A806AD8CA2}" destId="{2B652519-AFCF-4D76-9493-5821B06C190A}" srcOrd="0" destOrd="0" presId="urn:microsoft.com/office/officeart/2005/8/layout/hierarchy1#1"/>
    <dgm:cxn modelId="{1E13D8C7-D75E-4C16-9FC7-5FF1F44E186D}" type="presParOf" srcId="{3F3B6ED9-C771-488E-BCBD-C9A806AD8CA2}" destId="{2775F679-2889-4FAC-A1C0-F5A2DAF89B1C}" srcOrd="1" destOrd="0" presId="urn:microsoft.com/office/officeart/2005/8/layout/hierarchy1#1"/>
    <dgm:cxn modelId="{67D1806C-544D-487D-BB28-0CF3B62BE9A7}" type="presParOf" srcId="{C4A1DD43-A00A-4BB9-9A6E-0D89EF1D6B0A}" destId="{BB28110D-EE9D-40A7-A312-3A2A20E6E10C}" srcOrd="1" destOrd="0" presId="urn:microsoft.com/office/officeart/2005/8/layout/hierarchy1#1"/>
    <dgm:cxn modelId="{E0CCB36B-E5BC-4E9D-B56C-267CE6426BF1}" type="presParOf" srcId="{153A386B-7C89-423E-9D70-22D98FF7BD88}" destId="{55E74FBF-189A-492F-B91D-8E73827BAE0D}" srcOrd="3" destOrd="0" presId="urn:microsoft.com/office/officeart/2005/8/layout/hierarchy1#1"/>
    <dgm:cxn modelId="{C25175D9-3F27-45E8-BA0C-ABBB7B719DE0}" type="presParOf" srcId="{55E74FBF-189A-492F-B91D-8E73827BAE0D}" destId="{20177F3D-F315-4F23-AA7C-C3245D5B59A2}" srcOrd="0" destOrd="0" presId="urn:microsoft.com/office/officeart/2005/8/layout/hierarchy1#1"/>
    <dgm:cxn modelId="{79278C4F-5A95-44C6-A949-C54B63B23C5E}" type="presParOf" srcId="{20177F3D-F315-4F23-AA7C-C3245D5B59A2}" destId="{3CC20245-8CEF-481E-84A2-C9E1F76A9938}" srcOrd="0" destOrd="0" presId="urn:microsoft.com/office/officeart/2005/8/layout/hierarchy1#1"/>
    <dgm:cxn modelId="{C31CE4B8-35D8-4AF5-92AC-40BC6F763C82}" type="presParOf" srcId="{20177F3D-F315-4F23-AA7C-C3245D5B59A2}" destId="{A966EA0A-9FAB-4F5B-9F98-8EFEDA9B8C66}" srcOrd="1" destOrd="0" presId="urn:microsoft.com/office/officeart/2005/8/layout/hierarchy1#1"/>
    <dgm:cxn modelId="{24F6D479-9CCC-478E-8C2A-A290415660F0}" type="presParOf" srcId="{55E74FBF-189A-492F-B91D-8E73827BAE0D}" destId="{C37EFD14-3D8B-4427-A2D7-8A1CA2776BB8}" srcOrd="1" destOrd="0" presId="urn:microsoft.com/office/officeart/2005/8/layout/hierarchy1#1"/>
    <dgm:cxn modelId="{F100A409-1D5B-431C-B1E3-BCEB5B0720C2}" type="presParOf" srcId="{153A386B-7C89-423E-9D70-22D98FF7BD88}" destId="{F6481E08-ED08-49EA-8FE6-2263E182946B}" srcOrd="4" destOrd="0" presId="urn:microsoft.com/office/officeart/2005/8/layout/hierarchy1#1"/>
    <dgm:cxn modelId="{BCF6C82C-8033-408E-9873-24757CEFC8A8}" type="presParOf" srcId="{F6481E08-ED08-49EA-8FE6-2263E182946B}" destId="{F74DFB90-501E-43C3-BEBA-8B5DB5391B26}" srcOrd="0" destOrd="0" presId="urn:microsoft.com/office/officeart/2005/8/layout/hierarchy1#1"/>
    <dgm:cxn modelId="{F5BE0EB3-3993-4935-8A89-A6BBD44CD59B}" type="presParOf" srcId="{F74DFB90-501E-43C3-BEBA-8B5DB5391B26}" destId="{4473AD80-FCE8-4A76-A7C1-109F58E2B750}" srcOrd="0" destOrd="0" presId="urn:microsoft.com/office/officeart/2005/8/layout/hierarchy1#1"/>
    <dgm:cxn modelId="{1F51B5B8-9563-4753-A1BB-48930D31ED58}" type="presParOf" srcId="{F74DFB90-501E-43C3-BEBA-8B5DB5391B26}" destId="{BB763274-2249-4C09-BB3B-1D66EB8BD2C9}" srcOrd="1" destOrd="0" presId="urn:microsoft.com/office/officeart/2005/8/layout/hierarchy1#1"/>
    <dgm:cxn modelId="{C6394CD6-B8DC-495C-BA74-E618CA6C9DD8}" type="presParOf" srcId="{F6481E08-ED08-49EA-8FE6-2263E182946B}" destId="{9D283134-CE3D-482C-B0D0-FE8E8287C789}" srcOrd="1" destOrd="0" presId="urn:microsoft.com/office/officeart/2005/8/layout/hierarchy1#1"/>
    <dgm:cxn modelId="{75131FD8-5B2B-4242-8998-DC9749F95FF6}" type="presParOf" srcId="{153A386B-7C89-423E-9D70-22D98FF7BD88}" destId="{AC41C9CD-E5FE-49B6-BB1C-E7876B66F5D3}" srcOrd="5" destOrd="0" presId="urn:microsoft.com/office/officeart/2005/8/layout/hierarchy1#1"/>
    <dgm:cxn modelId="{C40FBFF7-95BB-4161-BF8D-BFC6A30C9326}" type="presParOf" srcId="{AC41C9CD-E5FE-49B6-BB1C-E7876B66F5D3}" destId="{E82CE24E-1AA9-485D-96E3-2D15B269954E}" srcOrd="0" destOrd="0" presId="urn:microsoft.com/office/officeart/2005/8/layout/hierarchy1#1"/>
    <dgm:cxn modelId="{E35D6F8D-1552-4E41-A605-46F49E56435F}" type="presParOf" srcId="{E82CE24E-1AA9-485D-96E3-2D15B269954E}" destId="{FCDCEE61-745B-4355-9ED9-DAC5CBFFB0BA}" srcOrd="0" destOrd="0" presId="urn:microsoft.com/office/officeart/2005/8/layout/hierarchy1#1"/>
    <dgm:cxn modelId="{25D4BFF5-DDB3-4D57-B27B-B70A0A2638D1}" type="presParOf" srcId="{E82CE24E-1AA9-485D-96E3-2D15B269954E}" destId="{60786F08-E999-4D1D-B867-9C05C86741B6}" srcOrd="1" destOrd="0" presId="urn:microsoft.com/office/officeart/2005/8/layout/hierarchy1#1"/>
    <dgm:cxn modelId="{5E590E66-8933-45AB-A017-5FC6290BFEB4}" type="presParOf" srcId="{AC41C9CD-E5FE-49B6-BB1C-E7876B66F5D3}" destId="{E2A48A3E-675D-492B-B270-1241E02091E7}" srcOrd="1" destOrd="0" presId="urn:microsoft.com/office/officeart/2005/8/layout/hierarchy1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8402320" cy="4644390"/>
        <a:chOff x="0" y="0"/>
        <a:chExt cx="8402320" cy="4644390"/>
      </a:xfrm>
    </dsp:grpSpPr>
    <dsp:sp modelId="{CC1EB740-71C8-488A-8E0E-D42E01436A42}">
      <dsp:nvSpPr>
        <dsp:cNvPr id="5" name="矩形 4"/>
        <dsp:cNvSpPr/>
      </dsp:nvSpPr>
      <dsp:spPr bwMode="white">
        <a:xfrm>
          <a:off x="0" y="327155"/>
          <a:ext cx="8402320" cy="478800"/>
        </a:xfrm>
        <a:prstGeom prst="rect">
          <a:avLst/>
        </a:prstGeom>
        <a:solidFill>
          <a:srgbClr val="F5F6F7">
            <a:alpha val="90000"/>
          </a:srgbClr>
        </a:solidFill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652113" tIns="395731" rIns="652113" bIns="135128" anchor="t"/>
        <a:lstStyle>
          <a:lvl1pPr algn="l">
            <a:defRPr sz="1900"/>
          </a:lvl1pPr>
          <a:lvl2pPr marL="171450" indent="-171450" algn="l">
            <a:defRPr sz="1900"/>
          </a:lvl2pPr>
          <a:lvl3pPr marL="342900" indent="-171450" algn="l">
            <a:defRPr sz="1900"/>
          </a:lvl3pPr>
          <a:lvl4pPr marL="514350" indent="-171450" algn="l">
            <a:defRPr sz="1900"/>
          </a:lvl4pPr>
          <a:lvl5pPr marL="685800" indent="-171450" algn="l">
            <a:defRPr sz="1900"/>
          </a:lvl5pPr>
          <a:lvl6pPr marL="857250" indent="-171450" algn="l">
            <a:defRPr sz="1900"/>
          </a:lvl6pPr>
          <a:lvl7pPr marL="1028700" indent="-171450" algn="l">
            <a:defRPr sz="1900"/>
          </a:lvl7pPr>
          <a:lvl8pPr marL="1200150" indent="-171450" algn="l">
            <a:defRPr sz="1900"/>
          </a:lvl8pPr>
          <a:lvl9pPr marL="1371600" indent="-171450" algn="l">
            <a:defRPr sz="1900"/>
          </a:lvl9pPr>
        </a:lstStyle>
        <a:p>
          <a:endParaRPr>
            <a:solidFill>
              <a:schemeClr val="dk1"/>
            </a:solidFill>
          </a:endParaRPr>
        </a:p>
      </dsp:txBody>
      <dsp:txXfrm>
        <a:off x="0" y="327155"/>
        <a:ext cx="8402320" cy="478800"/>
      </dsp:txXfrm>
    </dsp:sp>
    <dsp:sp modelId="{AB069E6D-E9DE-4C48-9CA1-44BCBBD2E755}">
      <dsp:nvSpPr>
        <dsp:cNvPr id="4" name="圆角矩形 3"/>
        <dsp:cNvSpPr/>
      </dsp:nvSpPr>
      <dsp:spPr bwMode="white">
        <a:xfrm>
          <a:off x="420116" y="46715"/>
          <a:ext cx="5881624" cy="560880"/>
        </a:xfrm>
        <a:prstGeom prst="roundRect">
          <a:avLst/>
        </a:prstGeom>
        <a:solidFill>
          <a:srgbClr val="E0620E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222311" tIns="0" rIns="222311" bIns="0" anchor="ctr"/>
        <a:lstStyle>
          <a:lvl1pPr algn="l">
            <a:defRPr sz="1900"/>
          </a:lvl1pPr>
          <a:lvl2pPr marL="114300" indent="-114300" algn="l">
            <a:defRPr sz="1400"/>
          </a:lvl2pPr>
          <a:lvl3pPr marL="228600" indent="-114300" algn="l">
            <a:defRPr sz="1400"/>
          </a:lvl3pPr>
          <a:lvl4pPr marL="342900" indent="-114300" algn="l">
            <a:defRPr sz="1400"/>
          </a:lvl4pPr>
          <a:lvl5pPr marL="457200" indent="-114300" algn="l">
            <a:defRPr sz="1400"/>
          </a:lvl5pPr>
          <a:lvl6pPr marL="571500" indent="-114300" algn="l">
            <a:defRPr sz="1400"/>
          </a:lvl6pPr>
          <a:lvl7pPr marL="685800" indent="-114300" algn="l">
            <a:defRPr sz="1400"/>
          </a:lvl7pPr>
          <a:lvl8pPr marL="800100" indent="-114300" algn="l">
            <a:defRPr sz="1400"/>
          </a:lvl8pPr>
          <a:lvl9pPr marL="914400" indent="-114300" algn="l">
            <a:defRPr sz="14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/>
            <a:t>基于</a:t>
          </a:r>
          <a:r>
            <a:rPr lang="en-US" b="1" dirty="0"/>
            <a:t>PostgreSQL 15.2</a:t>
          </a:r>
        </a:p>
      </dsp:txBody>
      <dsp:txXfrm>
        <a:off x="420116" y="46715"/>
        <a:ext cx="5881624" cy="560880"/>
      </dsp:txXfrm>
    </dsp:sp>
    <dsp:sp modelId="{05126D3A-1B11-40E4-B491-EF4D347DA87E}">
      <dsp:nvSpPr>
        <dsp:cNvPr id="8" name="矩形 7"/>
        <dsp:cNvSpPr/>
      </dsp:nvSpPr>
      <dsp:spPr bwMode="white">
        <a:xfrm>
          <a:off x="0" y="1188995"/>
          <a:ext cx="8402320" cy="3408680"/>
        </a:xfrm>
        <a:prstGeom prst="rect">
          <a:avLst/>
        </a:prstGeom>
        <a:solidFill>
          <a:srgbClr val="F5F6F7">
            <a:alpha val="90000"/>
          </a:srgbClr>
        </a:solidFill>
      </dsp:spPr>
      <dsp:style>
        <a:lnRef idx="2">
          <a:schemeClr val="accent1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652113" tIns="395731" rIns="652113" bIns="135128" anchor="t"/>
        <a:lstStyle>
          <a:lvl1pPr algn="l">
            <a:defRPr sz="1900"/>
          </a:lvl1pPr>
          <a:lvl2pPr marL="171450" indent="-171450" algn="l">
            <a:defRPr sz="1900"/>
          </a:lvl2pPr>
          <a:lvl3pPr marL="342900" indent="-171450" algn="l">
            <a:defRPr sz="1900"/>
          </a:lvl3pPr>
          <a:lvl4pPr marL="514350" indent="-171450" algn="l">
            <a:defRPr sz="1900"/>
          </a:lvl4pPr>
          <a:lvl5pPr marL="685800" indent="-171450" algn="l">
            <a:defRPr sz="1900"/>
          </a:lvl5pPr>
          <a:lvl6pPr marL="857250" indent="-171450" algn="l">
            <a:defRPr sz="1900"/>
          </a:lvl6pPr>
          <a:lvl7pPr marL="1028700" indent="-171450" algn="l">
            <a:defRPr sz="1900"/>
          </a:lvl7pPr>
          <a:lvl8pPr marL="1200150" indent="-171450" algn="l">
            <a:defRPr sz="1900"/>
          </a:lvl8pPr>
          <a:lvl9pPr marL="1371600" indent="-171450" algn="l">
            <a:defRPr sz="19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Oracle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兼容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-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函数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Oracle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兼容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-PL/</a:t>
          </a:r>
          <a:r>
            <a:rPr lang="en-US" dirty="0" err="1">
              <a:solidFill>
                <a:schemeClr val="dk1"/>
              </a:solidFill>
              <a:latin typeface="Abadi" panose="020B0604020104020204" pitchFamily="34" charset="0"/>
            </a:rPr>
            <a:t>iSQL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过程语言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Oracle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兼容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-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多种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DDL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和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DML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语法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Oracle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兼容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-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日期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/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时间函数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支持层次查询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>
              <a:solidFill>
                <a:schemeClr val="dk1"/>
              </a:solidFill>
              <a:latin typeface="Abadi" panose="020B0604020104020204" pitchFamily="34" charset="0"/>
            </a:rPr>
            <a:t>支持匿名块</a:t>
          </a:r>
          <a:endParaRPr lang="en-US">
            <a:solidFill>
              <a:schemeClr val="dk1"/>
            </a:solidFill>
            <a:latin typeface="Abadi" panose="020B0604020104020204" pitchFamily="34" charset="0"/>
          </a:endParaRPr>
        </a:p>
        <a:p>
          <a:pPr lvl="2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通过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GUC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参数切换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Oracle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和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PostgreSQL</a:t>
          </a: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模式</a:t>
          </a:r>
          <a:endParaRPr lang="en-US" dirty="0">
            <a:solidFill>
              <a:schemeClr val="dk1"/>
            </a:solidFill>
            <a:latin typeface="Abadi" panose="020B0604020104020204" pitchFamily="34" charset="0"/>
          </a:endParaRPr>
        </a:p>
        <a:p>
          <a:pPr lvl="2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dirty="0">
              <a:solidFill>
                <a:schemeClr val="dk1"/>
              </a:solidFill>
              <a:latin typeface="Abadi" panose="020B0604020104020204" pitchFamily="34" charset="0"/>
            </a:rPr>
            <a:t>支持</a:t>
          </a:r>
          <a:r>
            <a:rPr lang="en-US" dirty="0">
              <a:solidFill>
                <a:schemeClr val="dk1"/>
              </a:solidFill>
              <a:latin typeface="Abadi" panose="020B0604020104020204" pitchFamily="34" charset="0"/>
            </a:rPr>
            <a:t>Package</a:t>
          </a:r>
          <a:endParaRPr>
            <a:solidFill>
              <a:schemeClr val="dk1"/>
            </a:solidFill>
          </a:endParaRPr>
        </a:p>
      </dsp:txBody>
      <dsp:txXfrm>
        <a:off x="0" y="1188995"/>
        <a:ext cx="8402320" cy="3408680"/>
      </dsp:txXfrm>
    </dsp:sp>
    <dsp:sp modelId="{40A4093A-4F98-45C4-A251-663208A3364E}">
      <dsp:nvSpPr>
        <dsp:cNvPr id="7" name="圆角矩形 6"/>
        <dsp:cNvSpPr/>
      </dsp:nvSpPr>
      <dsp:spPr bwMode="white">
        <a:xfrm>
          <a:off x="420116" y="908555"/>
          <a:ext cx="5881624" cy="560880"/>
        </a:xfrm>
        <a:prstGeom prst="roundRect">
          <a:avLst/>
        </a:prstGeom>
        <a:solidFill>
          <a:srgbClr val="E0620E"/>
        </a:solidFill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222311" tIns="0" rIns="222311" bIns="0" anchor="ctr"/>
        <a:lstStyle>
          <a:lvl1pPr algn="l">
            <a:defRPr sz="1900"/>
          </a:lvl1pPr>
          <a:lvl2pPr marL="114300" indent="-114300" algn="l">
            <a:defRPr sz="1400"/>
          </a:lvl2pPr>
          <a:lvl3pPr marL="228600" indent="-114300" algn="l">
            <a:defRPr sz="1400"/>
          </a:lvl3pPr>
          <a:lvl4pPr marL="342900" indent="-114300" algn="l">
            <a:defRPr sz="1400"/>
          </a:lvl4pPr>
          <a:lvl5pPr marL="457200" indent="-114300" algn="l">
            <a:defRPr sz="1400"/>
          </a:lvl5pPr>
          <a:lvl6pPr marL="571500" indent="-114300" algn="l">
            <a:defRPr sz="1400"/>
          </a:lvl6pPr>
          <a:lvl7pPr marL="685800" indent="-114300" algn="l">
            <a:defRPr sz="1400"/>
          </a:lvl7pPr>
          <a:lvl8pPr marL="800100" indent="-114300" algn="l">
            <a:defRPr sz="1400"/>
          </a:lvl8pPr>
          <a:lvl9pPr marL="914400" indent="-114300" algn="l">
            <a:defRPr sz="14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b="1" dirty="0"/>
            <a:t>IvorySQL</a:t>
          </a:r>
          <a:r>
            <a:rPr lang="zh-CN" b="1" dirty="0"/>
            <a:t>包括如下特性：</a:t>
          </a:r>
          <a:endParaRPr lang="en-US" b="1" dirty="0"/>
        </a:p>
      </dsp:txBody>
      <dsp:txXfrm>
        <a:off x="420116" y="908555"/>
        <a:ext cx="5881624" cy="560880"/>
      </dsp:txXfrm>
    </dsp:sp>
    <dsp:sp modelId="{2A8A3D37-088B-4E4D-BD25-341E1276C3C7}">
      <dsp:nvSpPr>
        <dsp:cNvPr id="3" name="矩形 2" hidden="1"/>
        <dsp:cNvSpPr/>
      </dsp:nvSpPr>
      <dsp:spPr>
        <a:xfrm>
          <a:off x="0" y="46715"/>
          <a:ext cx="420116" cy="560880"/>
        </a:xfrm>
        <a:prstGeom prst="rect">
          <a:avLst/>
        </a:prstGeom>
      </dsp:spPr>
      <dsp:txXfrm>
        <a:off x="0" y="46715"/>
        <a:ext cx="420116" cy="560880"/>
      </dsp:txXfrm>
    </dsp:sp>
    <dsp:sp modelId="{818385CA-42DB-4317-A353-C43E7C4CF394}">
      <dsp:nvSpPr>
        <dsp:cNvPr id="6" name="矩形 5" hidden="1"/>
        <dsp:cNvSpPr/>
      </dsp:nvSpPr>
      <dsp:spPr>
        <a:xfrm>
          <a:off x="0" y="908555"/>
          <a:ext cx="420116" cy="560880"/>
        </a:xfrm>
        <a:prstGeom prst="rect">
          <a:avLst/>
        </a:prstGeom>
      </dsp:spPr>
      <dsp:txXfrm>
        <a:off x="0" y="908555"/>
        <a:ext cx="420116" cy="5608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11498580" cy="5101590"/>
        <a:chOff x="0" y="0"/>
        <a:chExt cx="11498580" cy="5101590"/>
      </a:xfrm>
    </dsp:grpSpPr>
    <dsp:sp modelId="{7DC43019-2577-44DF-A3AD-1B72BDCD99E7}">
      <dsp:nvSpPr>
        <dsp:cNvPr id="5" name="任意多边形 4"/>
        <dsp:cNvSpPr/>
      </dsp:nvSpPr>
      <dsp:spPr bwMode="white">
        <a:xfrm>
          <a:off x="680837" y="2280541"/>
          <a:ext cx="1664268" cy="396777"/>
        </a:xfrm>
        <a:custGeom>
          <a:avLst/>
          <a:gdLst/>
          <a:ahLst/>
          <a:cxnLst/>
          <a:pathLst>
            <a:path w="2621" h="625">
              <a:moveTo>
                <a:pt x="2621" y="0"/>
              </a:moveTo>
              <a:lnTo>
                <a:pt x="2621" y="506"/>
              </a:lnTo>
              <a:lnTo>
                <a:pt x="0" y="506"/>
              </a:lnTo>
              <a:lnTo>
                <a:pt x="0" y="625"/>
              </a:lnTo>
            </a:path>
          </a:pathLst>
        </a:custGeom>
      </dsp:spPr>
      <dsp:style>
        <a:lnRef idx="2">
          <a:schemeClr val="accent2">
            <a:shade val="60000"/>
          </a:schemeClr>
        </a:lnRef>
        <a:fillRef idx="0">
          <a:schemeClr val="accent2"/>
        </a:fillRef>
        <a:effectRef idx="0">
          <a:scrgbClr r="0" g="0" b="0"/>
        </a:effectRef>
        <a:fontRef idx="minor"/>
      </dsp:style>
      <dsp:txXfrm>
        <a:off x="680837" y="2280541"/>
        <a:ext cx="1664268" cy="396777"/>
      </dsp:txXfrm>
    </dsp:sp>
    <dsp:sp modelId="{E063B721-57F7-4882-87CC-DBB234814D51}">
      <dsp:nvSpPr>
        <dsp:cNvPr id="8" name="任意多边形 7"/>
        <dsp:cNvSpPr/>
      </dsp:nvSpPr>
      <dsp:spPr bwMode="white">
        <a:xfrm>
          <a:off x="2345105" y="2280541"/>
          <a:ext cx="0" cy="396777"/>
        </a:xfrm>
        <a:custGeom>
          <a:avLst/>
          <a:gdLst/>
          <a:ahLst/>
          <a:cxnLst/>
          <a:pathLst>
            <a:path h="625">
              <a:moveTo>
                <a:pt x="0" y="0"/>
              </a:moveTo>
              <a:lnTo>
                <a:pt x="0" y="625"/>
              </a:lnTo>
            </a:path>
          </a:pathLst>
        </a:custGeom>
      </dsp:spPr>
      <dsp:style>
        <a:lnRef idx="2">
          <a:schemeClr val="accent2">
            <a:shade val="60000"/>
          </a:schemeClr>
        </a:lnRef>
        <a:fillRef idx="0">
          <a:schemeClr val="accent2"/>
        </a:fillRef>
        <a:effectRef idx="0">
          <a:scrgbClr r="0" g="0" b="0"/>
        </a:effectRef>
        <a:fontRef idx="minor"/>
      </dsp:style>
      <dsp:txXfrm>
        <a:off x="2345105" y="2280541"/>
        <a:ext cx="0" cy="396777"/>
      </dsp:txXfrm>
    </dsp:sp>
    <dsp:sp modelId="{574CF691-3A27-4DD9-8B4D-ADC32C13C556}">
      <dsp:nvSpPr>
        <dsp:cNvPr id="11" name="任意多边形 10"/>
        <dsp:cNvSpPr/>
      </dsp:nvSpPr>
      <dsp:spPr bwMode="white">
        <a:xfrm>
          <a:off x="2345105" y="2280541"/>
          <a:ext cx="1664268" cy="396777"/>
        </a:xfrm>
        <a:custGeom>
          <a:avLst/>
          <a:gdLst/>
          <a:ahLst/>
          <a:cxnLst/>
          <a:pathLst>
            <a:path w="2621" h="625">
              <a:moveTo>
                <a:pt x="0" y="0"/>
              </a:moveTo>
              <a:lnTo>
                <a:pt x="0" y="506"/>
              </a:lnTo>
              <a:lnTo>
                <a:pt x="2621" y="506"/>
              </a:lnTo>
              <a:lnTo>
                <a:pt x="2621" y="625"/>
              </a:lnTo>
            </a:path>
          </a:pathLst>
        </a:custGeom>
      </dsp:spPr>
      <dsp:style>
        <a:lnRef idx="2">
          <a:schemeClr val="accent2">
            <a:shade val="60000"/>
          </a:schemeClr>
        </a:lnRef>
        <a:fillRef idx="0">
          <a:schemeClr val="accent2"/>
        </a:fillRef>
        <a:effectRef idx="0">
          <a:scrgbClr r="0" g="0" b="0"/>
        </a:effectRef>
        <a:fontRef idx="minor"/>
      </dsp:style>
      <dsp:txXfrm>
        <a:off x="2345105" y="2280541"/>
        <a:ext cx="1664268" cy="396777"/>
      </dsp:txXfrm>
    </dsp:sp>
    <dsp:sp modelId="{01E5D6A3-AFD8-4ED0-AD9A-E8CAB20F34B8}">
      <dsp:nvSpPr>
        <dsp:cNvPr id="3" name="圆角矩形 2"/>
        <dsp:cNvSpPr/>
      </dsp:nvSpPr>
      <dsp:spPr bwMode="white">
        <a:xfrm>
          <a:off x="1664268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1664268" y="1415878"/>
        <a:ext cx="1361674" cy="864663"/>
      </dsp:txXfrm>
    </dsp:sp>
    <dsp:sp modelId="{35551676-B44E-4FAD-8A0A-DBF31B7EC743}">
      <dsp:nvSpPr>
        <dsp:cNvPr id="4" name="圆角矩形 3"/>
        <dsp:cNvSpPr/>
      </dsp:nvSpPr>
      <dsp:spPr bwMode="white">
        <a:xfrm>
          <a:off x="1815565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贡献源码</a:t>
          </a:r>
          <a:endParaRPr lang="en-US" b="1" dirty="0">
            <a:solidFill>
              <a:schemeClr val="dk1"/>
            </a:solidFill>
          </a:endParaRPr>
        </a:p>
      </dsp:txBody>
      <dsp:txXfrm>
        <a:off x="1815565" y="1559610"/>
        <a:ext cx="1361674" cy="864663"/>
      </dsp:txXfrm>
    </dsp:sp>
    <dsp:sp modelId="{372CF6DB-2186-4B6F-8AEF-45A8D28B406E}">
      <dsp:nvSpPr>
        <dsp:cNvPr id="6" name="圆角矩形 5"/>
        <dsp:cNvSpPr/>
      </dsp:nvSpPr>
      <dsp:spPr bwMode="white">
        <a:xfrm>
          <a:off x="0" y="2677317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0" y="2677317"/>
        <a:ext cx="1361674" cy="864663"/>
      </dsp:txXfrm>
    </dsp:sp>
    <dsp:sp modelId="{835E4683-D8EB-4A1F-8EB9-7D8B30A6C3D7}">
      <dsp:nvSpPr>
        <dsp:cNvPr id="7" name="圆角矩形 6"/>
        <dsp:cNvSpPr/>
      </dsp:nvSpPr>
      <dsp:spPr bwMode="white">
        <a:xfrm>
          <a:off x="151297" y="2821049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提交特性代码</a:t>
          </a:r>
          <a:endParaRPr lang="en-US" b="1" dirty="0">
            <a:solidFill>
              <a:schemeClr val="dk1"/>
            </a:solidFill>
          </a:endParaRPr>
        </a:p>
      </dsp:txBody>
      <dsp:txXfrm>
        <a:off x="151297" y="2821049"/>
        <a:ext cx="1361674" cy="864663"/>
      </dsp:txXfrm>
    </dsp:sp>
    <dsp:sp modelId="{F0877E1B-D478-4B39-831F-0B24C5FA4846}">
      <dsp:nvSpPr>
        <dsp:cNvPr id="9" name="圆角矩形 8"/>
        <dsp:cNvSpPr/>
      </dsp:nvSpPr>
      <dsp:spPr bwMode="white">
        <a:xfrm>
          <a:off x="1664268" y="2677317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1664268" y="2677317"/>
        <a:ext cx="1361674" cy="864663"/>
      </dsp:txXfrm>
    </dsp:sp>
    <dsp:sp modelId="{01D31175-1BFD-4BF7-BAA1-E7A3E4D01930}">
      <dsp:nvSpPr>
        <dsp:cNvPr id="10" name="圆角矩形 9"/>
        <dsp:cNvSpPr/>
      </dsp:nvSpPr>
      <dsp:spPr bwMode="white">
        <a:xfrm>
          <a:off x="1815565" y="2821049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审查</a:t>
          </a:r>
          <a:r>
            <a:rPr lang="en-US" b="1" dirty="0">
              <a:solidFill>
                <a:schemeClr val="dk1"/>
              </a:solidFill>
            </a:rPr>
            <a:t>PR</a:t>
          </a:r>
          <a:endParaRPr>
            <a:solidFill>
              <a:schemeClr val="dk1"/>
            </a:solidFill>
          </a:endParaRPr>
        </a:p>
      </dsp:txBody>
      <dsp:txXfrm>
        <a:off x="1815565" y="2821049"/>
        <a:ext cx="1361674" cy="864663"/>
      </dsp:txXfrm>
    </dsp:sp>
    <dsp:sp modelId="{CDE4B1E3-4409-45AE-A95B-388E93C7A921}">
      <dsp:nvSpPr>
        <dsp:cNvPr id="12" name="圆角矩形 11"/>
        <dsp:cNvSpPr/>
      </dsp:nvSpPr>
      <dsp:spPr bwMode="white">
        <a:xfrm>
          <a:off x="3328536" y="2677317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3328536" y="2677317"/>
        <a:ext cx="1361674" cy="864663"/>
      </dsp:txXfrm>
    </dsp:sp>
    <dsp:sp modelId="{17771F45-3FCB-49B8-8331-B29F56ACA841}">
      <dsp:nvSpPr>
        <dsp:cNvPr id="13" name="圆角矩形 12"/>
        <dsp:cNvSpPr/>
      </dsp:nvSpPr>
      <dsp:spPr bwMode="white">
        <a:xfrm>
          <a:off x="3479833" y="2821049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提交修复</a:t>
          </a:r>
          <a:r>
            <a:rPr lang="en-US" b="1" dirty="0">
              <a:solidFill>
                <a:schemeClr val="dk1"/>
              </a:solidFill>
            </a:rPr>
            <a:t>BUG</a:t>
          </a:r>
          <a:r>
            <a:rPr lang="zh-CN" b="1" dirty="0">
              <a:solidFill>
                <a:schemeClr val="dk1"/>
              </a:solidFill>
            </a:rPr>
            <a:t>的</a:t>
          </a:r>
          <a:r>
            <a:rPr lang="en-US" b="1" dirty="0">
              <a:solidFill>
                <a:schemeClr val="dk1"/>
              </a:solidFill>
            </a:rPr>
            <a:t>PR</a:t>
          </a:r>
          <a:endParaRPr>
            <a:solidFill>
              <a:schemeClr val="dk1"/>
            </a:solidFill>
          </a:endParaRPr>
        </a:p>
      </dsp:txBody>
      <dsp:txXfrm>
        <a:off x="3479833" y="2821049"/>
        <a:ext cx="1361674" cy="864663"/>
      </dsp:txXfrm>
    </dsp:sp>
    <dsp:sp modelId="{BDB2B5F3-1C7E-4760-8D5A-FE294458D685}">
      <dsp:nvSpPr>
        <dsp:cNvPr id="14" name="圆角矩形 13"/>
        <dsp:cNvSpPr/>
      </dsp:nvSpPr>
      <dsp:spPr bwMode="white">
        <a:xfrm>
          <a:off x="3328536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3328536" y="1415878"/>
        <a:ext cx="1361674" cy="864663"/>
      </dsp:txXfrm>
    </dsp:sp>
    <dsp:sp modelId="{20816780-E7C0-4157-AD6C-EC77876EF69C}">
      <dsp:nvSpPr>
        <dsp:cNvPr id="15" name="圆角矩形 14"/>
        <dsp:cNvSpPr/>
      </dsp:nvSpPr>
      <dsp:spPr bwMode="white">
        <a:xfrm>
          <a:off x="3479833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测试并报告</a:t>
          </a:r>
          <a:r>
            <a:rPr lang="en-US" b="1" dirty="0">
              <a:solidFill>
                <a:schemeClr val="dk1"/>
              </a:solidFill>
            </a:rPr>
            <a:t>Bug</a:t>
          </a:r>
          <a:endParaRPr>
            <a:solidFill>
              <a:schemeClr val="dk1"/>
            </a:solidFill>
          </a:endParaRPr>
        </a:p>
      </dsp:txBody>
      <dsp:txXfrm>
        <a:off x="3479833" y="1559610"/>
        <a:ext cx="1361674" cy="864663"/>
      </dsp:txXfrm>
    </dsp:sp>
    <dsp:sp modelId="{2B652519-AFCF-4D76-9493-5821B06C190A}">
      <dsp:nvSpPr>
        <dsp:cNvPr id="16" name="圆角矩形 15"/>
        <dsp:cNvSpPr/>
      </dsp:nvSpPr>
      <dsp:spPr bwMode="white">
        <a:xfrm>
          <a:off x="4992804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4992804" y="1415878"/>
        <a:ext cx="1361674" cy="864663"/>
      </dsp:txXfrm>
    </dsp:sp>
    <dsp:sp modelId="{2775F679-2889-4FAC-A1C0-F5A2DAF89B1C}">
      <dsp:nvSpPr>
        <dsp:cNvPr id="17" name="圆角矩形 16"/>
        <dsp:cNvSpPr/>
      </dsp:nvSpPr>
      <dsp:spPr bwMode="white">
        <a:xfrm>
          <a:off x="5144102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关于</a:t>
          </a:r>
          <a:r>
            <a:rPr lang="en-US" b="1" dirty="0">
              <a:solidFill>
                <a:schemeClr val="dk1"/>
              </a:solidFill>
            </a:rPr>
            <a:t>IvorySQL</a:t>
          </a:r>
          <a:r>
            <a:rPr lang="zh-CN" b="1" dirty="0">
              <a:solidFill>
                <a:schemeClr val="dk1"/>
              </a:solidFill>
            </a:rPr>
            <a:t>的博客</a:t>
          </a:r>
          <a:endParaRPr lang="en-US" b="1" dirty="0">
            <a:solidFill>
              <a:schemeClr val="dk1"/>
            </a:solidFill>
          </a:endParaRPr>
        </a:p>
      </dsp:txBody>
      <dsp:txXfrm>
        <a:off x="5144102" y="1559610"/>
        <a:ext cx="1361674" cy="864663"/>
      </dsp:txXfrm>
    </dsp:sp>
    <dsp:sp modelId="{3CC20245-8CEF-481E-84A2-C9E1F76A9938}">
      <dsp:nvSpPr>
        <dsp:cNvPr id="18" name="圆角矩形 17"/>
        <dsp:cNvSpPr/>
      </dsp:nvSpPr>
      <dsp:spPr bwMode="white">
        <a:xfrm>
          <a:off x="6657073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6657073" y="1415878"/>
        <a:ext cx="1361674" cy="864663"/>
      </dsp:txXfrm>
    </dsp:sp>
    <dsp:sp modelId="{A966EA0A-9FAB-4F5B-9F98-8EFEDA9B8C66}">
      <dsp:nvSpPr>
        <dsp:cNvPr id="19" name="圆角矩形 18"/>
        <dsp:cNvSpPr/>
      </dsp:nvSpPr>
      <dsp:spPr bwMode="white">
        <a:xfrm>
          <a:off x="6808370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回答用户问题</a:t>
          </a:r>
          <a:endParaRPr lang="en-US" b="1" dirty="0">
            <a:solidFill>
              <a:schemeClr val="dk1"/>
            </a:solidFill>
          </a:endParaRPr>
        </a:p>
      </dsp:txBody>
      <dsp:txXfrm>
        <a:off x="6808370" y="1559610"/>
        <a:ext cx="1361674" cy="864663"/>
      </dsp:txXfrm>
    </dsp:sp>
    <dsp:sp modelId="{4473AD80-FCE8-4A76-A7C1-109F58E2B750}">
      <dsp:nvSpPr>
        <dsp:cNvPr id="20" name="圆角矩形 19"/>
        <dsp:cNvSpPr/>
      </dsp:nvSpPr>
      <dsp:spPr bwMode="white">
        <a:xfrm>
          <a:off x="8321341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8321341" y="1415878"/>
        <a:ext cx="1361674" cy="864663"/>
      </dsp:txXfrm>
    </dsp:sp>
    <dsp:sp modelId="{BB763274-2249-4C09-BB3B-1D66EB8BD2C9}">
      <dsp:nvSpPr>
        <dsp:cNvPr id="21" name="圆角矩形 20"/>
        <dsp:cNvSpPr/>
      </dsp:nvSpPr>
      <dsp:spPr bwMode="white">
        <a:xfrm>
          <a:off x="8472638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贡献文档及站点资料</a:t>
          </a:r>
          <a:endParaRPr lang="en-US" b="1" dirty="0">
            <a:solidFill>
              <a:schemeClr val="dk1"/>
            </a:solidFill>
          </a:endParaRPr>
        </a:p>
      </dsp:txBody>
      <dsp:txXfrm>
        <a:off x="8472638" y="1559610"/>
        <a:ext cx="1361674" cy="864663"/>
      </dsp:txXfrm>
    </dsp:sp>
    <dsp:sp modelId="{FCDCEE61-745B-4355-9ED9-DAC5CBFFB0BA}">
      <dsp:nvSpPr>
        <dsp:cNvPr id="22" name="圆角矩形 21"/>
        <dsp:cNvSpPr/>
      </dsp:nvSpPr>
      <dsp:spPr bwMode="white">
        <a:xfrm>
          <a:off x="9985609" y="1415878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lt1"/>
        </a:lnRef>
        <a:fillRef idx="1">
          <a:schemeClr val="accent2"/>
        </a:fillRef>
        <a:effectRef idx="0">
          <a:scrgbClr r="0" g="0" b="0"/>
        </a:effectRef>
        <a:fontRef idx="minor">
          <a:schemeClr val="lt1"/>
        </a:fontRef>
      </dsp:style>
      <dsp:txXfrm>
        <a:off x="9985609" y="1415878"/>
        <a:ext cx="1361674" cy="864663"/>
      </dsp:txXfrm>
    </dsp:sp>
    <dsp:sp modelId="{60786F08-E999-4D1D-B867-9C05C86741B6}">
      <dsp:nvSpPr>
        <dsp:cNvPr id="23" name="圆角矩形 22"/>
        <dsp:cNvSpPr/>
      </dsp:nvSpPr>
      <dsp:spPr bwMode="white">
        <a:xfrm>
          <a:off x="10136906" y="1559610"/>
          <a:ext cx="1361674" cy="864663"/>
        </a:xfrm>
        <a:prstGeom prst="roundRect">
          <a:avLst>
            <a:gd name="adj" fmla="val 10000"/>
          </a:avLst>
        </a:prstGeom>
      </dsp:spPr>
      <dsp:style>
        <a:lnRef idx="2">
          <a:schemeClr val="accent2"/>
        </a:lnRef>
        <a:fillRef idx="1">
          <a:schemeClr val="lt1">
            <a:alpha val="90000"/>
          </a:schemeClr>
        </a:fillRef>
        <a:effectRef idx="0">
          <a:scrgbClr r="0" g="0" b="0"/>
        </a:effectRef>
        <a:fontRef idx="minor"/>
      </dsp:style>
      <dsp:txBody>
        <a:bodyPr lIns="49530" tIns="49530" rIns="49530" bIns="49530" anchor="ctr"/>
        <a:lstStyle>
          <a:lvl1pPr algn="ctr">
            <a:defRPr sz="13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b="1" dirty="0">
              <a:solidFill>
                <a:schemeClr val="dk1"/>
              </a:solidFill>
            </a:rPr>
            <a:t>为</a:t>
          </a:r>
          <a:r>
            <a:rPr lang="en-US" b="1" dirty="0" err="1">
              <a:solidFill>
                <a:schemeClr val="dk1"/>
              </a:solidFill>
            </a:rPr>
            <a:t>IvorySQL创建和托管（RPM和</a:t>
          </a:r>
          <a:r>
            <a:rPr lang="en-US" b="1" dirty="0">
              <a:solidFill>
                <a:schemeClr val="dk1"/>
              </a:solidFill>
            </a:rPr>
            <a:t>/</a:t>
          </a:r>
          <a:r>
            <a:rPr lang="en-US" b="1" dirty="0" err="1">
              <a:solidFill>
                <a:schemeClr val="dk1"/>
              </a:solidFill>
            </a:rPr>
            <a:t>或DEB）包</a:t>
          </a:r>
          <a:endParaRPr lang="en-US" b="1" dirty="0">
            <a:solidFill>
              <a:schemeClr val="dk1"/>
            </a:solidFill>
          </a:endParaRPr>
        </a:p>
      </dsp:txBody>
      <dsp:txXfrm>
        <a:off x="10136906" y="1559610"/>
        <a:ext cx="1361674" cy="8646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#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#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srcNode" val="background"/>
                    <dgm:param type="dstNode" val="background2"/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tCtr"/>
                    <dgm:param type="bendPt" val="end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srcNode" val="background2"/>
                            <dgm:param type="dstNode" val="background3"/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srcNode" val="background3"/>
                                        <dgm:param type="dstNode" val="background4"/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gPts" val="bCtr"/>
                                        <dgm:param type="endPts" val="tCtr"/>
                                        <dgm:param type="bendPt" val="end"/>
                                      </dgm:alg>
                                    </dgm:if>
                                    <dgm:else name="Name26">
                                      <dgm:alg type="conn">
                                        <dgm:param type="srcNode" val="background4"/>
                                        <dgm:param type="dstNode" val="background4"/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gPts" val="bCtr"/>
                                        <dgm:param type="endPts" val="tCtr"/>
                                        <dgm:param type="bendPt" val="end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大家好，我叫谭洋。来自瀚高基础软件股份有限公司。</a:t>
            </a:r>
            <a:endParaRPr lang="zh-CN" altLang="en-US"/>
          </a:p>
          <a:p>
            <a:r>
              <a:rPr lang="zh-CN" altLang="en-US"/>
              <a:t>今天我给大家分享的是</a:t>
            </a:r>
            <a:r>
              <a:rPr lang="en-US" altLang="zh-CN"/>
              <a:t>ivorysql</a:t>
            </a:r>
            <a:r>
              <a:rPr lang="zh-CN" altLang="en-US"/>
              <a:t>，一款基于</a:t>
            </a:r>
            <a:r>
              <a:rPr lang="en-US" altLang="zh-CN"/>
              <a:t>PostgreSQL</a:t>
            </a:r>
            <a:r>
              <a:rPr lang="zh-CN" altLang="en-US"/>
              <a:t>的兼容</a:t>
            </a:r>
            <a:r>
              <a:rPr lang="en-US" altLang="zh-CN"/>
              <a:t>Oracle</a:t>
            </a:r>
            <a:r>
              <a:rPr lang="zh-CN" altLang="en-US"/>
              <a:t>的开源数据库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我们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项目，采用敏捷开发，于</a:t>
            </a:r>
            <a:r>
              <a:rPr lang="en-US" altLang="zh-CN">
                <a:sym typeface="+mn-ea"/>
              </a:rPr>
              <a:t>2021/12/15</a:t>
            </a:r>
            <a:r>
              <a:rPr lang="zh-CN" altLang="en-US">
                <a:sym typeface="+mn-ea"/>
              </a:rPr>
              <a:t>推出</a:t>
            </a:r>
            <a:r>
              <a:rPr lang="en-US" altLang="zh-CN">
                <a:sym typeface="+mn-ea"/>
              </a:rPr>
              <a:t>1.0</a:t>
            </a:r>
            <a:r>
              <a:rPr lang="zh-CN" altLang="en-US">
                <a:sym typeface="+mn-ea"/>
              </a:rPr>
              <a:t>版本</a:t>
            </a:r>
            <a:endParaRPr lang="en-US" altLang="zh-CN">
              <a:sym typeface="+mn-ea"/>
            </a:endParaRPr>
          </a:p>
          <a:p>
            <a:pPr algn="l" hangingPunct="0">
              <a:lnSpc>
                <a:spcPct val="100000"/>
              </a:lnSpc>
            </a:pPr>
            <a:endParaRPr lang="en-US" altLang="zh-CN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1.0</a:t>
            </a:r>
            <a:r>
              <a:rPr lang="zh-CN" altLang="en-US">
                <a:sym typeface="+mn-ea"/>
              </a:rPr>
              <a:t>版本，侧重点在</a:t>
            </a:r>
            <a:r>
              <a:rPr lang="en-US" altLang="zh-CN">
                <a:sym typeface="+mn-ea"/>
              </a:rPr>
              <a:t>兼容 Oracle 的数据类型</a:t>
            </a:r>
            <a:r>
              <a:rPr lang="zh-CN" altLang="en-US">
                <a:sym typeface="+mn-ea"/>
              </a:rPr>
              <a:t>和函数，使用的是</a:t>
            </a:r>
            <a:r>
              <a:rPr lang="en-US" altLang="zh-CN">
                <a:sym typeface="+mn-ea"/>
              </a:rPr>
              <a:t>pg14.0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1.1-1.5 </a:t>
            </a:r>
            <a:r>
              <a:rPr lang="zh-CN" altLang="en-US">
                <a:sym typeface="+mn-ea"/>
              </a:rPr>
              <a:t>版本，是解决</a:t>
            </a:r>
            <a:r>
              <a:rPr lang="en-US" altLang="zh-CN">
                <a:sym typeface="+mn-ea"/>
              </a:rPr>
              <a:t>bug</a:t>
            </a:r>
            <a:r>
              <a:rPr lang="zh-CN" altLang="en-US">
                <a:sym typeface="+mn-ea"/>
              </a:rPr>
              <a:t>，还有增加一些小的特性，支持了层次查询，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支持了匿名块，以及</a:t>
            </a:r>
            <a:r>
              <a:rPr lang="en-US" altLang="zh-CN">
                <a:sym typeface="+mn-ea"/>
              </a:rPr>
              <a:t>package</a:t>
            </a:r>
            <a:r>
              <a:rPr lang="zh-CN" altLang="en-US">
                <a:sym typeface="+mn-ea"/>
              </a:rPr>
              <a:t>等功能。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从</a:t>
            </a:r>
            <a:r>
              <a:rPr lang="en-US" altLang="zh-CN">
                <a:sym typeface="+mn-ea"/>
              </a:rPr>
              <a:t>2.1</a:t>
            </a:r>
            <a:r>
              <a:rPr lang="zh-CN" altLang="en-US">
                <a:sym typeface="+mn-ea"/>
              </a:rPr>
              <a:t>版本开始，使用内核已经升级为</a:t>
            </a:r>
            <a:r>
              <a:rPr lang="en-US" altLang="zh-CN">
                <a:sym typeface="+mn-ea"/>
              </a:rPr>
              <a:t>postgresql15.1</a:t>
            </a:r>
            <a:r>
              <a:rPr lang="zh-CN" altLang="en-US">
                <a:sym typeface="+mn-ea"/>
              </a:rPr>
              <a:t>的内核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2.1-2.2 </a:t>
            </a:r>
            <a:r>
              <a:rPr lang="zh-CN" altLang="en-US">
                <a:sym typeface="+mn-ea"/>
              </a:rPr>
              <a:t>版本，我们新增了全局唯一索引等功能，修复了</a:t>
            </a:r>
            <a:r>
              <a:rPr lang="en-US" altLang="zh-CN">
                <a:sym typeface="+mn-ea"/>
              </a:rPr>
              <a:t>bug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从项目历程中，我们可以看到，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每一个版本都是随着</a:t>
            </a:r>
            <a:r>
              <a:rPr lang="en-US" altLang="zh-CN">
                <a:sym typeface="+mn-ea"/>
              </a:rPr>
              <a:t>postgresql</a:t>
            </a:r>
            <a:r>
              <a:rPr lang="zh-CN" altLang="en-US">
                <a:sym typeface="+mn-ea"/>
              </a:rPr>
              <a:t>分支版本的升级而同步进行升级。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spcFirstLastPara="0" lIns="0" tIns="0" rIns="0" bIns="0" anchor="t"/>
          <a:lstStyle/>
          <a:p>
            <a:pPr algn="l" hangingPunct="0">
              <a:lnSpc>
                <a:spcPct val="100000"/>
              </a:lnSpc>
            </a:pPr>
            <a:r>
              <a:rPr>
                <a:latin typeface="Arial" panose="020B0604020202020204"/>
                <a:ea typeface="+mn-ea"/>
                <a:cs typeface="Arial" panose="020B0604020202020204"/>
              </a:rPr>
              <a:t>Add note to this slide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38AFD9-D5DB-4A47-A4BE-251B4DF1413A}" type="slidenum">
              <a:rPr lang="en-US"/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r>
              <a:rPr lang="zh-CN" altLang="en-US">
                <a:sym typeface="+mn-ea"/>
              </a:rPr>
              <a:t>这是目前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的一个版本情况。目前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已经更新到</a:t>
            </a:r>
            <a:r>
              <a:rPr lang="en-US" altLang="zh-CN">
                <a:sym typeface="+mn-ea"/>
              </a:rPr>
              <a:t>2.2</a:t>
            </a:r>
            <a:r>
              <a:rPr lang="zh-CN" altLang="en-US">
                <a:sym typeface="+mn-ea"/>
              </a:rPr>
              <a:t>版本，该版本基于</a:t>
            </a:r>
            <a:r>
              <a:rPr lang="en-US" altLang="zh-CN">
                <a:sym typeface="+mn-ea"/>
              </a:rPr>
              <a:t>PG15.2</a:t>
            </a:r>
            <a:r>
              <a:rPr lang="zh-CN" altLang="en-US">
                <a:sym typeface="+mn-ea"/>
              </a:rPr>
              <a:t>，兼容</a:t>
            </a:r>
            <a:r>
              <a:rPr lang="en-US" altLang="zh-CN">
                <a:sym typeface="+mn-ea"/>
              </a:rPr>
              <a:t>Oracle</a:t>
            </a:r>
            <a:r>
              <a:rPr lang="zh-CN" altLang="en-US">
                <a:sym typeface="+mn-ea"/>
              </a:rPr>
              <a:t>函数，</a:t>
            </a:r>
            <a:r>
              <a:rPr lang="en-US" altLang="zh-CN">
                <a:sym typeface="+mn-ea"/>
              </a:rPr>
              <a:t>PL/iSQL</a:t>
            </a:r>
            <a:r>
              <a:rPr lang="zh-CN" altLang="en-US">
                <a:sym typeface="+mn-ea"/>
              </a:rPr>
              <a:t>过程语言，多种</a:t>
            </a:r>
            <a:r>
              <a:rPr lang="en-US" altLang="zh-CN">
                <a:sym typeface="+mn-ea"/>
              </a:rPr>
              <a:t>DDL</a:t>
            </a:r>
            <a:r>
              <a:rPr lang="zh-CN" altLang="en-US">
                <a:sym typeface="+mn-ea"/>
              </a:rPr>
              <a:t>和</a:t>
            </a:r>
            <a:r>
              <a:rPr lang="en-US" altLang="zh-CN">
                <a:sym typeface="+mn-ea"/>
              </a:rPr>
              <a:t>DML</a:t>
            </a:r>
            <a:r>
              <a:rPr lang="zh-CN" altLang="en-US">
                <a:sym typeface="+mn-ea"/>
              </a:rPr>
              <a:t>语法，日期</a:t>
            </a:r>
            <a:r>
              <a:rPr lang="en-US" altLang="zh-CN">
                <a:sym typeface="+mn-ea"/>
              </a:rPr>
              <a:t>/</a:t>
            </a:r>
            <a:r>
              <a:rPr lang="zh-CN" altLang="en-US">
                <a:sym typeface="+mn-ea"/>
              </a:rPr>
              <a:t>时间函数，支持层次查询，匿名块以及</a:t>
            </a:r>
            <a:r>
              <a:rPr lang="en-US" altLang="zh-CN">
                <a:sym typeface="+mn-ea"/>
              </a:rPr>
              <a:t>Package</a:t>
            </a:r>
            <a:r>
              <a:rPr lang="zh-CN" altLang="en-US">
                <a:sym typeface="+mn-ea"/>
              </a:rPr>
              <a:t>等功能。同时为了兼容</a:t>
            </a:r>
            <a:r>
              <a:rPr lang="en-US" altLang="zh-CN">
                <a:sym typeface="+mn-ea"/>
              </a:rPr>
              <a:t>Oracle</a:t>
            </a:r>
            <a:r>
              <a:rPr lang="zh-CN" altLang="en-US">
                <a:sym typeface="+mn-ea"/>
              </a:rPr>
              <a:t>和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模式，我们支持使用</a:t>
            </a:r>
            <a:r>
              <a:rPr lang="en-US" altLang="zh-CN">
                <a:sym typeface="+mn-ea"/>
              </a:rPr>
              <a:t>GUC</a:t>
            </a:r>
            <a:r>
              <a:rPr lang="zh-CN" altLang="en-US">
                <a:sym typeface="+mn-ea"/>
              </a:rPr>
              <a:t>参数</a:t>
            </a:r>
            <a:r>
              <a:rPr lang="en-US" altLang="zh-CN">
                <a:sym typeface="+mn-ea"/>
              </a:rPr>
              <a:t>Oracle</a:t>
            </a:r>
            <a:r>
              <a:rPr lang="zh-CN" altLang="en-US">
                <a:sym typeface="+mn-ea"/>
              </a:rPr>
              <a:t>和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模式切换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这是我们源代码库的网址</a:t>
            </a:r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正如前面提到的项目产生背景，我们分别从外部、内部，以及市场反馈方面进行项目规划，外部来说我们从</a:t>
            </a:r>
            <a:r>
              <a:rPr lang="en-US" altLang="zh-CN">
                <a:sym typeface="+mn-ea"/>
              </a:rPr>
              <a:t>github</a:t>
            </a:r>
            <a:r>
              <a:rPr lang="zh-CN" altLang="en-US">
                <a:sym typeface="+mn-ea"/>
              </a:rPr>
              <a:t>上去接收一些意见或者建议，通过分析、整理、汇总纳入到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研发规划中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endParaRPr lang="en-US" altLang="zh-CN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另一方面，基于一些经验积累，从内部也进行了研发规划，目前的内部来看主要是数据类型和</a:t>
            </a:r>
            <a:r>
              <a:rPr lang="en-US" altLang="zh-CN">
                <a:sym typeface="+mn-ea"/>
              </a:rPr>
              <a:t>SQL</a:t>
            </a:r>
            <a:r>
              <a:rPr lang="zh-CN" altLang="en-US">
                <a:sym typeface="+mn-ea"/>
              </a:rPr>
              <a:t>层兼容。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例如</a:t>
            </a:r>
            <a:r>
              <a:rPr lang="en-US" altLang="zh-CN">
                <a:sym typeface="+mn-ea"/>
              </a:rPr>
              <a:t>blob clob bfile binary_float binary_double </a:t>
            </a:r>
            <a:r>
              <a:rPr lang="zh-CN" altLang="en-US">
                <a:sym typeface="+mn-ea"/>
              </a:rPr>
              <a:t>等等数据类型，我们已经兼容；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另外</a:t>
            </a:r>
            <a:r>
              <a:rPr lang="en-US" altLang="zh-CN">
                <a:sym typeface="+mn-ea"/>
              </a:rPr>
              <a:t>SQL</a:t>
            </a:r>
            <a:r>
              <a:rPr lang="zh-CN" altLang="en-US">
                <a:sym typeface="+mn-ea"/>
              </a:rPr>
              <a:t>层兼容也包括表、索引、视图、约束等等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市场反馈方面，我们也根据实际使用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的组织或者个人反馈的信息，修正我们的开发计划。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最终我们是期望是通过内外结合方式打造出更好的开源项目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从架构中可以看出，</a:t>
            </a:r>
            <a:r>
              <a:rPr lang="en-US" altLang="zh-CN"/>
              <a:t>ivorysql</a:t>
            </a:r>
            <a:r>
              <a:rPr lang="zh-CN" altLang="en-US"/>
              <a:t>依旧保持与</a:t>
            </a:r>
            <a:r>
              <a:rPr lang="en-US" altLang="zh-CN"/>
              <a:t>pg</a:t>
            </a:r>
            <a:r>
              <a:rPr lang="zh-CN" altLang="en-US"/>
              <a:t>完全相同的架构，并且为了兼容</a:t>
            </a:r>
            <a:r>
              <a:rPr lang="en-US" altLang="zh-CN"/>
              <a:t>PL\SQL </a:t>
            </a:r>
            <a:r>
              <a:rPr lang="zh-CN" altLang="en-US"/>
              <a:t>语法，</a:t>
            </a:r>
            <a:r>
              <a:rPr lang="zh-CN" altLang="zh-CN"/>
              <a:t>新增了</a:t>
            </a:r>
            <a:r>
              <a:rPr lang="en-US" altLang="zh-CN"/>
              <a:t>PL\iSQL</a:t>
            </a:r>
            <a:r>
              <a:rPr lang="zh-CN" altLang="en-US"/>
              <a:t>模块。同时我们也新增了许多</a:t>
            </a:r>
            <a:r>
              <a:rPr lang="en-US" altLang="zh-CN"/>
              <a:t>oralce</a:t>
            </a:r>
            <a:r>
              <a:rPr lang="zh-CN" altLang="en-US"/>
              <a:t>兼容的功能</a:t>
            </a:r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PL/iSQL是从PL/pgSQL克隆而来的，其体系结构和设计与PL/pgSQL完全相同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我们设计PL/iSQL目的，是为Oracle的PL/SQL提供语法和功能兼容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目前支持四种类型，包括PACKAGES、PROCEDURES、FUNCTIONS 和 TRIGGERS。如果想知道更详细的信息，大家可以通过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官网了解相关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下面，举例说明：“CREATE PACKAGE ..”的执行过程：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1</a:t>
            </a:r>
            <a:r>
              <a:rPr lang="zh-CN" altLang="en-US">
                <a:sym typeface="+mn-ea"/>
              </a:rPr>
              <a:t>、客户端将整个语句转发给</a:t>
            </a:r>
            <a:r>
              <a:rPr lang="en-US" altLang="zh-CN">
                <a:sym typeface="+mn-ea"/>
              </a:rPr>
              <a:t>backend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2</a:t>
            </a:r>
            <a:r>
              <a:rPr lang="zh-CN" altLang="en-US">
                <a:sym typeface="+mn-ea"/>
              </a:rPr>
              <a:t>、此语句将由</a:t>
            </a:r>
            <a:r>
              <a:rPr lang="en-US" altLang="zh-CN">
                <a:sym typeface="+mn-ea"/>
              </a:rPr>
              <a:t>pl/isql</a:t>
            </a:r>
            <a:r>
              <a:rPr lang="zh-CN" altLang="en-US">
                <a:sym typeface="+mn-ea"/>
              </a:rPr>
              <a:t>完成解析和分析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3</a:t>
            </a:r>
            <a:r>
              <a:rPr lang="zh-CN" altLang="en-US">
                <a:sym typeface="+mn-ea"/>
              </a:rPr>
              <a:t>、包和包体将存储在</a:t>
            </a:r>
            <a:r>
              <a:rPr>
                <a:sym typeface="+mn-ea"/>
              </a:rPr>
              <a:t>pg_package</a:t>
            </a:r>
            <a:r>
              <a:rPr lang="zh-CN" altLang="en-US">
                <a:sym typeface="+mn-ea"/>
              </a:rPr>
              <a:t>中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4</a:t>
            </a:r>
            <a:r>
              <a:rPr lang="zh-CN" altLang="en-US">
                <a:sym typeface="+mn-ea"/>
              </a:rPr>
              <a:t>、包内的函数和存储过程存储在pg_proc中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5</a:t>
            </a:r>
            <a:r>
              <a:rPr lang="zh-CN" altLang="en-US">
                <a:sym typeface="+mn-ea"/>
              </a:rPr>
              <a:t>、包内变量存储到pg_variable中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en-US" altLang="zh-CN">
                <a:sym typeface="+mn-ea"/>
              </a:rPr>
              <a:t>6</a:t>
            </a:r>
            <a:r>
              <a:rPr lang="zh-CN" altLang="en-US">
                <a:sym typeface="+mn-ea"/>
              </a:rPr>
              <a:t>、包内用户定义的类型存储到pg_type中。</a:t>
            </a:r>
            <a:endParaRPr lang="zh-CN" altLang="en-US">
              <a:sym typeface="+mn-ea"/>
            </a:endParaRPr>
          </a:p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从图片中，我们看到</a:t>
            </a:r>
            <a:r>
              <a:rPr lang="en-US" altLang="zh-CN">
                <a:sym typeface="+mn-ea"/>
              </a:rPr>
              <a:t>package</a:t>
            </a:r>
            <a:r>
              <a:rPr lang="zh-CN" altLang="en-US">
                <a:sym typeface="+mn-ea"/>
              </a:rPr>
              <a:t>的</a:t>
            </a:r>
            <a:r>
              <a:rPr lang="en-US" altLang="zh-CN">
                <a:sym typeface="+mn-ea"/>
              </a:rPr>
              <a:t>SQL</a:t>
            </a:r>
            <a:r>
              <a:rPr lang="zh-CN" altLang="en-US">
                <a:sym typeface="+mn-ea"/>
              </a:rPr>
              <a:t>，以及执行一个结果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由于</a:t>
            </a:r>
            <a:r>
              <a:rPr lang="en-US" altLang="zh-CN">
                <a:sym typeface="+mn-ea"/>
              </a:rPr>
              <a:t>ivorysql 2</a:t>
            </a:r>
            <a:r>
              <a:rPr lang="zh-CN" altLang="en-US">
                <a:sym typeface="+mn-ea"/>
              </a:rPr>
              <a:t>的修改基本都在内核中直接修改，因此，其升级过程中很容易冲突，并且，对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原有代码影响比较大。因此我们对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架构做如图调整。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从整体架构来说，我们还是努力做到</a:t>
            </a:r>
            <a:r>
              <a:rPr lang="en-US" altLang="zh-CN">
                <a:sym typeface="+mn-ea"/>
              </a:rPr>
              <a:t>100%</a:t>
            </a:r>
            <a:r>
              <a:rPr lang="zh-CN" altLang="en-US">
                <a:sym typeface="+mn-ea"/>
              </a:rPr>
              <a:t>和</a:t>
            </a:r>
            <a:r>
              <a:rPr lang="en-US" altLang="zh-CN">
                <a:sym typeface="+mn-ea"/>
              </a:rPr>
              <a:t>postgresql</a:t>
            </a:r>
            <a:r>
              <a:rPr lang="zh-CN" altLang="en-US">
                <a:sym typeface="+mn-ea"/>
              </a:rPr>
              <a:t>架构兼容，这样就对原有架构实现了最小化改造，既能保证原有</a:t>
            </a:r>
            <a:r>
              <a:rPr lang="en-US" altLang="zh-CN">
                <a:sym typeface="+mn-ea"/>
              </a:rPr>
              <a:t>postgresql</a:t>
            </a:r>
            <a:r>
              <a:rPr lang="zh-CN" altLang="en-US">
                <a:sym typeface="+mn-ea"/>
              </a:rPr>
              <a:t>功能不受影响，也可以支持更多的兼容特性。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我们是如何做到</a:t>
            </a:r>
            <a:r>
              <a:rPr lang="en-US" altLang="zh-CN">
                <a:sym typeface="+mn-ea"/>
              </a:rPr>
              <a:t>100%</a:t>
            </a:r>
            <a:r>
              <a:rPr lang="zh-CN" altLang="en-US">
                <a:sym typeface="+mn-ea"/>
              </a:rPr>
              <a:t>兼容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的呢，从架构图上我们可以看出</a:t>
            </a:r>
            <a:r>
              <a:rPr lang="en-US" altLang="zh-CN">
                <a:sym typeface="+mn-ea"/>
              </a:rPr>
              <a:t>Ivory SQL</a:t>
            </a:r>
            <a:r>
              <a:rPr lang="zh-CN" altLang="en-US">
                <a:sym typeface="+mn-ea"/>
              </a:rPr>
              <a:t>使用了两套解析器，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工具通过</a:t>
            </a:r>
            <a:r>
              <a:rPr lang="en-US" altLang="zh-CN">
                <a:sym typeface="+mn-ea"/>
              </a:rPr>
              <a:t>5432</a:t>
            </a:r>
            <a:r>
              <a:rPr lang="zh-CN" altLang="en-US">
                <a:sym typeface="+mn-ea"/>
              </a:rPr>
              <a:t>端口链接，使用的是</a:t>
            </a:r>
            <a:r>
              <a:rPr lang="en-US" altLang="zh-CN">
                <a:sym typeface="+mn-ea"/>
              </a:rPr>
              <a:t>pg sql</a:t>
            </a:r>
            <a:r>
              <a:rPr lang="zh-CN" altLang="en-US">
                <a:sym typeface="+mn-ea"/>
              </a:rPr>
              <a:t>解析器，而通过</a:t>
            </a:r>
            <a:r>
              <a:rPr lang="en-US" altLang="zh-CN">
                <a:sym typeface="+mn-ea"/>
              </a:rPr>
              <a:t>1521</a:t>
            </a:r>
            <a:r>
              <a:rPr lang="zh-CN" altLang="en-US">
                <a:sym typeface="+mn-ea"/>
              </a:rPr>
              <a:t>端口链接的</a:t>
            </a:r>
            <a:r>
              <a:rPr lang="en-US" altLang="zh-CN">
                <a:sym typeface="+mn-ea"/>
              </a:rPr>
              <a:t>Oracle</a:t>
            </a:r>
            <a:r>
              <a:rPr lang="zh-CN" altLang="en-US">
                <a:sym typeface="+mn-ea"/>
              </a:rPr>
              <a:t>应用使用的是</a:t>
            </a:r>
            <a:r>
              <a:rPr lang="en-US" altLang="zh-CN">
                <a:sym typeface="+mn-ea"/>
              </a:rPr>
              <a:t>oracle sql </a:t>
            </a:r>
            <a:r>
              <a:rPr lang="zh-CN" altLang="en-US">
                <a:sym typeface="+mn-ea"/>
              </a:rPr>
              <a:t>解析器。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我们在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原有基础上增加了兼容</a:t>
            </a:r>
            <a:r>
              <a:rPr lang="en-US" altLang="zh-CN">
                <a:sym typeface="+mn-ea"/>
              </a:rPr>
              <a:t>Oracle</a:t>
            </a:r>
            <a:r>
              <a:rPr lang="zh-CN" altLang="en-US">
                <a:sym typeface="+mn-ea"/>
              </a:rPr>
              <a:t>部分的模块，例如</a:t>
            </a:r>
            <a:r>
              <a:rPr lang="en-US" altLang="zh-CN">
                <a:sym typeface="+mn-ea"/>
              </a:rPr>
              <a:t>pl/isql</a:t>
            </a:r>
            <a:r>
              <a:rPr lang="zh-CN" altLang="en-US">
                <a:sym typeface="+mn-ea"/>
              </a:rPr>
              <a:t>，插件等。尽量少的修改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原生的模块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图中绿色部分是新的框架已经在</a:t>
            </a:r>
            <a:r>
              <a:rPr lang="en-US" altLang="zh-CN"/>
              <a:t>ivorysql master </a:t>
            </a:r>
            <a:r>
              <a:rPr lang="zh-CN" altLang="en-US"/>
              <a:t>上完成的功能，灰色部分为正在做，或将要做的功能。那么，为什么有些功能在</a:t>
            </a:r>
            <a:r>
              <a:rPr lang="en-US" altLang="zh-CN"/>
              <a:t>2.0</a:t>
            </a:r>
            <a:r>
              <a:rPr lang="zh-CN" altLang="en-US"/>
              <a:t>上已经完成，但是在新的框架上还未完成呢？因为需要将这些功能从旧的框架上移植到新框架中。有时候发现以前的设计部满足新框架的需求，还可能会重新设计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我们都知道，做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开源软件离不开社区，瀚高参与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ostgresql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国际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社区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活动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也是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经历了从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最初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外围服务、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到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贡献代码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及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核心参与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这么几个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过程，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我们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公司与美国社区、俄罗斯社区、日本社区、印尼社区等国际社区保持紧密联系。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截止到目前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已在国际PostgreSQL社区发表技术文章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0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余篇，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是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PostgreSQL国际社区官方Blog系统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中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排名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靠前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贡献团队。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hangingPunct="0">
              <a:lnSpc>
                <a:spcPct val="100000"/>
              </a:lnSpc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hangingPunct="0">
              <a:lnSpc>
                <a:spcPct val="100000"/>
              </a:lnSpc>
            </a:pP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同时我们涉及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g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万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余行代码，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并反馈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2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多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个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ug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提交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6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多个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atch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>
                <a:latin typeface="Arial" panose="020B0604020202020204"/>
                <a:cs typeface="Arial" panose="020B0604020202020204"/>
                <a:sym typeface="+mn-ea"/>
              </a:rPr>
              <a:t>那如果大家也想为</a:t>
            </a:r>
            <a:r>
              <a:rPr lang="en-US" altLang="zh-CN">
                <a:latin typeface="Arial" panose="020B0604020202020204"/>
                <a:cs typeface="Arial" panose="020B0604020202020204"/>
                <a:sym typeface="+mn-ea"/>
              </a:rPr>
              <a:t>ivorysql</a:t>
            </a:r>
            <a:r>
              <a:rPr lang="zh-CN" altLang="en-US">
                <a:latin typeface="Arial" panose="020B0604020202020204"/>
                <a:cs typeface="Arial" panose="020B0604020202020204"/>
                <a:sym typeface="+mn-ea"/>
              </a:rPr>
              <a:t>做贡献的话，有以下方式：</a:t>
            </a:r>
            <a:endParaRPr lang="zh-CN" altLang="en-US">
              <a:latin typeface="Arial" panose="020B0604020202020204"/>
              <a:ea typeface="+mn-ea"/>
              <a:cs typeface="Arial" panose="020B0604020202020204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latin typeface="Arial" panose="020B0604020202020204"/>
                <a:cs typeface="Arial" panose="020B0604020202020204"/>
                <a:sym typeface="+mn-ea"/>
              </a:rPr>
              <a:t>首先就是贡献源码，包括提交特性代码，审查</a:t>
            </a:r>
            <a:r>
              <a:rPr lang="en-US" altLang="zh-CN">
                <a:latin typeface="Arial" panose="020B0604020202020204"/>
                <a:cs typeface="Arial" panose="020B0604020202020204"/>
                <a:sym typeface="+mn-ea"/>
              </a:rPr>
              <a:t>PR</a:t>
            </a:r>
            <a:r>
              <a:rPr lang="zh-CN" altLang="en-US">
                <a:latin typeface="Arial" panose="020B0604020202020204"/>
                <a:cs typeface="Arial" panose="020B0604020202020204"/>
                <a:sym typeface="+mn-ea"/>
              </a:rPr>
              <a:t>，提交修复</a:t>
            </a:r>
            <a:r>
              <a:rPr lang="en-US" altLang="zh-CN">
                <a:latin typeface="Arial" panose="020B0604020202020204"/>
                <a:cs typeface="Arial" panose="020B0604020202020204"/>
                <a:sym typeface="+mn-ea"/>
              </a:rPr>
              <a:t>bug</a:t>
            </a:r>
            <a:endParaRPr lang="en-US" altLang="zh-CN">
              <a:latin typeface="Arial" panose="020B0604020202020204"/>
              <a:ea typeface="+mn-ea"/>
              <a:cs typeface="Arial" panose="020B0604020202020204"/>
            </a:endParaRPr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latin typeface="Arial" panose="020B0604020202020204"/>
                <a:cs typeface="Arial" panose="020B0604020202020204"/>
                <a:sym typeface="+mn-ea"/>
              </a:rPr>
              <a:t>还有就是测试并报告</a:t>
            </a:r>
            <a:r>
              <a:rPr lang="en-US" altLang="zh-CN">
                <a:latin typeface="Arial" panose="020B0604020202020204"/>
                <a:cs typeface="Arial" panose="020B0604020202020204"/>
                <a:sym typeface="+mn-ea"/>
              </a:rPr>
              <a:t>bug</a:t>
            </a:r>
            <a:r>
              <a:rPr lang="zh-CN" altLang="en-US">
                <a:latin typeface="Arial" panose="020B0604020202020204"/>
                <a:cs typeface="Arial" panose="020B0604020202020204"/>
                <a:sym typeface="+mn-ea"/>
              </a:rPr>
              <a:t>，关于</a:t>
            </a:r>
            <a:r>
              <a:rPr lang="en-US" dirty="0">
                <a:solidFill>
                  <a:schemeClr val="dk1"/>
                </a:solidFill>
                <a:sym typeface="+mn-ea"/>
              </a:rPr>
              <a:t>IvorySQL</a:t>
            </a:r>
            <a:r>
              <a:rPr lang="zh-CN" dirty="0">
                <a:solidFill>
                  <a:schemeClr val="dk1"/>
                </a:solidFill>
                <a:sym typeface="+mn-ea"/>
              </a:rPr>
              <a:t>的博客，回答用户问题，贡献文档及站点资料，为</a:t>
            </a:r>
            <a:r>
              <a:rPr lang="en-US" dirty="0" err="1">
                <a:solidFill>
                  <a:schemeClr val="dk1"/>
                </a:solidFill>
                <a:sym typeface="+mn-ea"/>
              </a:rPr>
              <a:t>IvorySQL创建和托管（RPM和</a:t>
            </a:r>
            <a:r>
              <a:rPr lang="en-US" dirty="0">
                <a:solidFill>
                  <a:schemeClr val="dk1"/>
                </a:solidFill>
                <a:sym typeface="+mn-ea"/>
              </a:rPr>
              <a:t>/</a:t>
            </a:r>
            <a:r>
              <a:rPr lang="en-US" dirty="0" err="1">
                <a:solidFill>
                  <a:schemeClr val="dk1"/>
                </a:solidFill>
                <a:sym typeface="+mn-ea"/>
              </a:rPr>
              <a:t>或DEB）包</a:t>
            </a:r>
            <a:endParaRPr lang="en-US" dirty="0">
              <a:solidFill>
                <a:schemeClr val="dk1"/>
              </a:solidFill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作为一个开源项目，我们</a:t>
            </a:r>
            <a:r>
              <a:rPr lang="zh-CN" altLang="en-US"/>
              <a:t>欢迎大家通过</a:t>
            </a:r>
            <a:r>
              <a:rPr lang="en-US" altLang="zh-CN"/>
              <a:t>ivorysql</a:t>
            </a:r>
            <a:r>
              <a:rPr lang="zh-CN" altLang="en-US"/>
              <a:t>公众号和微信等进行技术交流</a:t>
            </a:r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endParaRPr lang="zh-CN" altLang="en-US"/>
          </a:p>
          <a:p>
            <a:r>
              <a:rPr lang="zh-CN" altLang="en-US">
                <a:sym typeface="+mn-ea"/>
              </a:rPr>
              <a:t>我们也通过一些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的国际会议，像</a:t>
            </a:r>
            <a:r>
              <a:rPr lang="en-US" altLang="zh-CN">
                <a:sym typeface="+mn-ea"/>
              </a:rPr>
              <a:t>postgresworld</a:t>
            </a:r>
            <a:r>
              <a:rPr lang="zh-CN" altLang="en-US">
                <a:sym typeface="+mn-ea"/>
              </a:rPr>
              <a:t>网络研讨会以及</a:t>
            </a:r>
            <a:r>
              <a:rPr lang="en-US" altLang="zh-CN">
                <a:sym typeface="+mn-ea"/>
              </a:rPr>
              <a:t>PGCon</a:t>
            </a:r>
            <a:r>
              <a:rPr lang="zh-CN" altLang="en-US">
                <a:sym typeface="+mn-ea"/>
              </a:rPr>
              <a:t>大会等，广泛与各个组织和专家进行交流，来分享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这个项目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图片中是我们参加</a:t>
            </a:r>
            <a:r>
              <a:rPr lang="en-US" altLang="zh-CN"/>
              <a:t>PG</a:t>
            </a:r>
            <a:r>
              <a:rPr lang="zh-CN" altLang="en-US"/>
              <a:t>大会的一个场景展示</a:t>
            </a:r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瀚高从</a:t>
            </a:r>
            <a:r>
              <a:rPr lang="en-US" altLang="zh-CN">
                <a:sym typeface="+mn-ea"/>
              </a:rPr>
              <a:t>pg9.3.1</a:t>
            </a:r>
            <a:r>
              <a:rPr lang="zh-CN" altLang="en-US">
                <a:sym typeface="+mn-ea"/>
              </a:rPr>
              <a:t>开始，一直在参与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手册的一个翻译工作。从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手册官网上可以看到，瀚高软件作为一个翻译贡献者，留名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瀚高在高校人才培养方面，也在积极参与。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配合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G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分会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推动开源数据库为核心的课程改革，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尤其是</a:t>
            </a:r>
            <a:r>
              <a:rPr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基础软件内核研发人员培养</a:t>
            </a:r>
            <a:r>
              <a:rPr 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上，与清华、北大、复旦、深圳大学等高校紧密合作，开设了内核相关课程。</a:t>
            </a:r>
            <a:endParaRPr lang="zh-CN" altLang="en-US"/>
          </a:p>
          <a:p>
            <a:pPr algn="l" hangingPunct="0">
              <a:lnSpc>
                <a:spcPct val="100000"/>
              </a:lnSpc>
            </a:pPr>
            <a:r>
              <a:rPr lang="zh-CN" altLang="en-US">
                <a:sym typeface="+mn-ea"/>
              </a:rPr>
              <a:t>比如在北京大学，深圳大学，开展了开源通识课和开发实践课，这个工作是由瀚高的高级工程师深度参与并负责制作教案及课件、还有实践课题拟定等工作，同时我们也邀请到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业内专家亲自授课</a:t>
            </a:r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前面主要介绍了瀚高在</a:t>
            </a:r>
            <a:r>
              <a:rPr lang="en-US" altLang="zh-CN"/>
              <a:t>PG</a:t>
            </a:r>
            <a:r>
              <a:rPr lang="zh-CN" altLang="en-US"/>
              <a:t>的国际交流合作，开源贡献、人才培养等方面所做的一些工作，下面主要介绍一下</a:t>
            </a:r>
            <a:r>
              <a:rPr lang="en-US" altLang="zh-CN"/>
              <a:t>ivorysql</a:t>
            </a:r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indent="0">
              <a:buFont typeface="Arial" panose="020B0604020202020204" pitchFamily="34" charset="0"/>
              <a:buNone/>
            </a:pPr>
            <a:r>
              <a:rPr lang="zh-CN" altLang="en-US">
                <a:sym typeface="+mn-ea"/>
              </a:rPr>
              <a:t>我将从数据安全，服务经验，产品需求，开发诉求，等方面，介绍一下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产生的项目背景。</a:t>
            </a:r>
            <a:endParaRPr lang="zh-CN" altLang="en-US"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>
                <a:sym typeface="+mn-ea"/>
              </a:rPr>
              <a:t>国家数据安全战略：数据安全已经成为保障国家安全的重要组成部分，而数据库作为信息系统的底层数据存储平台，责任重大，其重要性不言而喻，国家也大力提倡自主可控，包括现在的信创瀚高其实也是参与其中。</a:t>
            </a:r>
            <a:endParaRPr lang="zh-CN" altLang="en-US"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>
                <a:sym typeface="+mn-ea"/>
              </a:rPr>
              <a:t>服务经验积累：瀚高拥有多年数据库服务经验，在我们给客户的服务过程中，也积累了一些兼容性需求。而我们之前的做法，主要还是通过应用迁移，通过改造客户应用这种方式来完成的兼容方面的工作。这样实际上对用户业务系统具有很大侵入性，不仅用户体验比较差，也可能会造成一些问题。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>
                <a:sym typeface="+mn-ea"/>
              </a:rPr>
              <a:t>来自外部的产品需：，一些客户也有一些自己的兼容性产品需求，尤其是迁移到</a:t>
            </a:r>
            <a:r>
              <a:rPr lang="en-US" altLang="zh-CN">
                <a:sym typeface="+mn-ea"/>
              </a:rPr>
              <a:t>postgresql</a:t>
            </a:r>
            <a:r>
              <a:rPr lang="zh-CN" altLang="en-US">
                <a:sym typeface="+mn-ea"/>
              </a:rPr>
              <a:t>数据库上之后，面临的一些功能的问题</a:t>
            </a:r>
            <a:endParaRPr lang="zh-CN" altLang="en-US"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>
                <a:sym typeface="+mn-ea"/>
              </a:rPr>
              <a:t>开发诉求：第三方开发组织或者个人，自己完成了一些兼容性的功能代码，但是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国际社区并不认可并入</a:t>
            </a:r>
            <a:r>
              <a:rPr lang="en-US" altLang="zh-CN">
                <a:sym typeface="+mn-ea"/>
              </a:rPr>
              <a:t>PG</a:t>
            </a:r>
            <a:r>
              <a:rPr lang="zh-CN" altLang="en-US">
                <a:sym typeface="+mn-ea"/>
              </a:rPr>
              <a:t>主版本中（可能涉及多方面原因）</a:t>
            </a:r>
            <a:endParaRPr lang="zh-CN" altLang="en-US"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zh-CN" altLang="en-US">
                <a:sym typeface="+mn-ea"/>
              </a:rPr>
              <a:t>所以我们提出了</a:t>
            </a:r>
            <a:r>
              <a:rPr lang="en-US" altLang="zh-CN">
                <a:sym typeface="+mn-ea"/>
              </a:rPr>
              <a:t>ivorysql</a:t>
            </a:r>
            <a:r>
              <a:rPr lang="zh-CN" altLang="en-US">
                <a:sym typeface="+mn-ea"/>
              </a:rPr>
              <a:t>这个项目，希望通过合作共建的方式来解决上述提到的这些问题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 altLang="zh-CN" dirty="0" err="1">
                <a:sym typeface="+mn-ea"/>
              </a:rPr>
              <a:t>ivorysql</a:t>
            </a:r>
            <a:r>
              <a:rPr lang="zh-CN" altLang="en-US" dirty="0">
                <a:sym typeface="+mn-ea"/>
              </a:rPr>
              <a:t>是由瀚高发起的，基于</a:t>
            </a:r>
            <a:r>
              <a:rPr lang="en-US" altLang="zh-CN" dirty="0" err="1">
                <a:sym typeface="+mn-ea"/>
              </a:rPr>
              <a:t>pg</a:t>
            </a:r>
            <a:r>
              <a:rPr lang="zh-CN" altLang="en-US" dirty="0">
                <a:sym typeface="+mn-ea"/>
              </a:rPr>
              <a:t>内核的，偏向于兼容特性的开源项目。目前我们使用的开关协议是</a:t>
            </a:r>
            <a:r>
              <a:rPr lang="en-US" altLang="zh-CN" dirty="0">
                <a:sym typeface="+mn-ea"/>
              </a:rPr>
              <a:t>Apache 2.0,</a:t>
            </a:r>
            <a:r>
              <a:rPr lang="zh-CN" altLang="en-US" dirty="0">
                <a:sym typeface="+mn-ea"/>
              </a:rPr>
              <a:t>我们</a:t>
            </a:r>
            <a:r>
              <a:rPr lang="en-US" altLang="zh-CN" dirty="0">
                <a:sym typeface="+mn-ea"/>
              </a:rPr>
              <a:t>100%</a:t>
            </a:r>
            <a:r>
              <a:rPr lang="zh-CN" altLang="en-US" dirty="0">
                <a:sym typeface="+mn-ea"/>
              </a:rPr>
              <a:t>兼容</a:t>
            </a:r>
            <a:r>
              <a:rPr lang="en-US" altLang="zh-CN" dirty="0">
                <a:sym typeface="+mn-ea"/>
              </a:rPr>
              <a:t>PostgreSQL</a:t>
            </a:r>
            <a:r>
              <a:rPr lang="zh-CN" altLang="en-US" dirty="0">
                <a:sym typeface="+mn-ea"/>
              </a:rPr>
              <a:t>。</a:t>
            </a:r>
            <a:endParaRPr>
              <a:latin typeface="Arial" panose="020B0604020202020204"/>
              <a:ea typeface="+mn-ea"/>
              <a:cs typeface="Arial" panose="020B0604020202020204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userDrawn="1">
  <p:cSld name="标题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箭头: 五边形 244"/>
          <p:cNvSpPr/>
          <p:nvPr userDrawn="1"/>
        </p:nvSpPr>
        <p:spPr>
          <a:xfrm>
            <a:off x="0" y="5577894"/>
            <a:ext cx="6388101" cy="319660"/>
          </a:xfrm>
          <a:prstGeom prst="homePlate">
            <a:avLst/>
          </a:prstGeom>
          <a:solidFill>
            <a:srgbClr val="1D7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16562" y="4402056"/>
            <a:ext cx="470233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816562" y="1012939"/>
            <a:ext cx="4702336" cy="309284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16562" y="5252520"/>
            <a:ext cx="4702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16562" y="5548791"/>
            <a:ext cx="4702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257" name="组合 10256"/>
          <p:cNvGrpSpPr/>
          <p:nvPr userDrawn="1"/>
        </p:nvGrpSpPr>
        <p:grpSpPr>
          <a:xfrm>
            <a:off x="825543" y="1192839"/>
            <a:ext cx="4858480" cy="4704715"/>
            <a:chOff x="1116573" y="751970"/>
            <a:chExt cx="5533732" cy="5358596"/>
          </a:xfrm>
        </p:grpSpPr>
        <p:sp>
          <p:nvSpPr>
            <p:cNvPr id="10019" name="任意多边形: 形状 10018"/>
            <p:cNvSpPr/>
            <p:nvPr/>
          </p:nvSpPr>
          <p:spPr>
            <a:xfrm>
              <a:off x="1162292" y="3086990"/>
              <a:ext cx="5429838" cy="3023576"/>
            </a:xfrm>
            <a:custGeom>
              <a:avLst/>
              <a:gdLst>
                <a:gd name="connsiteX0" fmla="*/ 3506069 w 5429838"/>
                <a:gd name="connsiteY0" fmla="*/ 260121 h 3023575"/>
                <a:gd name="connsiteX1" fmla="*/ 432100 w 5429838"/>
                <a:gd name="connsiteY1" fmla="*/ 415080 h 3023575"/>
                <a:gd name="connsiteX2" fmla="*/ 1867039 w 5429838"/>
                <a:gd name="connsiteY2" fmla="*/ 3019135 h 3023575"/>
                <a:gd name="connsiteX3" fmla="*/ 4060391 w 5429838"/>
                <a:gd name="connsiteY3" fmla="*/ 2221667 h 3023575"/>
                <a:gd name="connsiteX4" fmla="*/ 5432338 w 5429838"/>
                <a:gd name="connsiteY4" fmla="*/ 1314594 h 3023575"/>
                <a:gd name="connsiteX5" fmla="*/ 3506069 w 5429838"/>
                <a:gd name="connsiteY5" fmla="*/ 260121 h 302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29838" h="3023575">
                  <a:moveTo>
                    <a:pt x="3506069" y="260121"/>
                  </a:moveTo>
                  <a:cubicBezTo>
                    <a:pt x="2314276" y="567518"/>
                    <a:pt x="1494131" y="-580181"/>
                    <a:pt x="432100" y="415080"/>
                  </a:cubicBezTo>
                  <a:cubicBezTo>
                    <a:pt x="-629931" y="1410340"/>
                    <a:pt x="425801" y="3127479"/>
                    <a:pt x="1867039" y="3019135"/>
                  </a:cubicBezTo>
                  <a:cubicBezTo>
                    <a:pt x="2934109" y="2939766"/>
                    <a:pt x="2992061" y="2259461"/>
                    <a:pt x="4060391" y="2221667"/>
                  </a:cubicBezTo>
                  <a:cubicBezTo>
                    <a:pt x="5066990" y="2186391"/>
                    <a:pt x="5380686" y="1793327"/>
                    <a:pt x="5432338" y="1314594"/>
                  </a:cubicBezTo>
                  <a:cubicBezTo>
                    <a:pt x="5516747" y="528464"/>
                    <a:pt x="4697861" y="-47275"/>
                    <a:pt x="3506069" y="260121"/>
                  </a:cubicBez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/>
            <p:cNvSpPr/>
            <p:nvPr/>
          </p:nvSpPr>
          <p:spPr>
            <a:xfrm>
              <a:off x="1187469" y="4725358"/>
              <a:ext cx="5316454" cy="1373207"/>
            </a:xfrm>
            <a:custGeom>
              <a:avLst/>
              <a:gdLst>
                <a:gd name="connsiteX0" fmla="*/ 0 w 5316454"/>
                <a:gd name="connsiteY0" fmla="*/ 0 h 1373207"/>
                <a:gd name="connsiteX1" fmla="*/ 1841862 w 5316454"/>
                <a:gd name="connsiteY1" fmla="*/ 1380766 h 1373207"/>
                <a:gd name="connsiteX2" fmla="*/ 4035214 w 5316454"/>
                <a:gd name="connsiteY2" fmla="*/ 583298 h 1373207"/>
                <a:gd name="connsiteX3" fmla="*/ 5320234 w 5316454"/>
                <a:gd name="connsiteY3" fmla="*/ 0 h 1373207"/>
                <a:gd name="connsiteX4" fmla="*/ 0 w 5316454"/>
                <a:gd name="connsiteY4" fmla="*/ 0 h 137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16454" h="1373207">
                  <a:moveTo>
                    <a:pt x="0" y="0"/>
                  </a:moveTo>
                  <a:cubicBezTo>
                    <a:pt x="146140" y="763453"/>
                    <a:pt x="914632" y="1450057"/>
                    <a:pt x="1841862" y="1380766"/>
                  </a:cubicBezTo>
                  <a:cubicBezTo>
                    <a:pt x="2908932" y="1301398"/>
                    <a:pt x="2966884" y="621093"/>
                    <a:pt x="4035214" y="583298"/>
                  </a:cubicBezTo>
                  <a:cubicBezTo>
                    <a:pt x="4802446" y="556842"/>
                    <a:pt x="5167795" y="321255"/>
                    <a:pt x="53202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24C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/>
            <p:cNvSpPr/>
            <p:nvPr/>
          </p:nvSpPr>
          <p:spPr>
            <a:xfrm>
              <a:off x="1450772" y="5117672"/>
              <a:ext cx="2796808" cy="982662"/>
            </a:xfrm>
            <a:custGeom>
              <a:avLst/>
              <a:gdLst>
                <a:gd name="connsiteX0" fmla="*/ 2347051 w 2796807"/>
                <a:gd name="connsiteY0" fmla="*/ 8309 h 982662"/>
                <a:gd name="connsiteX1" fmla="*/ 1162817 w 2796807"/>
                <a:gd name="connsiteY1" fmla="*/ 46104 h 982662"/>
                <a:gd name="connsiteX2" fmla="*/ 312436 w 2796807"/>
                <a:gd name="connsiteY2" fmla="*/ 33506 h 982662"/>
                <a:gd name="connsiteX3" fmla="*/ 0 w 2796807"/>
                <a:gd name="connsiteY3" fmla="*/ 221219 h 982662"/>
                <a:gd name="connsiteX4" fmla="*/ 1578559 w 2796807"/>
                <a:gd name="connsiteY4" fmla="*/ 988452 h 982662"/>
                <a:gd name="connsiteX5" fmla="*/ 1657928 w 2796807"/>
                <a:gd name="connsiteY5" fmla="*/ 980893 h 982662"/>
                <a:gd name="connsiteX6" fmla="*/ 2798068 w 2796807"/>
                <a:gd name="connsiteY6" fmla="*/ 23427 h 982662"/>
                <a:gd name="connsiteX7" fmla="*/ 2347051 w 2796807"/>
                <a:gd name="connsiteY7" fmla="*/ 8309 h 98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6807" h="982662">
                  <a:moveTo>
                    <a:pt x="2347051" y="8309"/>
                  </a:moveTo>
                  <a:cubicBezTo>
                    <a:pt x="1956506" y="-16887"/>
                    <a:pt x="1553362" y="20908"/>
                    <a:pt x="1162817" y="46104"/>
                  </a:cubicBezTo>
                  <a:cubicBezTo>
                    <a:pt x="876837" y="57442"/>
                    <a:pt x="594637" y="44844"/>
                    <a:pt x="312436" y="33506"/>
                  </a:cubicBezTo>
                  <a:cubicBezTo>
                    <a:pt x="207871" y="96497"/>
                    <a:pt x="102046" y="156968"/>
                    <a:pt x="0" y="221219"/>
                  </a:cubicBezTo>
                  <a:cubicBezTo>
                    <a:pt x="330074" y="698692"/>
                    <a:pt x="913372" y="1037585"/>
                    <a:pt x="1578559" y="988452"/>
                  </a:cubicBezTo>
                  <a:cubicBezTo>
                    <a:pt x="1605015" y="985932"/>
                    <a:pt x="1631471" y="983413"/>
                    <a:pt x="1657928" y="980893"/>
                  </a:cubicBezTo>
                  <a:cubicBezTo>
                    <a:pt x="2056032" y="681055"/>
                    <a:pt x="2444057" y="372398"/>
                    <a:pt x="2798068" y="23427"/>
                  </a:cubicBezTo>
                  <a:cubicBezTo>
                    <a:pt x="2648149" y="10829"/>
                    <a:pt x="2493190" y="18388"/>
                    <a:pt x="2347051" y="8309"/>
                  </a:cubicBezTo>
                  <a:close/>
                </a:path>
              </a:pathLst>
            </a:custGeom>
            <a:solidFill>
              <a:srgbClr val="001B6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/>
            <p:cNvSpPr/>
            <p:nvPr/>
          </p:nvSpPr>
          <p:spPr>
            <a:xfrm>
              <a:off x="1448253" y="1063051"/>
              <a:ext cx="4862918" cy="3351130"/>
            </a:xfrm>
            <a:custGeom>
              <a:avLst/>
              <a:gdLst>
                <a:gd name="connsiteX0" fmla="*/ 0 w 4862917"/>
                <a:gd name="connsiteY0" fmla="*/ 0 h 3351129"/>
                <a:gd name="connsiteX1" fmla="*/ 4870477 w 4862917"/>
                <a:gd name="connsiteY1" fmla="*/ 0 h 3351129"/>
                <a:gd name="connsiteX2" fmla="*/ 4870477 w 4862917"/>
                <a:gd name="connsiteY2" fmla="*/ 3351130 h 3351129"/>
                <a:gd name="connsiteX3" fmla="*/ 0 w 4862917"/>
                <a:gd name="connsiteY3" fmla="*/ 3351130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2917" h="3351129">
                  <a:moveTo>
                    <a:pt x="0" y="0"/>
                  </a:moveTo>
                  <a:lnTo>
                    <a:pt x="4870477" y="0"/>
                  </a:lnTo>
                  <a:lnTo>
                    <a:pt x="4870477" y="3351130"/>
                  </a:lnTo>
                  <a:lnTo>
                    <a:pt x="0" y="335113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/>
            <p:cNvSpPr/>
            <p:nvPr/>
          </p:nvSpPr>
          <p:spPr>
            <a:xfrm>
              <a:off x="1448253" y="1063051"/>
              <a:ext cx="4862918" cy="3351130"/>
            </a:xfrm>
            <a:custGeom>
              <a:avLst/>
              <a:gdLst>
                <a:gd name="connsiteX0" fmla="*/ 4870477 w 4862917"/>
                <a:gd name="connsiteY0" fmla="*/ 3351130 h 3351129"/>
                <a:gd name="connsiteX1" fmla="*/ 0 w 4862917"/>
                <a:gd name="connsiteY1" fmla="*/ 3351130 h 3351129"/>
                <a:gd name="connsiteX2" fmla="*/ 0 w 4862917"/>
                <a:gd name="connsiteY2" fmla="*/ 0 h 3351129"/>
                <a:gd name="connsiteX3" fmla="*/ 89447 w 4862917"/>
                <a:gd name="connsiteY3" fmla="*/ 89447 h 3351129"/>
                <a:gd name="connsiteX4" fmla="*/ 4781029 w 4862917"/>
                <a:gd name="connsiteY4" fmla="*/ 3261683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2917" h="3351129">
                  <a:moveTo>
                    <a:pt x="4870477" y="3351130"/>
                  </a:moveTo>
                  <a:lnTo>
                    <a:pt x="0" y="3351130"/>
                  </a:lnTo>
                  <a:lnTo>
                    <a:pt x="0" y="0"/>
                  </a:lnTo>
                  <a:lnTo>
                    <a:pt x="89447" y="89447"/>
                  </a:lnTo>
                  <a:lnTo>
                    <a:pt x="4781029" y="3261683"/>
                  </a:lnTo>
                  <a:close/>
                </a:path>
              </a:pathLst>
            </a:custGeom>
            <a:solidFill>
              <a:srgbClr val="F4BA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/>
            <p:cNvSpPr/>
            <p:nvPr/>
          </p:nvSpPr>
          <p:spPr>
            <a:xfrm>
              <a:off x="1537822" y="1152597"/>
              <a:ext cx="4686542" cy="3162156"/>
            </a:xfrm>
            <a:custGeom>
              <a:avLst/>
              <a:gdLst>
                <a:gd name="connsiteX0" fmla="*/ 4691582 w 4686542"/>
                <a:gd name="connsiteY0" fmla="*/ 0 h 3162156"/>
                <a:gd name="connsiteX1" fmla="*/ 4691582 w 4686542"/>
                <a:gd name="connsiteY1" fmla="*/ 3172235 h 3162156"/>
                <a:gd name="connsiteX2" fmla="*/ 0 w 4686542"/>
                <a:gd name="connsiteY2" fmla="*/ 3172235 h 3162156"/>
                <a:gd name="connsiteX3" fmla="*/ 0 w 4686542"/>
                <a:gd name="connsiteY3" fmla="*/ 0 h 316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542" h="3162156">
                  <a:moveTo>
                    <a:pt x="4691582" y="0"/>
                  </a:moveTo>
                  <a:lnTo>
                    <a:pt x="4691582" y="3172235"/>
                  </a:lnTo>
                  <a:lnTo>
                    <a:pt x="0" y="31722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/>
            <p:cNvSpPr/>
            <p:nvPr/>
          </p:nvSpPr>
          <p:spPr>
            <a:xfrm>
              <a:off x="1537700" y="1152499"/>
              <a:ext cx="4573158" cy="3048773"/>
            </a:xfrm>
            <a:custGeom>
              <a:avLst/>
              <a:gdLst>
                <a:gd name="connsiteX0" fmla="*/ 0 w 4573158"/>
                <a:gd name="connsiteY0" fmla="*/ 3050032 h 3048772"/>
                <a:gd name="connsiteX1" fmla="*/ 0 w 4573158"/>
                <a:gd name="connsiteY1" fmla="*/ 0 h 3048772"/>
                <a:gd name="connsiteX2" fmla="*/ 4581977 w 4573158"/>
                <a:gd name="connsiteY2" fmla="*/ 0 h 3048772"/>
                <a:gd name="connsiteX3" fmla="*/ 4581977 w 4573158"/>
                <a:gd name="connsiteY3" fmla="*/ 2874917 h 3048772"/>
                <a:gd name="connsiteX4" fmla="*/ 4406862 w 4573158"/>
                <a:gd name="connsiteY4" fmla="*/ 3050032 h 3048772"/>
                <a:gd name="connsiteX5" fmla="*/ 0 w 4573158"/>
                <a:gd name="connsiteY5" fmla="*/ 3050032 h 304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3158" h="3048772">
                  <a:moveTo>
                    <a:pt x="0" y="3050032"/>
                  </a:moveTo>
                  <a:lnTo>
                    <a:pt x="0" y="0"/>
                  </a:lnTo>
                  <a:lnTo>
                    <a:pt x="4581977" y="0"/>
                  </a:lnTo>
                  <a:lnTo>
                    <a:pt x="4581977" y="2874917"/>
                  </a:lnTo>
                  <a:cubicBezTo>
                    <a:pt x="4581977" y="2971923"/>
                    <a:pt x="4503868" y="3050032"/>
                    <a:pt x="4406862" y="3050032"/>
                  </a:cubicBezTo>
                  <a:lnTo>
                    <a:pt x="0" y="3050032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/>
            <p:cNvSpPr/>
            <p:nvPr/>
          </p:nvSpPr>
          <p:spPr>
            <a:xfrm>
              <a:off x="4090102" y="2688223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/>
            <p:cNvSpPr/>
            <p:nvPr/>
          </p:nvSpPr>
          <p:spPr>
            <a:xfrm>
              <a:off x="4090102" y="2826804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/>
            <p:cNvSpPr/>
            <p:nvPr/>
          </p:nvSpPr>
          <p:spPr>
            <a:xfrm>
              <a:off x="4090102" y="2966644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/>
            <p:cNvSpPr/>
            <p:nvPr/>
          </p:nvSpPr>
          <p:spPr>
            <a:xfrm>
              <a:off x="4090102" y="3105225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/>
            <p:cNvSpPr/>
            <p:nvPr/>
          </p:nvSpPr>
          <p:spPr>
            <a:xfrm>
              <a:off x="4090102" y="324380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/>
            <p:cNvSpPr/>
            <p:nvPr/>
          </p:nvSpPr>
          <p:spPr>
            <a:xfrm>
              <a:off x="4090102" y="338238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/>
            <p:cNvSpPr/>
            <p:nvPr/>
          </p:nvSpPr>
          <p:spPr>
            <a:xfrm>
              <a:off x="4090102" y="352222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/>
            <p:cNvSpPr/>
            <p:nvPr/>
          </p:nvSpPr>
          <p:spPr>
            <a:xfrm>
              <a:off x="4585212" y="1516588"/>
              <a:ext cx="1159037" cy="919671"/>
            </a:xfrm>
            <a:custGeom>
              <a:avLst/>
              <a:gdLst>
                <a:gd name="connsiteX0" fmla="*/ 1088488 w 1159037"/>
                <a:gd name="connsiteY0" fmla="*/ 924710 h 919671"/>
                <a:gd name="connsiteX1" fmla="*/ 75589 w 1159037"/>
                <a:gd name="connsiteY1" fmla="*/ 924710 h 919671"/>
                <a:gd name="connsiteX2" fmla="*/ 0 w 1159037"/>
                <a:gd name="connsiteY2" fmla="*/ 849121 h 919671"/>
                <a:gd name="connsiteX3" fmla="*/ 0 w 1159037"/>
                <a:gd name="connsiteY3" fmla="*/ 75589 h 919671"/>
                <a:gd name="connsiteX4" fmla="*/ 75589 w 1159037"/>
                <a:gd name="connsiteY4" fmla="*/ 0 h 919671"/>
                <a:gd name="connsiteX5" fmla="*/ 1088488 w 1159037"/>
                <a:gd name="connsiteY5" fmla="*/ 0 h 919671"/>
                <a:gd name="connsiteX6" fmla="*/ 1164077 w 1159037"/>
                <a:gd name="connsiteY6" fmla="*/ 75589 h 919671"/>
                <a:gd name="connsiteX7" fmla="*/ 1164077 w 1159037"/>
                <a:gd name="connsiteY7" fmla="*/ 849121 h 919671"/>
                <a:gd name="connsiteX8" fmla="*/ 1088488 w 1159037"/>
                <a:gd name="connsiteY8" fmla="*/ 924710 h 919671"/>
                <a:gd name="connsiteX9" fmla="*/ 74330 w 1159037"/>
                <a:gd name="connsiteY9" fmla="*/ 18897 h 919671"/>
                <a:gd name="connsiteX10" fmla="*/ 17638 w 1159037"/>
                <a:gd name="connsiteY10" fmla="*/ 75589 h 919671"/>
                <a:gd name="connsiteX11" fmla="*/ 17638 w 1159037"/>
                <a:gd name="connsiteY11" fmla="*/ 849121 h 919671"/>
                <a:gd name="connsiteX12" fmla="*/ 74330 w 1159037"/>
                <a:gd name="connsiteY12" fmla="*/ 905813 h 919671"/>
                <a:gd name="connsiteX13" fmla="*/ 1087228 w 1159037"/>
                <a:gd name="connsiteY13" fmla="*/ 905813 h 919671"/>
                <a:gd name="connsiteX14" fmla="*/ 1143920 w 1159037"/>
                <a:gd name="connsiteY14" fmla="*/ 849121 h 919671"/>
                <a:gd name="connsiteX15" fmla="*/ 1143920 w 1159037"/>
                <a:gd name="connsiteY15" fmla="*/ 75589 h 919671"/>
                <a:gd name="connsiteX16" fmla="*/ 1087228 w 1159037"/>
                <a:gd name="connsiteY16" fmla="*/ 18897 h 919671"/>
                <a:gd name="connsiteX17" fmla="*/ 74330 w 1159037"/>
                <a:gd name="connsiteY17" fmla="*/ 18897 h 9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9037" h="919671">
                  <a:moveTo>
                    <a:pt x="1088488" y="924710"/>
                  </a:moveTo>
                  <a:lnTo>
                    <a:pt x="75589" y="924710"/>
                  </a:lnTo>
                  <a:cubicBezTo>
                    <a:pt x="34015" y="924710"/>
                    <a:pt x="0" y="890695"/>
                    <a:pt x="0" y="849121"/>
                  </a:cubicBezTo>
                  <a:lnTo>
                    <a:pt x="0" y="75589"/>
                  </a:lnTo>
                  <a:cubicBezTo>
                    <a:pt x="0" y="34015"/>
                    <a:pt x="34015" y="0"/>
                    <a:pt x="75589" y="0"/>
                  </a:cubicBezTo>
                  <a:lnTo>
                    <a:pt x="1088488" y="0"/>
                  </a:lnTo>
                  <a:cubicBezTo>
                    <a:pt x="1130062" y="0"/>
                    <a:pt x="1164077" y="34015"/>
                    <a:pt x="1164077" y="75589"/>
                  </a:cubicBezTo>
                  <a:lnTo>
                    <a:pt x="1164077" y="849121"/>
                  </a:lnTo>
                  <a:cubicBezTo>
                    <a:pt x="1164077" y="890695"/>
                    <a:pt x="1130062" y="924710"/>
                    <a:pt x="1088488" y="924710"/>
                  </a:cubicBezTo>
                  <a:close/>
                  <a:moveTo>
                    <a:pt x="74330" y="18897"/>
                  </a:moveTo>
                  <a:cubicBezTo>
                    <a:pt x="42834" y="18897"/>
                    <a:pt x="17638" y="44094"/>
                    <a:pt x="17638" y="75589"/>
                  </a:cubicBezTo>
                  <a:lnTo>
                    <a:pt x="17638" y="849121"/>
                  </a:lnTo>
                  <a:cubicBezTo>
                    <a:pt x="17638" y="880617"/>
                    <a:pt x="42834" y="905813"/>
                    <a:pt x="74330" y="905813"/>
                  </a:cubicBezTo>
                  <a:lnTo>
                    <a:pt x="1087228" y="905813"/>
                  </a:lnTo>
                  <a:cubicBezTo>
                    <a:pt x="1118723" y="905813"/>
                    <a:pt x="1143920" y="880617"/>
                    <a:pt x="1143920" y="849121"/>
                  </a:cubicBezTo>
                  <a:lnTo>
                    <a:pt x="1143920" y="75589"/>
                  </a:lnTo>
                  <a:cubicBezTo>
                    <a:pt x="1143920" y="44094"/>
                    <a:pt x="1118723" y="18897"/>
                    <a:pt x="1087228" y="18897"/>
                  </a:cubicBezTo>
                  <a:lnTo>
                    <a:pt x="74330" y="18897"/>
                  </a:ln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/>
            <p:cNvSpPr/>
            <p:nvPr/>
          </p:nvSpPr>
          <p:spPr>
            <a:xfrm>
              <a:off x="1818641" y="1515328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/>
            <p:cNvSpPr/>
            <p:nvPr/>
          </p:nvSpPr>
          <p:spPr>
            <a:xfrm>
              <a:off x="1818641" y="1666507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/>
            <p:cNvSpPr/>
            <p:nvPr/>
          </p:nvSpPr>
          <p:spPr>
            <a:xfrm>
              <a:off x="1818641" y="1816426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573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/>
            <p:cNvSpPr/>
            <p:nvPr/>
          </p:nvSpPr>
          <p:spPr>
            <a:xfrm>
              <a:off x="1818641" y="1967604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/>
            <p:cNvSpPr/>
            <p:nvPr/>
          </p:nvSpPr>
          <p:spPr>
            <a:xfrm>
              <a:off x="1818641" y="2118783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/>
            <p:cNvSpPr/>
            <p:nvPr/>
          </p:nvSpPr>
          <p:spPr>
            <a:xfrm>
              <a:off x="2407929" y="2972944"/>
              <a:ext cx="579519" cy="617313"/>
            </a:xfrm>
            <a:custGeom>
              <a:avLst/>
              <a:gdLst>
                <a:gd name="connsiteX0" fmla="*/ 536994 w 579518"/>
                <a:gd name="connsiteY0" fmla="*/ 618573 h 617313"/>
                <a:gd name="connsiteX1" fmla="*/ 166605 w 579518"/>
                <a:gd name="connsiteY1" fmla="*/ 488811 h 617313"/>
                <a:gd name="connsiteX2" fmla="*/ 309 w 579518"/>
                <a:gd name="connsiteY2" fmla="*/ 8819 h 617313"/>
                <a:gd name="connsiteX3" fmla="*/ 9128 w 579518"/>
                <a:gd name="connsiteY3" fmla="*/ 0 h 617313"/>
                <a:gd name="connsiteX4" fmla="*/ 9128 w 579518"/>
                <a:gd name="connsiteY4" fmla="*/ 0 h 617313"/>
                <a:gd name="connsiteX5" fmla="*/ 17946 w 579518"/>
                <a:gd name="connsiteY5" fmla="*/ 10079 h 617313"/>
                <a:gd name="connsiteX6" fmla="*/ 177944 w 579518"/>
                <a:gd name="connsiteY6" fmla="*/ 474953 h 617313"/>
                <a:gd name="connsiteX7" fmla="*/ 579828 w 579518"/>
                <a:gd name="connsiteY7" fmla="*/ 598416 h 617313"/>
                <a:gd name="connsiteX8" fmla="*/ 589906 w 579518"/>
                <a:gd name="connsiteY8" fmla="*/ 607235 h 617313"/>
                <a:gd name="connsiteX9" fmla="*/ 581087 w 579518"/>
                <a:gd name="connsiteY9" fmla="*/ 617313 h 617313"/>
                <a:gd name="connsiteX10" fmla="*/ 536994 w 579518"/>
                <a:gd name="connsiteY10" fmla="*/ 618573 h 61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518" h="617313">
                  <a:moveTo>
                    <a:pt x="536994" y="618573"/>
                  </a:moveTo>
                  <a:cubicBezTo>
                    <a:pt x="457625" y="618573"/>
                    <a:pt x="292588" y="603455"/>
                    <a:pt x="166605" y="488811"/>
                  </a:cubicBezTo>
                  <a:cubicBezTo>
                    <a:pt x="51962" y="384246"/>
                    <a:pt x="-4731" y="222989"/>
                    <a:pt x="309" y="8819"/>
                  </a:cubicBezTo>
                  <a:cubicBezTo>
                    <a:pt x="309" y="3780"/>
                    <a:pt x="4088" y="0"/>
                    <a:pt x="9128" y="0"/>
                  </a:cubicBezTo>
                  <a:cubicBezTo>
                    <a:pt x="9128" y="0"/>
                    <a:pt x="9128" y="0"/>
                    <a:pt x="9128" y="0"/>
                  </a:cubicBezTo>
                  <a:cubicBezTo>
                    <a:pt x="14167" y="0"/>
                    <a:pt x="17946" y="5039"/>
                    <a:pt x="17946" y="10079"/>
                  </a:cubicBezTo>
                  <a:cubicBezTo>
                    <a:pt x="12907" y="217949"/>
                    <a:pt x="67079" y="374167"/>
                    <a:pt x="177944" y="474953"/>
                  </a:cubicBezTo>
                  <a:cubicBezTo>
                    <a:pt x="341721" y="623613"/>
                    <a:pt x="577308" y="598416"/>
                    <a:pt x="579828" y="598416"/>
                  </a:cubicBezTo>
                  <a:cubicBezTo>
                    <a:pt x="584867" y="598416"/>
                    <a:pt x="589906" y="600936"/>
                    <a:pt x="589906" y="607235"/>
                  </a:cubicBezTo>
                  <a:cubicBezTo>
                    <a:pt x="589906" y="612274"/>
                    <a:pt x="587387" y="617313"/>
                    <a:pt x="581087" y="617313"/>
                  </a:cubicBezTo>
                  <a:cubicBezTo>
                    <a:pt x="581087" y="616054"/>
                    <a:pt x="564710" y="618573"/>
                    <a:pt x="536994" y="618573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/>
            <p:cNvSpPr/>
            <p:nvPr/>
          </p:nvSpPr>
          <p:spPr>
            <a:xfrm>
              <a:off x="2367608" y="2972447"/>
              <a:ext cx="100786" cy="50393"/>
            </a:xfrm>
            <a:custGeom>
              <a:avLst/>
              <a:gdLst>
                <a:gd name="connsiteX0" fmla="*/ 9134 w 100785"/>
                <a:gd name="connsiteY0" fmla="*/ 60968 h 50392"/>
                <a:gd name="connsiteX1" fmla="*/ 2835 w 100785"/>
                <a:gd name="connsiteY1" fmla="*/ 58448 h 50392"/>
                <a:gd name="connsiteX2" fmla="*/ 2835 w 100785"/>
                <a:gd name="connsiteY2" fmla="*/ 44590 h 50392"/>
                <a:gd name="connsiteX3" fmla="*/ 41889 w 100785"/>
                <a:gd name="connsiteY3" fmla="*/ 3016 h 50392"/>
                <a:gd name="connsiteX4" fmla="*/ 54487 w 100785"/>
                <a:gd name="connsiteY4" fmla="*/ 1756 h 50392"/>
                <a:gd name="connsiteX5" fmla="*/ 99841 w 100785"/>
                <a:gd name="connsiteY5" fmla="*/ 38291 h 50392"/>
                <a:gd name="connsiteX6" fmla="*/ 101101 w 100785"/>
                <a:gd name="connsiteY6" fmla="*/ 52149 h 50392"/>
                <a:gd name="connsiteX7" fmla="*/ 87243 w 100785"/>
                <a:gd name="connsiteY7" fmla="*/ 53409 h 50392"/>
                <a:gd name="connsiteX8" fmla="*/ 48188 w 100785"/>
                <a:gd name="connsiteY8" fmla="*/ 21913 h 50392"/>
                <a:gd name="connsiteX9" fmla="*/ 14173 w 100785"/>
                <a:gd name="connsiteY9" fmla="*/ 57188 h 50392"/>
                <a:gd name="connsiteX10" fmla="*/ 9134 w 100785"/>
                <a:gd name="connsiteY10" fmla="*/ 60968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785" h="50392">
                  <a:moveTo>
                    <a:pt x="9134" y="60968"/>
                  </a:moveTo>
                  <a:cubicBezTo>
                    <a:pt x="6614" y="60968"/>
                    <a:pt x="4094" y="59708"/>
                    <a:pt x="2835" y="58448"/>
                  </a:cubicBezTo>
                  <a:cubicBezTo>
                    <a:pt x="-945" y="54669"/>
                    <a:pt x="-945" y="48370"/>
                    <a:pt x="2835" y="44590"/>
                  </a:cubicBezTo>
                  <a:lnTo>
                    <a:pt x="41889" y="3016"/>
                  </a:lnTo>
                  <a:cubicBezTo>
                    <a:pt x="45669" y="-764"/>
                    <a:pt x="50708" y="-764"/>
                    <a:pt x="54487" y="1756"/>
                  </a:cubicBezTo>
                  <a:lnTo>
                    <a:pt x="99841" y="38291"/>
                  </a:lnTo>
                  <a:cubicBezTo>
                    <a:pt x="103620" y="42071"/>
                    <a:pt x="104880" y="47110"/>
                    <a:pt x="101101" y="52149"/>
                  </a:cubicBezTo>
                  <a:cubicBezTo>
                    <a:pt x="97321" y="55928"/>
                    <a:pt x="92282" y="57188"/>
                    <a:pt x="87243" y="53409"/>
                  </a:cubicBezTo>
                  <a:lnTo>
                    <a:pt x="48188" y="21913"/>
                  </a:lnTo>
                  <a:lnTo>
                    <a:pt x="14173" y="57188"/>
                  </a:lnTo>
                  <a:cubicBezTo>
                    <a:pt x="14173" y="59708"/>
                    <a:pt x="11653" y="60968"/>
                    <a:pt x="9134" y="60968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/>
            <p:cNvSpPr/>
            <p:nvPr/>
          </p:nvSpPr>
          <p:spPr>
            <a:xfrm>
              <a:off x="2457371" y="2447597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8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8"/>
                    <a:pt x="773532" y="25196"/>
                  </a:cubicBezTo>
                  <a:lnTo>
                    <a:pt x="773532" y="224248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/>
            <p:cNvSpPr/>
            <p:nvPr/>
          </p:nvSpPr>
          <p:spPr>
            <a:xfrm>
              <a:off x="2008874" y="2611374"/>
              <a:ext cx="768492" cy="23936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8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8"/>
                  </a:lnTo>
                  <a:cubicBezTo>
                    <a:pt x="772272" y="238107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/>
            <p:cNvSpPr/>
            <p:nvPr/>
          </p:nvSpPr>
          <p:spPr>
            <a:xfrm>
              <a:off x="2457371" y="2382086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9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9"/>
                    <a:pt x="773532" y="25196"/>
                  </a:cubicBezTo>
                  <a:lnTo>
                    <a:pt x="773532" y="224249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4" name="任意多边形: 形状 10043"/>
            <p:cNvSpPr/>
            <p:nvPr/>
          </p:nvSpPr>
          <p:spPr>
            <a:xfrm>
              <a:off x="5165991" y="1483832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5" name="任意多边形: 形状 10044"/>
            <p:cNvSpPr/>
            <p:nvPr/>
          </p:nvSpPr>
          <p:spPr>
            <a:xfrm>
              <a:off x="5579213" y="1807607"/>
              <a:ext cx="352751" cy="239366"/>
            </a:xfrm>
            <a:custGeom>
              <a:avLst/>
              <a:gdLst>
                <a:gd name="connsiteX0" fmla="*/ 335113 w 352750"/>
                <a:gd name="connsiteY0" fmla="*/ 249445 h 239366"/>
                <a:gd name="connsiteX1" fmla="*/ 25196 w 352750"/>
                <a:gd name="connsiteY1" fmla="*/ 249445 h 239366"/>
                <a:gd name="connsiteX2" fmla="*/ 0 w 352750"/>
                <a:gd name="connsiteY2" fmla="*/ 224248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4248 h 239366"/>
                <a:gd name="connsiteX8" fmla="*/ 335113 w 352750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4248"/>
                  </a:lnTo>
                  <a:cubicBezTo>
                    <a:pt x="359050" y="238107"/>
                    <a:pt x="347711" y="249445"/>
                    <a:pt x="335113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6" name="任意多边形: 形状 10045"/>
            <p:cNvSpPr/>
            <p:nvPr/>
          </p:nvSpPr>
          <p:spPr>
            <a:xfrm>
              <a:off x="5165991" y="1400684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7" name="任意多边形: 形状 10046"/>
            <p:cNvSpPr/>
            <p:nvPr/>
          </p:nvSpPr>
          <p:spPr>
            <a:xfrm>
              <a:off x="5579213" y="1725718"/>
              <a:ext cx="352751" cy="239366"/>
            </a:xfrm>
            <a:custGeom>
              <a:avLst/>
              <a:gdLst>
                <a:gd name="connsiteX0" fmla="*/ 335113 w 352750"/>
                <a:gd name="connsiteY0" fmla="*/ 248185 h 239366"/>
                <a:gd name="connsiteX1" fmla="*/ 25196 w 352750"/>
                <a:gd name="connsiteY1" fmla="*/ 248185 h 239366"/>
                <a:gd name="connsiteX2" fmla="*/ 0 w 352750"/>
                <a:gd name="connsiteY2" fmla="*/ 222989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2989 h 239366"/>
                <a:gd name="connsiteX8" fmla="*/ 335113 w 352750"/>
                <a:gd name="connsiteY8" fmla="*/ 24818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8185"/>
                  </a:moveTo>
                  <a:lnTo>
                    <a:pt x="25196" y="248185"/>
                  </a:lnTo>
                  <a:cubicBezTo>
                    <a:pt x="11338" y="248185"/>
                    <a:pt x="0" y="236847"/>
                    <a:pt x="0" y="22298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2989"/>
                  </a:lnTo>
                  <a:cubicBezTo>
                    <a:pt x="359050" y="236847"/>
                    <a:pt x="347711" y="248185"/>
                    <a:pt x="335113" y="24818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8" name="任意多边形: 形状 10047"/>
            <p:cNvSpPr/>
            <p:nvPr/>
          </p:nvSpPr>
          <p:spPr>
            <a:xfrm>
              <a:off x="2008874" y="2544604"/>
              <a:ext cx="768492" cy="23936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9366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9" name="任意多边形: 形状 10048"/>
            <p:cNvSpPr/>
            <p:nvPr/>
          </p:nvSpPr>
          <p:spPr>
            <a:xfrm>
              <a:off x="5511631" y="3244852"/>
              <a:ext cx="629912" cy="1360609"/>
            </a:xfrm>
            <a:custGeom>
              <a:avLst/>
              <a:gdLst>
                <a:gd name="connsiteX0" fmla="*/ 416553 w 629911"/>
                <a:gd name="connsiteY0" fmla="*/ 1364602 h 1360609"/>
                <a:gd name="connsiteX1" fmla="*/ 582850 w 629911"/>
                <a:gd name="connsiteY1" fmla="*/ 1120196 h 1360609"/>
                <a:gd name="connsiteX2" fmla="*/ 615606 w 629911"/>
                <a:gd name="connsiteY2" fmla="*/ 715793 h 1360609"/>
                <a:gd name="connsiteX3" fmla="*/ 405215 w 629911"/>
                <a:gd name="connsiteY3" fmla="*/ 386979 h 1360609"/>
                <a:gd name="connsiteX4" fmla="*/ 338445 w 629911"/>
                <a:gd name="connsiteY4" fmla="*/ 95960 h 1360609"/>
                <a:gd name="connsiteX5" fmla="*/ 13410 w 629911"/>
                <a:gd name="connsiteY5" fmla="*/ 249658 h 1360609"/>
                <a:gd name="connsiteX6" fmla="*/ 125534 w 629911"/>
                <a:gd name="connsiteY6" fmla="*/ 540677 h 1360609"/>
                <a:gd name="connsiteX7" fmla="*/ 121755 w 629911"/>
                <a:gd name="connsiteY7" fmla="*/ 845554 h 1360609"/>
                <a:gd name="connsiteX8" fmla="*/ 242698 w 629911"/>
                <a:gd name="connsiteY8" fmla="*/ 1157990 h 1360609"/>
                <a:gd name="connsiteX9" fmla="*/ 416553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416553" y="1364602"/>
                  </a:moveTo>
                  <a:cubicBezTo>
                    <a:pt x="511040" y="1350744"/>
                    <a:pt x="599228" y="1305390"/>
                    <a:pt x="582850" y="1120196"/>
                  </a:cubicBezTo>
                  <a:cubicBezTo>
                    <a:pt x="566472" y="935002"/>
                    <a:pt x="667258" y="890908"/>
                    <a:pt x="615606" y="715793"/>
                  </a:cubicBezTo>
                  <a:cubicBezTo>
                    <a:pt x="563953" y="540677"/>
                    <a:pt x="401436" y="533118"/>
                    <a:pt x="405215" y="386979"/>
                  </a:cubicBezTo>
                  <a:cubicBezTo>
                    <a:pt x="407735" y="315169"/>
                    <a:pt x="392617" y="185407"/>
                    <a:pt x="338445" y="95960"/>
                  </a:cubicBezTo>
                  <a:cubicBezTo>
                    <a:pt x="247737" y="-53959"/>
                    <a:pt x="-68479" y="-46401"/>
                    <a:pt x="13410" y="249658"/>
                  </a:cubicBezTo>
                  <a:cubicBezTo>
                    <a:pt x="41126" y="350444"/>
                    <a:pt x="121755" y="407136"/>
                    <a:pt x="125534" y="540677"/>
                  </a:cubicBezTo>
                  <a:cubicBezTo>
                    <a:pt x="128054" y="635164"/>
                    <a:pt x="78921" y="675478"/>
                    <a:pt x="121755" y="845554"/>
                  </a:cubicBezTo>
                  <a:cubicBezTo>
                    <a:pt x="160809" y="997993"/>
                    <a:pt x="255296" y="1006812"/>
                    <a:pt x="242698" y="1157990"/>
                  </a:cubicBezTo>
                  <a:cubicBezTo>
                    <a:pt x="230100" y="1310429"/>
                    <a:pt x="304429" y="1380979"/>
                    <a:pt x="416553" y="136460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0" name="任意多边形: 形状 10049"/>
            <p:cNvSpPr/>
            <p:nvPr/>
          </p:nvSpPr>
          <p:spPr>
            <a:xfrm>
              <a:off x="5646723" y="3254900"/>
              <a:ext cx="302358" cy="1310216"/>
            </a:xfrm>
            <a:custGeom>
              <a:avLst/>
              <a:gdLst>
                <a:gd name="connsiteX0" fmla="*/ 304138 w 302357"/>
                <a:gd name="connsiteY0" fmla="*/ 1320539 h 1310216"/>
                <a:gd name="connsiteX1" fmla="*/ 307918 w 302357"/>
                <a:gd name="connsiteY1" fmla="*/ 1319279 h 1310216"/>
                <a:gd name="connsiteX2" fmla="*/ 311697 w 302357"/>
                <a:gd name="connsiteY2" fmla="*/ 1304162 h 1310216"/>
                <a:gd name="connsiteX3" fmla="*/ 277682 w 302357"/>
                <a:gd name="connsiteY3" fmla="*/ 1142904 h 1310216"/>
                <a:gd name="connsiteX4" fmla="*/ 276422 w 302357"/>
                <a:gd name="connsiteY4" fmla="*/ 1059755 h 1310216"/>
                <a:gd name="connsiteX5" fmla="*/ 215951 w 302357"/>
                <a:gd name="connsiteY5" fmla="*/ 621337 h 1310216"/>
                <a:gd name="connsiteX6" fmla="*/ 137842 w 302357"/>
                <a:gd name="connsiteY6" fmla="*/ 476457 h 1310216"/>
                <a:gd name="connsiteX7" fmla="*/ 58473 w 302357"/>
                <a:gd name="connsiteY7" fmla="*/ 326539 h 1310216"/>
                <a:gd name="connsiteX8" fmla="*/ 33276 w 302357"/>
                <a:gd name="connsiteY8" fmla="*/ 12842 h 1310216"/>
                <a:gd name="connsiteX9" fmla="*/ 25717 w 302357"/>
                <a:gd name="connsiteY9" fmla="*/ 244 h 1310216"/>
                <a:gd name="connsiteX10" fmla="*/ 13119 w 302357"/>
                <a:gd name="connsiteY10" fmla="*/ 7803 h 1310216"/>
                <a:gd name="connsiteX11" fmla="*/ 39575 w 302357"/>
                <a:gd name="connsiteY11" fmla="*/ 334097 h 1310216"/>
                <a:gd name="connsiteX12" fmla="*/ 120204 w 302357"/>
                <a:gd name="connsiteY12" fmla="*/ 486536 h 1310216"/>
                <a:gd name="connsiteX13" fmla="*/ 197053 w 302357"/>
                <a:gd name="connsiteY13" fmla="*/ 628896 h 1310216"/>
                <a:gd name="connsiteX14" fmla="*/ 256265 w 302357"/>
                <a:gd name="connsiteY14" fmla="*/ 1059755 h 1310216"/>
                <a:gd name="connsiteX15" fmla="*/ 257525 w 302357"/>
                <a:gd name="connsiteY15" fmla="*/ 1142904 h 1310216"/>
                <a:gd name="connsiteX16" fmla="*/ 295319 w 302357"/>
                <a:gd name="connsiteY16" fmla="*/ 1315500 h 1310216"/>
                <a:gd name="connsiteX17" fmla="*/ 304138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304138" y="1320539"/>
                  </a:moveTo>
                  <a:cubicBezTo>
                    <a:pt x="305398" y="1320539"/>
                    <a:pt x="306658" y="1319279"/>
                    <a:pt x="307918" y="1319279"/>
                  </a:cubicBezTo>
                  <a:cubicBezTo>
                    <a:pt x="312957" y="1316760"/>
                    <a:pt x="314217" y="1309201"/>
                    <a:pt x="311697" y="1304162"/>
                  </a:cubicBezTo>
                  <a:cubicBezTo>
                    <a:pt x="282721" y="1257548"/>
                    <a:pt x="278942" y="1199596"/>
                    <a:pt x="277682" y="1142904"/>
                  </a:cubicBezTo>
                  <a:cubicBezTo>
                    <a:pt x="276422" y="1115188"/>
                    <a:pt x="276422" y="1087472"/>
                    <a:pt x="276422" y="1059755"/>
                  </a:cubicBezTo>
                  <a:cubicBezTo>
                    <a:pt x="275162" y="912356"/>
                    <a:pt x="272643" y="758658"/>
                    <a:pt x="215951" y="621337"/>
                  </a:cubicBezTo>
                  <a:cubicBezTo>
                    <a:pt x="194534" y="570944"/>
                    <a:pt x="165558" y="523071"/>
                    <a:pt x="137842" y="476457"/>
                  </a:cubicBezTo>
                  <a:cubicBezTo>
                    <a:pt x="108866" y="428584"/>
                    <a:pt x="79890" y="379451"/>
                    <a:pt x="58473" y="326539"/>
                  </a:cubicBezTo>
                  <a:cubicBezTo>
                    <a:pt x="19418" y="228272"/>
                    <a:pt x="10599" y="116148"/>
                    <a:pt x="33276" y="12842"/>
                  </a:cubicBezTo>
                  <a:cubicBezTo>
                    <a:pt x="34536" y="6543"/>
                    <a:pt x="30757" y="1504"/>
                    <a:pt x="25717" y="244"/>
                  </a:cubicBezTo>
                  <a:cubicBezTo>
                    <a:pt x="19418" y="-1016"/>
                    <a:pt x="14379" y="2764"/>
                    <a:pt x="13119" y="7803"/>
                  </a:cubicBezTo>
                  <a:cubicBezTo>
                    <a:pt x="-10817" y="116148"/>
                    <a:pt x="-1999" y="230792"/>
                    <a:pt x="39575" y="334097"/>
                  </a:cubicBezTo>
                  <a:cubicBezTo>
                    <a:pt x="60992" y="388270"/>
                    <a:pt x="91228" y="438663"/>
                    <a:pt x="120204" y="486536"/>
                  </a:cubicBezTo>
                  <a:cubicBezTo>
                    <a:pt x="147920" y="531890"/>
                    <a:pt x="175636" y="579763"/>
                    <a:pt x="197053" y="628896"/>
                  </a:cubicBezTo>
                  <a:cubicBezTo>
                    <a:pt x="253745" y="762437"/>
                    <a:pt x="255005" y="913616"/>
                    <a:pt x="256265" y="1059755"/>
                  </a:cubicBezTo>
                  <a:cubicBezTo>
                    <a:pt x="256265" y="1087472"/>
                    <a:pt x="256265" y="1115188"/>
                    <a:pt x="257525" y="1142904"/>
                  </a:cubicBezTo>
                  <a:cubicBezTo>
                    <a:pt x="258785" y="1202116"/>
                    <a:pt x="262564" y="1263847"/>
                    <a:pt x="295319" y="1315500"/>
                  </a:cubicBezTo>
                  <a:cubicBezTo>
                    <a:pt x="295319" y="1319279"/>
                    <a:pt x="300359" y="1321799"/>
                    <a:pt x="304138" y="132053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1" name="任意多边形: 形状 10050"/>
            <p:cNvSpPr/>
            <p:nvPr/>
          </p:nvSpPr>
          <p:spPr>
            <a:xfrm>
              <a:off x="5899530" y="3929387"/>
              <a:ext cx="201572" cy="264563"/>
            </a:xfrm>
            <a:custGeom>
              <a:avLst/>
              <a:gdLst>
                <a:gd name="connsiteX0" fmla="*/ 12276 w 201571"/>
                <a:gd name="connsiteY0" fmla="*/ 264325 h 264562"/>
                <a:gd name="connsiteX1" fmla="*/ 19835 w 201571"/>
                <a:gd name="connsiteY1" fmla="*/ 259286 h 264562"/>
                <a:gd name="connsiteX2" fmla="*/ 199990 w 201571"/>
                <a:gd name="connsiteY2" fmla="*/ 17400 h 264562"/>
                <a:gd name="connsiteX3" fmla="*/ 198730 w 201571"/>
                <a:gd name="connsiteY3" fmla="*/ 2282 h 264562"/>
                <a:gd name="connsiteX4" fmla="*/ 183612 w 201571"/>
                <a:gd name="connsiteY4" fmla="*/ 3542 h 264562"/>
                <a:gd name="connsiteX5" fmla="*/ 2197 w 201571"/>
                <a:gd name="connsiteY5" fmla="*/ 246688 h 264562"/>
                <a:gd name="connsiteX6" fmla="*/ 4717 w 201571"/>
                <a:gd name="connsiteY6" fmla="*/ 261806 h 264562"/>
                <a:gd name="connsiteX7" fmla="*/ 1227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2276" y="264325"/>
                  </a:moveTo>
                  <a:cubicBezTo>
                    <a:pt x="14796" y="264325"/>
                    <a:pt x="17315" y="261806"/>
                    <a:pt x="19835" y="259286"/>
                  </a:cubicBezTo>
                  <a:cubicBezTo>
                    <a:pt x="77787" y="177397"/>
                    <a:pt x="138259" y="95509"/>
                    <a:pt x="199990" y="17400"/>
                  </a:cubicBezTo>
                  <a:cubicBezTo>
                    <a:pt x="203769" y="12361"/>
                    <a:pt x="202510" y="6061"/>
                    <a:pt x="198730" y="2282"/>
                  </a:cubicBezTo>
                  <a:cubicBezTo>
                    <a:pt x="193691" y="-1497"/>
                    <a:pt x="187392" y="-238"/>
                    <a:pt x="183612" y="3542"/>
                  </a:cubicBezTo>
                  <a:cubicBezTo>
                    <a:pt x="120621" y="82911"/>
                    <a:pt x="60149" y="164799"/>
                    <a:pt x="2197" y="246688"/>
                  </a:cubicBezTo>
                  <a:cubicBezTo>
                    <a:pt x="-1582" y="251727"/>
                    <a:pt x="-322" y="258026"/>
                    <a:pt x="4717" y="261806"/>
                  </a:cubicBezTo>
                  <a:cubicBezTo>
                    <a:pt x="7237" y="264325"/>
                    <a:pt x="9756" y="265585"/>
                    <a:pt x="12276" y="26432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2" name="任意多边形: 形状 10051"/>
            <p:cNvSpPr/>
            <p:nvPr/>
          </p:nvSpPr>
          <p:spPr>
            <a:xfrm>
              <a:off x="5902050" y="4044738"/>
              <a:ext cx="176375" cy="214170"/>
            </a:xfrm>
            <a:custGeom>
              <a:avLst/>
              <a:gdLst>
                <a:gd name="connsiteX0" fmla="*/ 11016 w 176375"/>
                <a:gd name="connsiteY0" fmla="*/ 214485 h 214169"/>
                <a:gd name="connsiteX1" fmla="*/ 18575 w 176375"/>
                <a:gd name="connsiteY1" fmla="*/ 210706 h 214169"/>
                <a:gd name="connsiteX2" fmla="*/ 179833 w 176375"/>
                <a:gd name="connsiteY2" fmla="*/ 17952 h 214169"/>
                <a:gd name="connsiteX3" fmla="*/ 179833 w 176375"/>
                <a:gd name="connsiteY3" fmla="*/ 2835 h 214169"/>
                <a:gd name="connsiteX4" fmla="*/ 164715 w 176375"/>
                <a:gd name="connsiteY4" fmla="*/ 2835 h 214169"/>
                <a:gd name="connsiteX5" fmla="*/ 2198 w 176375"/>
                <a:gd name="connsiteY5" fmla="*/ 198107 h 214169"/>
                <a:gd name="connsiteX6" fmla="*/ 4717 w 176375"/>
                <a:gd name="connsiteY6" fmla="*/ 213225 h 214169"/>
                <a:gd name="connsiteX7" fmla="*/ 11016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1016" y="214485"/>
                  </a:moveTo>
                  <a:cubicBezTo>
                    <a:pt x="13536" y="214485"/>
                    <a:pt x="16056" y="213225"/>
                    <a:pt x="18575" y="210706"/>
                  </a:cubicBezTo>
                  <a:cubicBezTo>
                    <a:pt x="67708" y="142675"/>
                    <a:pt x="121881" y="78424"/>
                    <a:pt x="179833" y="17952"/>
                  </a:cubicBezTo>
                  <a:cubicBezTo>
                    <a:pt x="183612" y="14173"/>
                    <a:pt x="183612" y="6614"/>
                    <a:pt x="179833" y="2835"/>
                  </a:cubicBezTo>
                  <a:cubicBezTo>
                    <a:pt x="176053" y="-945"/>
                    <a:pt x="168494" y="-945"/>
                    <a:pt x="164715" y="2835"/>
                  </a:cubicBezTo>
                  <a:cubicBezTo>
                    <a:pt x="106763" y="63306"/>
                    <a:pt x="51331" y="128817"/>
                    <a:pt x="2198" y="198107"/>
                  </a:cubicBezTo>
                  <a:cubicBezTo>
                    <a:pt x="-1582" y="203147"/>
                    <a:pt x="-322" y="209446"/>
                    <a:pt x="4717" y="213225"/>
                  </a:cubicBezTo>
                  <a:cubicBezTo>
                    <a:pt x="4717" y="214485"/>
                    <a:pt x="8497" y="214485"/>
                    <a:pt x="11016" y="21448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3" name="任意多边形: 形状 10052"/>
            <p:cNvSpPr/>
            <p:nvPr/>
          </p:nvSpPr>
          <p:spPr>
            <a:xfrm>
              <a:off x="5902050" y="4232592"/>
              <a:ext cx="113384" cy="125982"/>
            </a:xfrm>
            <a:custGeom>
              <a:avLst/>
              <a:gdLst>
                <a:gd name="connsiteX0" fmla="*/ 12276 w 113384"/>
                <a:gd name="connsiteY0" fmla="*/ 136235 h 125982"/>
                <a:gd name="connsiteX1" fmla="*/ 19835 w 113384"/>
                <a:gd name="connsiteY1" fmla="*/ 131196 h 125982"/>
                <a:gd name="connsiteX2" fmla="*/ 121881 w 113384"/>
                <a:gd name="connsiteY2" fmla="*/ 19071 h 125982"/>
                <a:gd name="connsiteX3" fmla="*/ 123141 w 113384"/>
                <a:gd name="connsiteY3" fmla="*/ 3954 h 125982"/>
                <a:gd name="connsiteX4" fmla="*/ 108023 w 113384"/>
                <a:gd name="connsiteY4" fmla="*/ 2694 h 125982"/>
                <a:gd name="connsiteX5" fmla="*/ 2198 w 113384"/>
                <a:gd name="connsiteY5" fmla="*/ 119857 h 125982"/>
                <a:gd name="connsiteX6" fmla="*/ 4717 w 113384"/>
                <a:gd name="connsiteY6" fmla="*/ 134975 h 125982"/>
                <a:gd name="connsiteX7" fmla="*/ 12276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2276" y="136235"/>
                  </a:moveTo>
                  <a:cubicBezTo>
                    <a:pt x="14796" y="136235"/>
                    <a:pt x="17316" y="133715"/>
                    <a:pt x="19835" y="131196"/>
                  </a:cubicBezTo>
                  <a:cubicBezTo>
                    <a:pt x="48811" y="89622"/>
                    <a:pt x="82826" y="51827"/>
                    <a:pt x="121881" y="19071"/>
                  </a:cubicBezTo>
                  <a:cubicBezTo>
                    <a:pt x="126920" y="15292"/>
                    <a:pt x="126920" y="8993"/>
                    <a:pt x="123141" y="3954"/>
                  </a:cubicBezTo>
                  <a:cubicBezTo>
                    <a:pt x="119361" y="-1085"/>
                    <a:pt x="113062" y="-1085"/>
                    <a:pt x="108023" y="2694"/>
                  </a:cubicBezTo>
                  <a:cubicBezTo>
                    <a:pt x="67708" y="36709"/>
                    <a:pt x="32433" y="75764"/>
                    <a:pt x="2198" y="119857"/>
                  </a:cubicBezTo>
                  <a:cubicBezTo>
                    <a:pt x="-1582" y="124897"/>
                    <a:pt x="-322" y="131196"/>
                    <a:pt x="4717" y="134975"/>
                  </a:cubicBezTo>
                  <a:cubicBezTo>
                    <a:pt x="7237" y="134975"/>
                    <a:pt x="9757" y="136235"/>
                    <a:pt x="12276" y="13623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4" name="任意多边形: 形状 10053"/>
            <p:cNvSpPr/>
            <p:nvPr/>
          </p:nvSpPr>
          <p:spPr>
            <a:xfrm>
              <a:off x="5647701" y="3949764"/>
              <a:ext cx="251965" cy="125982"/>
            </a:xfrm>
            <a:custGeom>
              <a:avLst/>
              <a:gdLst>
                <a:gd name="connsiteX0" fmla="*/ 255286 w 251964"/>
                <a:gd name="connsiteY0" fmla="*/ 129304 h 125982"/>
                <a:gd name="connsiteX1" fmla="*/ 262845 w 251964"/>
                <a:gd name="connsiteY1" fmla="*/ 124265 h 125982"/>
                <a:gd name="connsiteX2" fmla="*/ 259066 w 251964"/>
                <a:gd name="connsiteY2" fmla="*/ 110407 h 125982"/>
                <a:gd name="connsiteX3" fmla="*/ 14660 w 251964"/>
                <a:gd name="connsiteY3" fmla="*/ 802 h 125982"/>
                <a:gd name="connsiteX4" fmla="*/ 802 w 251964"/>
                <a:gd name="connsiteY4" fmla="*/ 7101 h 125982"/>
                <a:gd name="connsiteX5" fmla="*/ 7101 w 251964"/>
                <a:gd name="connsiteY5" fmla="*/ 20959 h 125982"/>
                <a:gd name="connsiteX6" fmla="*/ 248987 w 251964"/>
                <a:gd name="connsiteY6" fmla="*/ 129304 h 125982"/>
                <a:gd name="connsiteX7" fmla="*/ 255286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255286" y="129304"/>
                  </a:moveTo>
                  <a:cubicBezTo>
                    <a:pt x="259066" y="129304"/>
                    <a:pt x="261585" y="126784"/>
                    <a:pt x="262845" y="124265"/>
                  </a:cubicBezTo>
                  <a:cubicBezTo>
                    <a:pt x="265365" y="119225"/>
                    <a:pt x="264105" y="112926"/>
                    <a:pt x="259066" y="110407"/>
                  </a:cubicBezTo>
                  <a:cubicBezTo>
                    <a:pt x="180957" y="68832"/>
                    <a:pt x="97808" y="31038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90249" y="51195"/>
                    <a:pt x="170878" y="87730"/>
                    <a:pt x="248987" y="129304"/>
                  </a:cubicBezTo>
                  <a:cubicBezTo>
                    <a:pt x="250247" y="129304"/>
                    <a:pt x="252767" y="129304"/>
                    <a:pt x="255286" y="12930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5" name="任意多边形: 形状 10054"/>
            <p:cNvSpPr/>
            <p:nvPr/>
          </p:nvSpPr>
          <p:spPr>
            <a:xfrm>
              <a:off x="5633064" y="4018276"/>
              <a:ext cx="264563" cy="100786"/>
            </a:xfrm>
            <a:custGeom>
              <a:avLst/>
              <a:gdLst>
                <a:gd name="connsiteX0" fmla="*/ 264884 w 264562"/>
                <a:gd name="connsiteY0" fmla="*/ 103627 h 100785"/>
                <a:gd name="connsiteX1" fmla="*/ 273703 w 264562"/>
                <a:gd name="connsiteY1" fmla="*/ 96068 h 100785"/>
                <a:gd name="connsiteX2" fmla="*/ 267404 w 264562"/>
                <a:gd name="connsiteY2" fmla="*/ 82209 h 100785"/>
                <a:gd name="connsiteX3" fmla="*/ 14179 w 264562"/>
                <a:gd name="connsiteY3" fmla="*/ 321 h 100785"/>
                <a:gd name="connsiteX4" fmla="*/ 321 w 264562"/>
                <a:gd name="connsiteY4" fmla="*/ 6620 h 100785"/>
                <a:gd name="connsiteX5" fmla="*/ 6620 w 264562"/>
                <a:gd name="connsiteY5" fmla="*/ 20478 h 100785"/>
                <a:gd name="connsiteX6" fmla="*/ 259845 w 264562"/>
                <a:gd name="connsiteY6" fmla="*/ 102367 h 100785"/>
                <a:gd name="connsiteX7" fmla="*/ 264884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264884" y="103627"/>
                  </a:moveTo>
                  <a:cubicBezTo>
                    <a:pt x="268663" y="103627"/>
                    <a:pt x="272443" y="99847"/>
                    <a:pt x="273703" y="96068"/>
                  </a:cubicBezTo>
                  <a:cubicBezTo>
                    <a:pt x="274962" y="91028"/>
                    <a:pt x="272443" y="84729"/>
                    <a:pt x="267404" y="82209"/>
                  </a:cubicBezTo>
                  <a:lnTo>
                    <a:pt x="14179" y="321"/>
                  </a:lnTo>
                  <a:cubicBezTo>
                    <a:pt x="9140" y="-939"/>
                    <a:pt x="2841" y="1581"/>
                    <a:pt x="321" y="6620"/>
                  </a:cubicBezTo>
                  <a:cubicBezTo>
                    <a:pt x="-939" y="11660"/>
                    <a:pt x="1581" y="17959"/>
                    <a:pt x="6620" y="20478"/>
                  </a:cubicBezTo>
                  <a:lnTo>
                    <a:pt x="259845" y="102367"/>
                  </a:lnTo>
                  <a:cubicBezTo>
                    <a:pt x="262364" y="103627"/>
                    <a:pt x="263624" y="103627"/>
                    <a:pt x="264884" y="10362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6" name="任意多边形: 形状 10055"/>
            <p:cNvSpPr/>
            <p:nvPr/>
          </p:nvSpPr>
          <p:spPr>
            <a:xfrm>
              <a:off x="5817642" y="3735459"/>
              <a:ext cx="75589" cy="100786"/>
            </a:xfrm>
            <a:custGeom>
              <a:avLst/>
              <a:gdLst>
                <a:gd name="connsiteX0" fmla="*/ 12276 w 75589"/>
                <a:gd name="connsiteY0" fmla="*/ 104243 h 100785"/>
                <a:gd name="connsiteX1" fmla="*/ 19835 w 75589"/>
                <a:gd name="connsiteY1" fmla="*/ 100464 h 100785"/>
                <a:gd name="connsiteX2" fmla="*/ 81567 w 75589"/>
                <a:gd name="connsiteY2" fmla="*/ 17315 h 100785"/>
                <a:gd name="connsiteX3" fmla="*/ 79047 w 75589"/>
                <a:gd name="connsiteY3" fmla="*/ 2198 h 100785"/>
                <a:gd name="connsiteX4" fmla="*/ 63929 w 75589"/>
                <a:gd name="connsiteY4" fmla="*/ 4717 h 100785"/>
                <a:gd name="connsiteX5" fmla="*/ 2197 w 75589"/>
                <a:gd name="connsiteY5" fmla="*/ 87866 h 100785"/>
                <a:gd name="connsiteX6" fmla="*/ 4717 w 75589"/>
                <a:gd name="connsiteY6" fmla="*/ 102983 h 100785"/>
                <a:gd name="connsiteX7" fmla="*/ 12276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12276" y="104243"/>
                  </a:moveTo>
                  <a:cubicBezTo>
                    <a:pt x="14796" y="104243"/>
                    <a:pt x="17315" y="102983"/>
                    <a:pt x="19835" y="100464"/>
                  </a:cubicBezTo>
                  <a:lnTo>
                    <a:pt x="81567" y="17315"/>
                  </a:lnTo>
                  <a:cubicBezTo>
                    <a:pt x="85346" y="12276"/>
                    <a:pt x="84086" y="5977"/>
                    <a:pt x="79047" y="2198"/>
                  </a:cubicBezTo>
                  <a:cubicBezTo>
                    <a:pt x="74007" y="-1582"/>
                    <a:pt x="67708" y="-322"/>
                    <a:pt x="63929" y="4717"/>
                  </a:cubicBezTo>
                  <a:lnTo>
                    <a:pt x="2197" y="87866"/>
                  </a:lnTo>
                  <a:cubicBezTo>
                    <a:pt x="-1582" y="92905"/>
                    <a:pt x="-322" y="99204"/>
                    <a:pt x="4717" y="102983"/>
                  </a:cubicBezTo>
                  <a:cubicBezTo>
                    <a:pt x="7237" y="104243"/>
                    <a:pt x="9756" y="104243"/>
                    <a:pt x="12276" y="104243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7" name="任意多边形: 形状 10056"/>
            <p:cNvSpPr/>
            <p:nvPr/>
          </p:nvSpPr>
          <p:spPr>
            <a:xfrm>
              <a:off x="5795902" y="3647649"/>
              <a:ext cx="88188" cy="138581"/>
            </a:xfrm>
            <a:custGeom>
              <a:avLst/>
              <a:gdLst>
                <a:gd name="connsiteX0" fmla="*/ 12598 w 88187"/>
                <a:gd name="connsiteY0" fmla="*/ 145440 h 138580"/>
                <a:gd name="connsiteX1" fmla="*/ 20157 w 88187"/>
                <a:gd name="connsiteY1" fmla="*/ 140400 h 138580"/>
                <a:gd name="connsiteX2" fmla="*/ 93227 w 88187"/>
                <a:gd name="connsiteY2" fmla="*/ 16938 h 138580"/>
                <a:gd name="connsiteX3" fmla="*/ 89448 w 88187"/>
                <a:gd name="connsiteY3" fmla="*/ 1820 h 138580"/>
                <a:gd name="connsiteX4" fmla="*/ 74330 w 88187"/>
                <a:gd name="connsiteY4" fmla="*/ 5599 h 138580"/>
                <a:gd name="connsiteX5" fmla="*/ 1260 w 88187"/>
                <a:gd name="connsiteY5" fmla="*/ 130322 h 138580"/>
                <a:gd name="connsiteX6" fmla="*/ 5039 w 88187"/>
                <a:gd name="connsiteY6" fmla="*/ 144180 h 138580"/>
                <a:gd name="connsiteX7" fmla="*/ 1259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12598" y="145440"/>
                  </a:moveTo>
                  <a:cubicBezTo>
                    <a:pt x="16378" y="145440"/>
                    <a:pt x="18897" y="142920"/>
                    <a:pt x="20157" y="140400"/>
                  </a:cubicBezTo>
                  <a:cubicBezTo>
                    <a:pt x="42834" y="98826"/>
                    <a:pt x="66771" y="57252"/>
                    <a:pt x="93227" y="16938"/>
                  </a:cubicBezTo>
                  <a:cubicBezTo>
                    <a:pt x="97007" y="11898"/>
                    <a:pt x="94487" y="5599"/>
                    <a:pt x="89448" y="1820"/>
                  </a:cubicBezTo>
                  <a:cubicBezTo>
                    <a:pt x="84408" y="-1960"/>
                    <a:pt x="78109" y="560"/>
                    <a:pt x="74330" y="5599"/>
                  </a:cubicBezTo>
                  <a:cubicBezTo>
                    <a:pt x="47874" y="45914"/>
                    <a:pt x="23937" y="87488"/>
                    <a:pt x="1260" y="130322"/>
                  </a:cubicBezTo>
                  <a:cubicBezTo>
                    <a:pt x="-1260" y="135361"/>
                    <a:pt x="0" y="141660"/>
                    <a:pt x="5039" y="144180"/>
                  </a:cubicBezTo>
                  <a:cubicBezTo>
                    <a:pt x="7559" y="145440"/>
                    <a:pt x="10079" y="145440"/>
                    <a:pt x="12598" y="14544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8" name="任意多边形: 形状 10057"/>
            <p:cNvSpPr/>
            <p:nvPr/>
          </p:nvSpPr>
          <p:spPr>
            <a:xfrm>
              <a:off x="5630064" y="3697800"/>
              <a:ext cx="151179" cy="50393"/>
            </a:xfrm>
            <a:custGeom>
              <a:avLst/>
              <a:gdLst>
                <a:gd name="connsiteX0" fmla="*/ 148201 w 151178"/>
                <a:gd name="connsiteY0" fmla="*/ 61274 h 50392"/>
                <a:gd name="connsiteX1" fmla="*/ 157020 w 151178"/>
                <a:gd name="connsiteY1" fmla="*/ 53715 h 50392"/>
                <a:gd name="connsiteX2" fmla="*/ 149461 w 151178"/>
                <a:gd name="connsiteY2" fmla="*/ 41116 h 50392"/>
                <a:gd name="connsiteX3" fmla="*/ 14660 w 151178"/>
                <a:gd name="connsiteY3" fmla="*/ 802 h 50392"/>
                <a:gd name="connsiteX4" fmla="*/ 802 w 151178"/>
                <a:gd name="connsiteY4" fmla="*/ 7101 h 50392"/>
                <a:gd name="connsiteX5" fmla="*/ 7101 w 151178"/>
                <a:gd name="connsiteY5" fmla="*/ 20959 h 50392"/>
                <a:gd name="connsiteX6" fmla="*/ 144422 w 151178"/>
                <a:gd name="connsiteY6" fmla="*/ 62533 h 50392"/>
                <a:gd name="connsiteX7" fmla="*/ 148201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148201" y="61274"/>
                  </a:moveTo>
                  <a:cubicBezTo>
                    <a:pt x="151981" y="61274"/>
                    <a:pt x="155760" y="57494"/>
                    <a:pt x="157020" y="53715"/>
                  </a:cubicBezTo>
                  <a:cubicBezTo>
                    <a:pt x="158280" y="47416"/>
                    <a:pt x="154500" y="42376"/>
                    <a:pt x="149461" y="41116"/>
                  </a:cubicBezTo>
                  <a:cubicBezTo>
                    <a:pt x="104108" y="29778"/>
                    <a:pt x="58754" y="17180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52455" y="37337"/>
                    <a:pt x="97808" y="51195"/>
                    <a:pt x="144422" y="62533"/>
                  </a:cubicBezTo>
                  <a:cubicBezTo>
                    <a:pt x="145682" y="61274"/>
                    <a:pt x="146941" y="61274"/>
                    <a:pt x="148201" y="6127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9" name="任意多边形: 形状 10058"/>
            <p:cNvSpPr/>
            <p:nvPr/>
          </p:nvSpPr>
          <p:spPr>
            <a:xfrm>
              <a:off x="5770146" y="4354410"/>
              <a:ext cx="138581" cy="88188"/>
            </a:xfrm>
            <a:custGeom>
              <a:avLst/>
              <a:gdLst>
                <a:gd name="connsiteX0" fmla="*/ 139140 w 138580"/>
                <a:gd name="connsiteY0" fmla="*/ 88748 h 88187"/>
                <a:gd name="connsiteX1" fmla="*/ 146699 w 138580"/>
                <a:gd name="connsiteY1" fmla="*/ 82448 h 88187"/>
                <a:gd name="connsiteX2" fmla="*/ 141660 w 138580"/>
                <a:gd name="connsiteY2" fmla="*/ 68590 h 88187"/>
                <a:gd name="connsiteX3" fmla="*/ 16938 w 138580"/>
                <a:gd name="connsiteY3" fmla="*/ 1820 h 88187"/>
                <a:gd name="connsiteX4" fmla="*/ 1820 w 138580"/>
                <a:gd name="connsiteY4" fmla="*/ 5599 h 88187"/>
                <a:gd name="connsiteX5" fmla="*/ 5599 w 138580"/>
                <a:gd name="connsiteY5" fmla="*/ 20717 h 88187"/>
                <a:gd name="connsiteX6" fmla="*/ 132841 w 138580"/>
                <a:gd name="connsiteY6" fmla="*/ 90008 h 88187"/>
                <a:gd name="connsiteX7" fmla="*/ 139140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139140" y="88748"/>
                  </a:moveTo>
                  <a:cubicBezTo>
                    <a:pt x="142920" y="88748"/>
                    <a:pt x="145439" y="86228"/>
                    <a:pt x="146699" y="82448"/>
                  </a:cubicBezTo>
                  <a:cubicBezTo>
                    <a:pt x="149219" y="77409"/>
                    <a:pt x="146699" y="71110"/>
                    <a:pt x="141660" y="68590"/>
                  </a:cubicBezTo>
                  <a:cubicBezTo>
                    <a:pt x="98826" y="49693"/>
                    <a:pt x="57252" y="27016"/>
                    <a:pt x="16938" y="1820"/>
                  </a:cubicBezTo>
                  <a:cubicBezTo>
                    <a:pt x="11898" y="-1960"/>
                    <a:pt x="5599" y="560"/>
                    <a:pt x="1820" y="5599"/>
                  </a:cubicBezTo>
                  <a:cubicBezTo>
                    <a:pt x="-1960" y="10638"/>
                    <a:pt x="560" y="16938"/>
                    <a:pt x="5599" y="20717"/>
                  </a:cubicBezTo>
                  <a:cubicBezTo>
                    <a:pt x="45914" y="45914"/>
                    <a:pt x="88747" y="69850"/>
                    <a:pt x="132841" y="90008"/>
                  </a:cubicBezTo>
                  <a:cubicBezTo>
                    <a:pt x="135361" y="88748"/>
                    <a:pt x="136621" y="90008"/>
                    <a:pt x="139140" y="887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0" name="任意多边形: 形状 10059"/>
            <p:cNvSpPr/>
            <p:nvPr/>
          </p:nvSpPr>
          <p:spPr>
            <a:xfrm>
              <a:off x="5702970" y="3414967"/>
              <a:ext cx="138581" cy="201572"/>
            </a:xfrm>
            <a:custGeom>
              <a:avLst/>
              <a:gdLst>
                <a:gd name="connsiteX0" fmla="*/ 12304 w 138580"/>
                <a:gd name="connsiteY0" fmla="*/ 209305 h 201571"/>
                <a:gd name="connsiteX1" fmla="*/ 21123 w 138580"/>
                <a:gd name="connsiteY1" fmla="*/ 203006 h 201571"/>
                <a:gd name="connsiteX2" fmla="*/ 137026 w 138580"/>
                <a:gd name="connsiteY2" fmla="*/ 17812 h 201571"/>
                <a:gd name="connsiteX3" fmla="*/ 135766 w 138580"/>
                <a:gd name="connsiteY3" fmla="*/ 2694 h 201571"/>
                <a:gd name="connsiteX4" fmla="*/ 120649 w 138580"/>
                <a:gd name="connsiteY4" fmla="*/ 3954 h 201571"/>
                <a:gd name="connsiteX5" fmla="*/ 966 w 138580"/>
                <a:gd name="connsiteY5" fmla="*/ 195447 h 201571"/>
                <a:gd name="connsiteX6" fmla="*/ 7265 w 138580"/>
                <a:gd name="connsiteY6" fmla="*/ 209305 h 201571"/>
                <a:gd name="connsiteX7" fmla="*/ 12304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304" y="209305"/>
                  </a:moveTo>
                  <a:cubicBezTo>
                    <a:pt x="16083" y="209305"/>
                    <a:pt x="18603" y="206785"/>
                    <a:pt x="21123" y="203006"/>
                  </a:cubicBezTo>
                  <a:cubicBezTo>
                    <a:pt x="48839" y="134976"/>
                    <a:pt x="87893" y="71984"/>
                    <a:pt x="137026" y="17812"/>
                  </a:cubicBezTo>
                  <a:cubicBezTo>
                    <a:pt x="140806" y="14032"/>
                    <a:pt x="140806" y="6473"/>
                    <a:pt x="135766" y="2694"/>
                  </a:cubicBezTo>
                  <a:cubicBezTo>
                    <a:pt x="131987" y="-1085"/>
                    <a:pt x="124428" y="-1085"/>
                    <a:pt x="120649" y="3954"/>
                  </a:cubicBezTo>
                  <a:cubicBezTo>
                    <a:pt x="68996" y="60646"/>
                    <a:pt x="28681" y="124897"/>
                    <a:pt x="966" y="195447"/>
                  </a:cubicBezTo>
                  <a:cubicBezTo>
                    <a:pt x="-1554" y="200486"/>
                    <a:pt x="966" y="206785"/>
                    <a:pt x="7265" y="209305"/>
                  </a:cubicBezTo>
                  <a:cubicBezTo>
                    <a:pt x="8525" y="209305"/>
                    <a:pt x="11044" y="209305"/>
                    <a:pt x="12304" y="2093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1" name="任意多边形: 形状 10060"/>
            <p:cNvSpPr/>
            <p:nvPr/>
          </p:nvSpPr>
          <p:spPr>
            <a:xfrm>
              <a:off x="5670214" y="3433073"/>
              <a:ext cx="62991" cy="125982"/>
            </a:xfrm>
            <a:custGeom>
              <a:avLst/>
              <a:gdLst>
                <a:gd name="connsiteX0" fmla="*/ 12304 w 62991"/>
                <a:gd name="connsiteY0" fmla="*/ 126948 h 125982"/>
                <a:gd name="connsiteX1" fmla="*/ 21123 w 62991"/>
                <a:gd name="connsiteY1" fmla="*/ 120649 h 125982"/>
                <a:gd name="connsiteX2" fmla="*/ 65217 w 62991"/>
                <a:gd name="connsiteY2" fmla="*/ 14824 h 125982"/>
                <a:gd name="connsiteX3" fmla="*/ 58918 w 62991"/>
                <a:gd name="connsiteY3" fmla="*/ 966 h 125982"/>
                <a:gd name="connsiteX4" fmla="*/ 45059 w 62991"/>
                <a:gd name="connsiteY4" fmla="*/ 7265 h 125982"/>
                <a:gd name="connsiteX5" fmla="*/ 966 w 62991"/>
                <a:gd name="connsiteY5" fmla="*/ 113090 h 125982"/>
                <a:gd name="connsiteX6" fmla="*/ 7265 w 62991"/>
                <a:gd name="connsiteY6" fmla="*/ 126948 h 125982"/>
                <a:gd name="connsiteX7" fmla="*/ 12304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12304" y="126948"/>
                  </a:moveTo>
                  <a:cubicBezTo>
                    <a:pt x="16084" y="126948"/>
                    <a:pt x="18603" y="124428"/>
                    <a:pt x="21123" y="120649"/>
                  </a:cubicBezTo>
                  <a:lnTo>
                    <a:pt x="65217" y="14824"/>
                  </a:lnTo>
                  <a:cubicBezTo>
                    <a:pt x="67736" y="9784"/>
                    <a:pt x="65217" y="3485"/>
                    <a:pt x="58918" y="966"/>
                  </a:cubicBezTo>
                  <a:cubicBezTo>
                    <a:pt x="53878" y="-1554"/>
                    <a:pt x="47579" y="966"/>
                    <a:pt x="45059" y="7265"/>
                  </a:cubicBezTo>
                  <a:lnTo>
                    <a:pt x="966" y="113090"/>
                  </a:lnTo>
                  <a:cubicBezTo>
                    <a:pt x="-1554" y="118129"/>
                    <a:pt x="966" y="124428"/>
                    <a:pt x="7265" y="126948"/>
                  </a:cubicBezTo>
                  <a:cubicBezTo>
                    <a:pt x="8525" y="126948"/>
                    <a:pt x="11044" y="126948"/>
                    <a:pt x="12304" y="1269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2" name="任意多边形: 形状 10061"/>
            <p:cNvSpPr/>
            <p:nvPr/>
          </p:nvSpPr>
          <p:spPr>
            <a:xfrm>
              <a:off x="5524103" y="3339874"/>
              <a:ext cx="138581" cy="113384"/>
            </a:xfrm>
            <a:custGeom>
              <a:avLst/>
              <a:gdLst>
                <a:gd name="connsiteX0" fmla="*/ 130700 w 138580"/>
                <a:gd name="connsiteY0" fmla="*/ 120621 h 113384"/>
                <a:gd name="connsiteX1" fmla="*/ 136999 w 138580"/>
                <a:gd name="connsiteY1" fmla="*/ 116841 h 113384"/>
                <a:gd name="connsiteX2" fmla="*/ 135739 w 138580"/>
                <a:gd name="connsiteY2" fmla="*/ 101724 h 113384"/>
                <a:gd name="connsiteX3" fmla="*/ 17316 w 138580"/>
                <a:gd name="connsiteY3" fmla="*/ 2198 h 113384"/>
                <a:gd name="connsiteX4" fmla="*/ 2198 w 138580"/>
                <a:gd name="connsiteY4" fmla="*/ 4717 h 113384"/>
                <a:gd name="connsiteX5" fmla="*/ 4717 w 138580"/>
                <a:gd name="connsiteY5" fmla="*/ 19835 h 113384"/>
                <a:gd name="connsiteX6" fmla="*/ 121881 w 138580"/>
                <a:gd name="connsiteY6" fmla="*/ 118101 h 113384"/>
                <a:gd name="connsiteX7" fmla="*/ 130700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130700" y="120621"/>
                  </a:moveTo>
                  <a:cubicBezTo>
                    <a:pt x="133219" y="120621"/>
                    <a:pt x="135739" y="119361"/>
                    <a:pt x="136999" y="116841"/>
                  </a:cubicBezTo>
                  <a:cubicBezTo>
                    <a:pt x="140778" y="113062"/>
                    <a:pt x="140778" y="105503"/>
                    <a:pt x="135739" y="101724"/>
                  </a:cubicBezTo>
                  <a:cubicBezTo>
                    <a:pt x="97944" y="66448"/>
                    <a:pt x="57630" y="33693"/>
                    <a:pt x="17316" y="2198"/>
                  </a:cubicBezTo>
                  <a:cubicBezTo>
                    <a:pt x="12276" y="-1582"/>
                    <a:pt x="5977" y="-322"/>
                    <a:pt x="2198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45031" y="50071"/>
                    <a:pt x="84086" y="84086"/>
                    <a:pt x="121881" y="118101"/>
                  </a:cubicBezTo>
                  <a:cubicBezTo>
                    <a:pt x="124401" y="120621"/>
                    <a:pt x="128180" y="120621"/>
                    <a:pt x="130700" y="12062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3" name="任意多边形: 形状 10062"/>
            <p:cNvSpPr/>
            <p:nvPr/>
          </p:nvSpPr>
          <p:spPr>
            <a:xfrm>
              <a:off x="5548039" y="3298300"/>
              <a:ext cx="113384" cy="88188"/>
            </a:xfrm>
            <a:custGeom>
              <a:avLst/>
              <a:gdLst>
                <a:gd name="connsiteX0" fmla="*/ 105503 w 113384"/>
                <a:gd name="connsiteY0" fmla="*/ 92905 h 88187"/>
                <a:gd name="connsiteX1" fmla="*/ 111802 w 113384"/>
                <a:gd name="connsiteY1" fmla="*/ 89125 h 88187"/>
                <a:gd name="connsiteX2" fmla="*/ 110542 w 113384"/>
                <a:gd name="connsiteY2" fmla="*/ 74007 h 88187"/>
                <a:gd name="connsiteX3" fmla="*/ 17315 w 113384"/>
                <a:gd name="connsiteY3" fmla="*/ 2198 h 88187"/>
                <a:gd name="connsiteX4" fmla="*/ 2197 w 113384"/>
                <a:gd name="connsiteY4" fmla="*/ 4717 h 88187"/>
                <a:gd name="connsiteX5" fmla="*/ 4717 w 113384"/>
                <a:gd name="connsiteY5" fmla="*/ 19835 h 88187"/>
                <a:gd name="connsiteX6" fmla="*/ 95424 w 113384"/>
                <a:gd name="connsiteY6" fmla="*/ 90385 h 88187"/>
                <a:gd name="connsiteX7" fmla="*/ 10550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105503" y="92905"/>
                  </a:moveTo>
                  <a:cubicBezTo>
                    <a:pt x="108022" y="92905"/>
                    <a:pt x="110542" y="91645"/>
                    <a:pt x="111802" y="89125"/>
                  </a:cubicBezTo>
                  <a:cubicBezTo>
                    <a:pt x="115582" y="85346"/>
                    <a:pt x="115582" y="77787"/>
                    <a:pt x="110542" y="74007"/>
                  </a:cubicBezTo>
                  <a:cubicBezTo>
                    <a:pt x="81567" y="47551"/>
                    <a:pt x="50071" y="23615"/>
                    <a:pt x="17315" y="2198"/>
                  </a:cubicBezTo>
                  <a:cubicBezTo>
                    <a:pt x="12276" y="-1582"/>
                    <a:pt x="5977" y="-322"/>
                    <a:pt x="2197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36213" y="41252"/>
                    <a:pt x="66448" y="63929"/>
                    <a:pt x="95424" y="90385"/>
                  </a:cubicBezTo>
                  <a:cubicBezTo>
                    <a:pt x="99204" y="92905"/>
                    <a:pt x="101723" y="92905"/>
                    <a:pt x="105503" y="929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4" name="任意多边形: 形状 10063"/>
            <p:cNvSpPr/>
            <p:nvPr/>
          </p:nvSpPr>
          <p:spPr>
            <a:xfrm>
              <a:off x="5716890" y="3389945"/>
              <a:ext cx="415742" cy="1222029"/>
            </a:xfrm>
            <a:custGeom>
              <a:avLst/>
              <a:gdLst>
                <a:gd name="connsiteX0" fmla="*/ 81532 w 415741"/>
                <a:gd name="connsiteY0" fmla="*/ 835263 h 1222028"/>
                <a:gd name="connsiteX1" fmla="*/ 155861 w 415741"/>
                <a:gd name="connsiteY1" fmla="*/ 0 h 1222028"/>
                <a:gd name="connsiteX2" fmla="*/ 198695 w 415741"/>
                <a:gd name="connsiteY2" fmla="*/ 243146 h 1222028"/>
                <a:gd name="connsiteX3" fmla="*/ 409086 w 415741"/>
                <a:gd name="connsiteY3" fmla="*/ 571960 h 1222028"/>
                <a:gd name="connsiteX4" fmla="*/ 376331 w 415741"/>
                <a:gd name="connsiteY4" fmla="*/ 976363 h 1222028"/>
                <a:gd name="connsiteX5" fmla="*/ 210034 w 415741"/>
                <a:gd name="connsiteY5" fmla="*/ 1220769 h 1222028"/>
                <a:gd name="connsiteX6" fmla="*/ 48776 w 415741"/>
                <a:gd name="connsiteY6" fmla="*/ 1131322 h 1222028"/>
                <a:gd name="connsiteX7" fmla="*/ 81532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81532" y="835263"/>
                  </a:moveTo>
                  <a:cubicBezTo>
                    <a:pt x="-30592" y="549283"/>
                    <a:pt x="-45710" y="212910"/>
                    <a:pt x="155861" y="0"/>
                  </a:cubicBezTo>
                  <a:cubicBezTo>
                    <a:pt x="189877" y="83148"/>
                    <a:pt x="201215" y="182674"/>
                    <a:pt x="198695" y="243146"/>
                  </a:cubicBezTo>
                  <a:cubicBezTo>
                    <a:pt x="193656" y="389286"/>
                    <a:pt x="357433" y="396844"/>
                    <a:pt x="409086" y="571960"/>
                  </a:cubicBezTo>
                  <a:cubicBezTo>
                    <a:pt x="460739" y="747075"/>
                    <a:pt x="359953" y="791169"/>
                    <a:pt x="376331" y="976363"/>
                  </a:cubicBezTo>
                  <a:cubicBezTo>
                    <a:pt x="392708" y="1161557"/>
                    <a:pt x="304520" y="1206911"/>
                    <a:pt x="210034" y="1220769"/>
                  </a:cubicBezTo>
                  <a:cubicBezTo>
                    <a:pt x="133185" y="1232107"/>
                    <a:pt x="73973" y="1201871"/>
                    <a:pt x="48776" y="1131322"/>
                  </a:cubicBezTo>
                  <a:cubicBezTo>
                    <a:pt x="84051" y="1028016"/>
                    <a:pt x="120587" y="929750"/>
                    <a:pt x="81532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5" name="任意多边形: 形状 10064"/>
            <p:cNvSpPr/>
            <p:nvPr/>
          </p:nvSpPr>
          <p:spPr>
            <a:xfrm>
              <a:off x="5844018" y="2930229"/>
              <a:ext cx="806287" cy="1751154"/>
            </a:xfrm>
            <a:custGeom>
              <a:avLst/>
              <a:gdLst>
                <a:gd name="connsiteX0" fmla="*/ 274399 w 806286"/>
                <a:gd name="connsiteY0" fmla="*/ 1748516 h 1751154"/>
                <a:gd name="connsiteX1" fmla="*/ 61489 w 806286"/>
                <a:gd name="connsiteY1" fmla="*/ 1436079 h 1751154"/>
                <a:gd name="connsiteX2" fmla="*/ 18655 w 806286"/>
                <a:gd name="connsiteY2" fmla="*/ 918292 h 1751154"/>
                <a:gd name="connsiteX3" fmla="*/ 286997 w 806286"/>
                <a:gd name="connsiteY3" fmla="*/ 496251 h 1751154"/>
                <a:gd name="connsiteX4" fmla="*/ 372665 w 806286"/>
                <a:gd name="connsiteY4" fmla="*/ 123343 h 1751154"/>
                <a:gd name="connsiteX5" fmla="*/ 789667 w 806286"/>
                <a:gd name="connsiteY5" fmla="*/ 319876 h 1751154"/>
                <a:gd name="connsiteX6" fmla="*/ 646047 w 806286"/>
                <a:gd name="connsiteY6" fmla="*/ 694043 h 1751154"/>
                <a:gd name="connsiteX7" fmla="*/ 651086 w 806286"/>
                <a:gd name="connsiteY7" fmla="*/ 1084589 h 1751154"/>
                <a:gd name="connsiteX8" fmla="*/ 496128 w 806286"/>
                <a:gd name="connsiteY8" fmla="*/ 1485212 h 1751154"/>
                <a:gd name="connsiteX9" fmla="*/ 274399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274399" y="1748516"/>
                  </a:moveTo>
                  <a:cubicBezTo>
                    <a:pt x="153456" y="1730878"/>
                    <a:pt x="40072" y="1672926"/>
                    <a:pt x="61489" y="1436079"/>
                  </a:cubicBezTo>
                  <a:cubicBezTo>
                    <a:pt x="82906" y="1199233"/>
                    <a:pt x="-46856" y="1142541"/>
                    <a:pt x="18655" y="918292"/>
                  </a:cubicBezTo>
                  <a:cubicBezTo>
                    <a:pt x="84166" y="692783"/>
                    <a:pt x="293296" y="683965"/>
                    <a:pt x="286997" y="496251"/>
                  </a:cubicBezTo>
                  <a:cubicBezTo>
                    <a:pt x="284477" y="404284"/>
                    <a:pt x="303375" y="237987"/>
                    <a:pt x="372665" y="123343"/>
                  </a:cubicBezTo>
                  <a:cubicBezTo>
                    <a:pt x="488569" y="-69410"/>
                    <a:pt x="892972" y="-59331"/>
                    <a:pt x="789667" y="319876"/>
                  </a:cubicBezTo>
                  <a:cubicBezTo>
                    <a:pt x="754392" y="449638"/>
                    <a:pt x="651086" y="521448"/>
                    <a:pt x="646047" y="694043"/>
                  </a:cubicBezTo>
                  <a:cubicBezTo>
                    <a:pt x="642267" y="814986"/>
                    <a:pt x="706518" y="867899"/>
                    <a:pt x="651086" y="1084589"/>
                  </a:cubicBezTo>
                  <a:cubicBezTo>
                    <a:pt x="600693" y="1281121"/>
                    <a:pt x="479750" y="1291200"/>
                    <a:pt x="496128" y="1485212"/>
                  </a:cubicBezTo>
                  <a:cubicBezTo>
                    <a:pt x="512505" y="1677965"/>
                    <a:pt x="418019" y="1768672"/>
                    <a:pt x="274399" y="174851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6" name="任意多边形: 形状 10065"/>
            <p:cNvSpPr/>
            <p:nvPr/>
          </p:nvSpPr>
          <p:spPr>
            <a:xfrm>
              <a:off x="5843555" y="3955606"/>
              <a:ext cx="478733" cy="718099"/>
            </a:xfrm>
            <a:custGeom>
              <a:avLst/>
              <a:gdLst>
                <a:gd name="connsiteX0" fmla="*/ 221 w 478732"/>
                <a:gd name="connsiteY0" fmla="*/ 0 h 718099"/>
                <a:gd name="connsiteX1" fmla="*/ 489032 w 478732"/>
                <a:gd name="connsiteY1" fmla="*/ 580778 h 718099"/>
                <a:gd name="connsiteX2" fmla="*/ 273602 w 478732"/>
                <a:gd name="connsiteY2" fmla="*/ 723139 h 718099"/>
                <a:gd name="connsiteX3" fmla="*/ 60692 w 478732"/>
                <a:gd name="connsiteY3" fmla="*/ 410702 h 718099"/>
                <a:gd name="connsiteX4" fmla="*/ 22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221" y="0"/>
                  </a:moveTo>
                  <a:cubicBezTo>
                    <a:pt x="206832" y="122203"/>
                    <a:pt x="373128" y="321255"/>
                    <a:pt x="489032" y="580778"/>
                  </a:cubicBezTo>
                  <a:cubicBezTo>
                    <a:pt x="463835" y="690383"/>
                    <a:pt x="383207" y="739516"/>
                    <a:pt x="273602" y="723139"/>
                  </a:cubicBezTo>
                  <a:cubicBezTo>
                    <a:pt x="152659" y="705501"/>
                    <a:pt x="39275" y="647549"/>
                    <a:pt x="60692" y="410702"/>
                  </a:cubicBezTo>
                  <a:cubicBezTo>
                    <a:pt x="78329" y="216690"/>
                    <a:pt x="-4819" y="143620"/>
                    <a:pt x="22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7" name="任意多边形: 形状 10066"/>
            <p:cNvSpPr/>
            <p:nvPr/>
          </p:nvSpPr>
          <p:spPr>
            <a:xfrm>
              <a:off x="6081882" y="2946172"/>
              <a:ext cx="390545" cy="1675565"/>
            </a:xfrm>
            <a:custGeom>
              <a:avLst/>
              <a:gdLst>
                <a:gd name="connsiteX0" fmla="*/ 8819 w 390545"/>
                <a:gd name="connsiteY0" fmla="*/ 1685959 h 1675564"/>
                <a:gd name="connsiteX1" fmla="*/ 17637 w 390545"/>
                <a:gd name="connsiteY1" fmla="*/ 1680919 h 1675564"/>
                <a:gd name="connsiteX2" fmla="*/ 65511 w 390545"/>
                <a:gd name="connsiteY2" fmla="*/ 1461710 h 1675564"/>
                <a:gd name="connsiteX3" fmla="*/ 66770 w 390545"/>
                <a:gd name="connsiteY3" fmla="*/ 1354625 h 1675564"/>
                <a:gd name="connsiteX4" fmla="*/ 142360 w 390545"/>
                <a:gd name="connsiteY4" fmla="*/ 801563 h 1675564"/>
                <a:gd name="connsiteX5" fmla="*/ 240626 w 390545"/>
                <a:gd name="connsiteY5" fmla="*/ 618888 h 1675564"/>
                <a:gd name="connsiteX6" fmla="*/ 343932 w 390545"/>
                <a:gd name="connsiteY6" fmla="*/ 423616 h 1675564"/>
                <a:gd name="connsiteX7" fmla="*/ 376687 w 390545"/>
                <a:gd name="connsiteY7" fmla="*/ 7874 h 1675564"/>
                <a:gd name="connsiteX8" fmla="*/ 364089 w 390545"/>
                <a:gd name="connsiteY8" fmla="*/ 315 h 1675564"/>
                <a:gd name="connsiteX9" fmla="*/ 356530 w 390545"/>
                <a:gd name="connsiteY9" fmla="*/ 12913 h 1675564"/>
                <a:gd name="connsiteX10" fmla="*/ 325034 w 390545"/>
                <a:gd name="connsiteY10" fmla="*/ 416057 h 1675564"/>
                <a:gd name="connsiteX11" fmla="*/ 222989 w 390545"/>
                <a:gd name="connsiteY11" fmla="*/ 608810 h 1675564"/>
                <a:gd name="connsiteX12" fmla="*/ 123463 w 390545"/>
                <a:gd name="connsiteY12" fmla="*/ 794004 h 1675564"/>
                <a:gd name="connsiteX13" fmla="*/ 46613 w 390545"/>
                <a:gd name="connsiteY13" fmla="*/ 1354625 h 1675564"/>
                <a:gd name="connsiteX14" fmla="*/ 45354 w 390545"/>
                <a:gd name="connsiteY14" fmla="*/ 1460450 h 1675564"/>
                <a:gd name="connsiteX15" fmla="*/ 1260 w 390545"/>
                <a:gd name="connsiteY15" fmla="*/ 1668321 h 1675564"/>
                <a:gd name="connsiteX16" fmla="*/ 5039 w 390545"/>
                <a:gd name="connsiteY16" fmla="*/ 1683439 h 1675564"/>
                <a:gd name="connsiteX17" fmla="*/ 8819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8819" y="1685959"/>
                  </a:moveTo>
                  <a:cubicBezTo>
                    <a:pt x="12598" y="1685959"/>
                    <a:pt x="15118" y="1684699"/>
                    <a:pt x="17637" y="1680919"/>
                  </a:cubicBezTo>
                  <a:cubicBezTo>
                    <a:pt x="57952" y="1616668"/>
                    <a:pt x="62991" y="1537300"/>
                    <a:pt x="65511" y="1461710"/>
                  </a:cubicBezTo>
                  <a:cubicBezTo>
                    <a:pt x="66770" y="1426435"/>
                    <a:pt x="66770" y="1391160"/>
                    <a:pt x="66770" y="1354625"/>
                  </a:cubicBezTo>
                  <a:cubicBezTo>
                    <a:pt x="68030" y="1166911"/>
                    <a:pt x="70550" y="974158"/>
                    <a:pt x="142360" y="801563"/>
                  </a:cubicBezTo>
                  <a:cubicBezTo>
                    <a:pt x="168816" y="738571"/>
                    <a:pt x="205351" y="676840"/>
                    <a:pt x="240626" y="618888"/>
                  </a:cubicBezTo>
                  <a:cubicBezTo>
                    <a:pt x="278421" y="557157"/>
                    <a:pt x="316216" y="491646"/>
                    <a:pt x="343932" y="423616"/>
                  </a:cubicBezTo>
                  <a:cubicBezTo>
                    <a:pt x="396844" y="292594"/>
                    <a:pt x="408183" y="145195"/>
                    <a:pt x="376687" y="7874"/>
                  </a:cubicBezTo>
                  <a:cubicBezTo>
                    <a:pt x="375427" y="1575"/>
                    <a:pt x="369128" y="-945"/>
                    <a:pt x="364089" y="315"/>
                  </a:cubicBezTo>
                  <a:cubicBezTo>
                    <a:pt x="357790" y="1575"/>
                    <a:pt x="355270" y="7874"/>
                    <a:pt x="356530" y="12913"/>
                  </a:cubicBezTo>
                  <a:cubicBezTo>
                    <a:pt x="386766" y="146454"/>
                    <a:pt x="375427" y="290074"/>
                    <a:pt x="325034" y="416057"/>
                  </a:cubicBezTo>
                  <a:cubicBezTo>
                    <a:pt x="298578" y="482827"/>
                    <a:pt x="259524" y="547078"/>
                    <a:pt x="222989" y="608810"/>
                  </a:cubicBezTo>
                  <a:cubicBezTo>
                    <a:pt x="187714" y="668021"/>
                    <a:pt x="151179" y="729753"/>
                    <a:pt x="123463" y="794004"/>
                  </a:cubicBezTo>
                  <a:cubicBezTo>
                    <a:pt x="50393" y="970379"/>
                    <a:pt x="47873" y="1165652"/>
                    <a:pt x="46613" y="1354625"/>
                  </a:cubicBezTo>
                  <a:cubicBezTo>
                    <a:pt x="46613" y="1389900"/>
                    <a:pt x="45354" y="1425175"/>
                    <a:pt x="45354" y="1460450"/>
                  </a:cubicBezTo>
                  <a:cubicBezTo>
                    <a:pt x="44094" y="1532260"/>
                    <a:pt x="39055" y="1607849"/>
                    <a:pt x="1260" y="1668321"/>
                  </a:cubicBezTo>
                  <a:cubicBezTo>
                    <a:pt x="-1260" y="1673360"/>
                    <a:pt x="0" y="1679659"/>
                    <a:pt x="5039" y="1683439"/>
                  </a:cubicBezTo>
                  <a:cubicBezTo>
                    <a:pt x="5039" y="1685959"/>
                    <a:pt x="7559" y="1685959"/>
                    <a:pt x="8819" y="16859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8" name="任意多边形: 形状 10067"/>
            <p:cNvSpPr/>
            <p:nvPr/>
          </p:nvSpPr>
          <p:spPr>
            <a:xfrm>
              <a:off x="5896514" y="3810552"/>
              <a:ext cx="251965" cy="327554"/>
            </a:xfrm>
            <a:custGeom>
              <a:avLst/>
              <a:gdLst>
                <a:gd name="connsiteX0" fmla="*/ 243321 w 251964"/>
                <a:gd name="connsiteY0" fmla="*/ 332768 h 327554"/>
                <a:gd name="connsiteX1" fmla="*/ 249620 w 251964"/>
                <a:gd name="connsiteY1" fmla="*/ 330248 h 327554"/>
                <a:gd name="connsiteX2" fmla="*/ 252139 w 251964"/>
                <a:gd name="connsiteY2" fmla="*/ 315130 h 327554"/>
                <a:gd name="connsiteX3" fmla="*/ 19072 w 251964"/>
                <a:gd name="connsiteY3" fmla="*/ 3954 h 327554"/>
                <a:gd name="connsiteX4" fmla="*/ 3954 w 251964"/>
                <a:gd name="connsiteY4" fmla="*/ 2694 h 327554"/>
                <a:gd name="connsiteX5" fmla="*/ 2694 w 251964"/>
                <a:gd name="connsiteY5" fmla="*/ 17812 h 327554"/>
                <a:gd name="connsiteX6" fmla="*/ 234502 w 251964"/>
                <a:gd name="connsiteY6" fmla="*/ 327728 h 327554"/>
                <a:gd name="connsiteX7" fmla="*/ 243321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243321" y="332768"/>
                  </a:moveTo>
                  <a:cubicBezTo>
                    <a:pt x="245840" y="332768"/>
                    <a:pt x="247100" y="331508"/>
                    <a:pt x="249620" y="330248"/>
                  </a:cubicBezTo>
                  <a:cubicBezTo>
                    <a:pt x="254659" y="326469"/>
                    <a:pt x="255919" y="320170"/>
                    <a:pt x="252139" y="315130"/>
                  </a:cubicBezTo>
                  <a:cubicBezTo>
                    <a:pt x="177810" y="209305"/>
                    <a:pt x="99700" y="104740"/>
                    <a:pt x="19072" y="3954"/>
                  </a:cubicBezTo>
                  <a:cubicBezTo>
                    <a:pt x="15292" y="-1085"/>
                    <a:pt x="8993" y="-1085"/>
                    <a:pt x="3954" y="2694"/>
                  </a:cubicBezTo>
                  <a:cubicBezTo>
                    <a:pt x="-1085" y="6474"/>
                    <a:pt x="-1085" y="12773"/>
                    <a:pt x="2694" y="17812"/>
                  </a:cubicBezTo>
                  <a:cubicBezTo>
                    <a:pt x="83323" y="118598"/>
                    <a:pt x="160172" y="223163"/>
                    <a:pt x="234502" y="327728"/>
                  </a:cubicBezTo>
                  <a:cubicBezTo>
                    <a:pt x="237021" y="330248"/>
                    <a:pt x="239541" y="332768"/>
                    <a:pt x="243321" y="33276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9" name="任意多边形: 形状 10068"/>
            <p:cNvSpPr/>
            <p:nvPr/>
          </p:nvSpPr>
          <p:spPr>
            <a:xfrm>
              <a:off x="5921570" y="3956551"/>
              <a:ext cx="226768" cy="264563"/>
            </a:xfrm>
            <a:custGeom>
              <a:avLst/>
              <a:gdLst>
                <a:gd name="connsiteX0" fmla="*/ 217005 w 226768"/>
                <a:gd name="connsiteY0" fmla="*/ 269917 h 264562"/>
                <a:gd name="connsiteX1" fmla="*/ 223304 w 226768"/>
                <a:gd name="connsiteY1" fmla="*/ 267398 h 264562"/>
                <a:gd name="connsiteX2" fmla="*/ 225823 w 226768"/>
                <a:gd name="connsiteY2" fmla="*/ 252279 h 264562"/>
                <a:gd name="connsiteX3" fmla="*/ 17952 w 226768"/>
                <a:gd name="connsiteY3" fmla="*/ 2835 h 264562"/>
                <a:gd name="connsiteX4" fmla="*/ 2835 w 226768"/>
                <a:gd name="connsiteY4" fmla="*/ 2835 h 264562"/>
                <a:gd name="connsiteX5" fmla="*/ 2835 w 226768"/>
                <a:gd name="connsiteY5" fmla="*/ 17952 h 264562"/>
                <a:gd name="connsiteX6" fmla="*/ 209446 w 226768"/>
                <a:gd name="connsiteY6" fmla="*/ 264878 h 264562"/>
                <a:gd name="connsiteX7" fmla="*/ 217005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217005" y="269917"/>
                  </a:moveTo>
                  <a:cubicBezTo>
                    <a:pt x="219524" y="269917"/>
                    <a:pt x="220784" y="268657"/>
                    <a:pt x="223304" y="267398"/>
                  </a:cubicBezTo>
                  <a:cubicBezTo>
                    <a:pt x="228343" y="263618"/>
                    <a:pt x="229603" y="257319"/>
                    <a:pt x="225823" y="252279"/>
                  </a:cubicBezTo>
                  <a:cubicBezTo>
                    <a:pt x="161573" y="165352"/>
                    <a:pt x="92282" y="80943"/>
                    <a:pt x="17952" y="2835"/>
                  </a:cubicBezTo>
                  <a:cubicBezTo>
                    <a:pt x="14173" y="-945"/>
                    <a:pt x="6614" y="-945"/>
                    <a:pt x="2835" y="2835"/>
                  </a:cubicBezTo>
                  <a:cubicBezTo>
                    <a:pt x="-945" y="6614"/>
                    <a:pt x="-945" y="14173"/>
                    <a:pt x="2835" y="17952"/>
                  </a:cubicBezTo>
                  <a:cubicBezTo>
                    <a:pt x="77164" y="94802"/>
                    <a:pt x="146455" y="177950"/>
                    <a:pt x="209446" y="264878"/>
                  </a:cubicBezTo>
                  <a:cubicBezTo>
                    <a:pt x="210706" y="268657"/>
                    <a:pt x="214485" y="269917"/>
                    <a:pt x="217005" y="26991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/>
            <p:cNvSpPr/>
            <p:nvPr/>
          </p:nvSpPr>
          <p:spPr>
            <a:xfrm>
              <a:off x="5991001" y="4197317"/>
              <a:ext cx="151179" cy="163777"/>
            </a:xfrm>
            <a:custGeom>
              <a:avLst/>
              <a:gdLst>
                <a:gd name="connsiteX0" fmla="*/ 145054 w 151178"/>
                <a:gd name="connsiteY0" fmla="*/ 168991 h 163777"/>
                <a:gd name="connsiteX1" fmla="*/ 151353 w 151178"/>
                <a:gd name="connsiteY1" fmla="*/ 166471 h 163777"/>
                <a:gd name="connsiteX2" fmla="*/ 153873 w 151178"/>
                <a:gd name="connsiteY2" fmla="*/ 151353 h 163777"/>
                <a:gd name="connsiteX3" fmla="*/ 17812 w 151178"/>
                <a:gd name="connsiteY3" fmla="*/ 2694 h 163777"/>
                <a:gd name="connsiteX4" fmla="*/ 2694 w 151178"/>
                <a:gd name="connsiteY4" fmla="*/ 3954 h 163777"/>
                <a:gd name="connsiteX5" fmla="*/ 3954 w 151178"/>
                <a:gd name="connsiteY5" fmla="*/ 19072 h 163777"/>
                <a:gd name="connsiteX6" fmla="*/ 136236 w 151178"/>
                <a:gd name="connsiteY6" fmla="*/ 163951 h 163777"/>
                <a:gd name="connsiteX7" fmla="*/ 145054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45054" y="168991"/>
                  </a:moveTo>
                  <a:cubicBezTo>
                    <a:pt x="147574" y="168991"/>
                    <a:pt x="148834" y="167731"/>
                    <a:pt x="151353" y="166471"/>
                  </a:cubicBezTo>
                  <a:cubicBezTo>
                    <a:pt x="156392" y="162692"/>
                    <a:pt x="157652" y="156392"/>
                    <a:pt x="153873" y="151353"/>
                  </a:cubicBezTo>
                  <a:cubicBezTo>
                    <a:pt x="114818" y="95921"/>
                    <a:pt x="69465" y="45528"/>
                    <a:pt x="17812" y="2694"/>
                  </a:cubicBezTo>
                  <a:cubicBezTo>
                    <a:pt x="12773" y="-1085"/>
                    <a:pt x="6474" y="-1085"/>
                    <a:pt x="2694" y="3954"/>
                  </a:cubicBezTo>
                  <a:cubicBezTo>
                    <a:pt x="-1085" y="8993"/>
                    <a:pt x="-1085" y="15292"/>
                    <a:pt x="3954" y="19072"/>
                  </a:cubicBezTo>
                  <a:cubicBezTo>
                    <a:pt x="54347" y="61906"/>
                    <a:pt x="98441" y="109779"/>
                    <a:pt x="136236" y="163951"/>
                  </a:cubicBezTo>
                  <a:cubicBezTo>
                    <a:pt x="138755" y="167731"/>
                    <a:pt x="142535" y="168991"/>
                    <a:pt x="145054" y="16899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/>
            <p:cNvSpPr/>
            <p:nvPr/>
          </p:nvSpPr>
          <p:spPr>
            <a:xfrm>
              <a:off x="6139274" y="3832601"/>
              <a:ext cx="327554" cy="151179"/>
            </a:xfrm>
            <a:custGeom>
              <a:avLst/>
              <a:gdLst>
                <a:gd name="connsiteX0" fmla="*/ 11898 w 327554"/>
                <a:gd name="connsiteY0" fmla="*/ 162059 h 151178"/>
                <a:gd name="connsiteX1" fmla="*/ 16938 w 327554"/>
                <a:gd name="connsiteY1" fmla="*/ 160799 h 151178"/>
                <a:gd name="connsiteX2" fmla="*/ 326854 w 327554"/>
                <a:gd name="connsiteY2" fmla="*/ 20959 h 151178"/>
                <a:gd name="connsiteX3" fmla="*/ 333153 w 327554"/>
                <a:gd name="connsiteY3" fmla="*/ 7101 h 151178"/>
                <a:gd name="connsiteX4" fmla="*/ 319295 w 327554"/>
                <a:gd name="connsiteY4" fmla="*/ 802 h 151178"/>
                <a:gd name="connsiteX5" fmla="*/ 5599 w 327554"/>
                <a:gd name="connsiteY5" fmla="*/ 141902 h 151178"/>
                <a:gd name="connsiteX6" fmla="*/ 1820 w 327554"/>
                <a:gd name="connsiteY6" fmla="*/ 155760 h 151178"/>
                <a:gd name="connsiteX7" fmla="*/ 11898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11898" y="162059"/>
                  </a:moveTo>
                  <a:cubicBezTo>
                    <a:pt x="13158" y="162059"/>
                    <a:pt x="15678" y="162059"/>
                    <a:pt x="16938" y="160799"/>
                  </a:cubicBezTo>
                  <a:cubicBezTo>
                    <a:pt x="116464" y="106627"/>
                    <a:pt x="221029" y="60014"/>
                    <a:pt x="326854" y="20959"/>
                  </a:cubicBezTo>
                  <a:cubicBezTo>
                    <a:pt x="331893" y="18440"/>
                    <a:pt x="335673" y="13400"/>
                    <a:pt x="333153" y="7101"/>
                  </a:cubicBezTo>
                  <a:cubicBezTo>
                    <a:pt x="330634" y="2062"/>
                    <a:pt x="325594" y="-1718"/>
                    <a:pt x="319295" y="802"/>
                  </a:cubicBezTo>
                  <a:cubicBezTo>
                    <a:pt x="212210" y="39856"/>
                    <a:pt x="106385" y="87730"/>
                    <a:pt x="5599" y="141902"/>
                  </a:cubicBezTo>
                  <a:cubicBezTo>
                    <a:pt x="560" y="144422"/>
                    <a:pt x="-1960" y="150721"/>
                    <a:pt x="1820" y="155760"/>
                  </a:cubicBezTo>
                  <a:cubicBezTo>
                    <a:pt x="4339" y="160799"/>
                    <a:pt x="8119" y="162059"/>
                    <a:pt x="11898" y="1620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/>
            <p:cNvSpPr/>
            <p:nvPr/>
          </p:nvSpPr>
          <p:spPr>
            <a:xfrm>
              <a:off x="6145331" y="3924568"/>
              <a:ext cx="340152" cy="113384"/>
            </a:xfrm>
            <a:custGeom>
              <a:avLst/>
              <a:gdLst>
                <a:gd name="connsiteX0" fmla="*/ 12140 w 340152"/>
                <a:gd name="connsiteY0" fmla="*/ 125524 h 113384"/>
                <a:gd name="connsiteX1" fmla="*/ 14660 w 340152"/>
                <a:gd name="connsiteY1" fmla="*/ 125524 h 113384"/>
                <a:gd name="connsiteX2" fmla="*/ 339694 w 340152"/>
                <a:gd name="connsiteY2" fmla="*/ 20959 h 113384"/>
                <a:gd name="connsiteX3" fmla="*/ 345994 w 340152"/>
                <a:gd name="connsiteY3" fmla="*/ 7101 h 113384"/>
                <a:gd name="connsiteX4" fmla="*/ 332135 w 340152"/>
                <a:gd name="connsiteY4" fmla="*/ 802 h 113384"/>
                <a:gd name="connsiteX5" fmla="*/ 7101 w 340152"/>
                <a:gd name="connsiteY5" fmla="*/ 105368 h 113384"/>
                <a:gd name="connsiteX6" fmla="*/ 802 w 340152"/>
                <a:gd name="connsiteY6" fmla="*/ 119225 h 113384"/>
                <a:gd name="connsiteX7" fmla="*/ 12140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12140" y="125524"/>
                  </a:moveTo>
                  <a:cubicBezTo>
                    <a:pt x="13400" y="125524"/>
                    <a:pt x="14660" y="125524"/>
                    <a:pt x="14660" y="125524"/>
                  </a:cubicBezTo>
                  <a:lnTo>
                    <a:pt x="339694" y="20959"/>
                  </a:lnTo>
                  <a:cubicBezTo>
                    <a:pt x="344734" y="19699"/>
                    <a:pt x="348513" y="13400"/>
                    <a:pt x="345994" y="7101"/>
                  </a:cubicBezTo>
                  <a:cubicBezTo>
                    <a:pt x="344734" y="2062"/>
                    <a:pt x="338435" y="-1718"/>
                    <a:pt x="332135" y="802"/>
                  </a:cubicBezTo>
                  <a:lnTo>
                    <a:pt x="7101" y="105368"/>
                  </a:lnTo>
                  <a:cubicBezTo>
                    <a:pt x="2062" y="106627"/>
                    <a:pt x="-1718" y="112926"/>
                    <a:pt x="802" y="119225"/>
                  </a:cubicBezTo>
                  <a:cubicBezTo>
                    <a:pt x="3322" y="123005"/>
                    <a:pt x="8361" y="125524"/>
                    <a:pt x="12140" y="12552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/>
            <p:cNvSpPr/>
            <p:nvPr/>
          </p:nvSpPr>
          <p:spPr>
            <a:xfrm>
              <a:off x="6154014" y="3560343"/>
              <a:ext cx="100786" cy="125982"/>
            </a:xfrm>
            <a:custGeom>
              <a:avLst/>
              <a:gdLst>
                <a:gd name="connsiteX0" fmla="*/ 90385 w 100785"/>
                <a:gd name="connsiteY0" fmla="*/ 128180 h 125982"/>
                <a:gd name="connsiteX1" fmla="*/ 96684 w 100785"/>
                <a:gd name="connsiteY1" fmla="*/ 125660 h 125982"/>
                <a:gd name="connsiteX2" fmla="*/ 99204 w 100785"/>
                <a:gd name="connsiteY2" fmla="*/ 110542 h 125982"/>
                <a:gd name="connsiteX3" fmla="*/ 19835 w 100785"/>
                <a:gd name="connsiteY3" fmla="*/ 4717 h 125982"/>
                <a:gd name="connsiteX4" fmla="*/ 4717 w 100785"/>
                <a:gd name="connsiteY4" fmla="*/ 2198 h 125982"/>
                <a:gd name="connsiteX5" fmla="*/ 2198 w 100785"/>
                <a:gd name="connsiteY5" fmla="*/ 17315 h 125982"/>
                <a:gd name="connsiteX6" fmla="*/ 81566 w 100785"/>
                <a:gd name="connsiteY6" fmla="*/ 123141 h 125982"/>
                <a:gd name="connsiteX7" fmla="*/ 90385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90385" y="128180"/>
                  </a:moveTo>
                  <a:cubicBezTo>
                    <a:pt x="92905" y="128180"/>
                    <a:pt x="94164" y="126920"/>
                    <a:pt x="96684" y="125660"/>
                  </a:cubicBezTo>
                  <a:cubicBezTo>
                    <a:pt x="101723" y="121881"/>
                    <a:pt x="102983" y="115582"/>
                    <a:pt x="99204" y="110542"/>
                  </a:cubicBezTo>
                  <a:lnTo>
                    <a:pt x="19835" y="4717"/>
                  </a:lnTo>
                  <a:cubicBezTo>
                    <a:pt x="16056" y="-322"/>
                    <a:pt x="9757" y="-1582"/>
                    <a:pt x="4717" y="2198"/>
                  </a:cubicBezTo>
                  <a:cubicBezTo>
                    <a:pt x="-322" y="5977"/>
                    <a:pt x="-1582" y="12276"/>
                    <a:pt x="2198" y="17315"/>
                  </a:cubicBezTo>
                  <a:lnTo>
                    <a:pt x="81566" y="123141"/>
                  </a:lnTo>
                  <a:cubicBezTo>
                    <a:pt x="84086" y="126920"/>
                    <a:pt x="87865" y="128180"/>
                    <a:pt x="90385" y="12818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/>
            <p:cNvSpPr/>
            <p:nvPr/>
          </p:nvSpPr>
          <p:spPr>
            <a:xfrm>
              <a:off x="6166291" y="3447897"/>
              <a:ext cx="113384" cy="176375"/>
            </a:xfrm>
            <a:custGeom>
              <a:avLst/>
              <a:gdLst>
                <a:gd name="connsiteX0" fmla="*/ 105825 w 113384"/>
                <a:gd name="connsiteY0" fmla="*/ 180155 h 176375"/>
                <a:gd name="connsiteX1" fmla="*/ 110865 w 113384"/>
                <a:gd name="connsiteY1" fmla="*/ 178895 h 176375"/>
                <a:gd name="connsiteX2" fmla="*/ 114644 w 113384"/>
                <a:gd name="connsiteY2" fmla="*/ 165037 h 176375"/>
                <a:gd name="connsiteX3" fmla="*/ 20157 w 113384"/>
                <a:gd name="connsiteY3" fmla="*/ 5039 h 176375"/>
                <a:gd name="connsiteX4" fmla="*/ 5039 w 113384"/>
                <a:gd name="connsiteY4" fmla="*/ 1260 h 176375"/>
                <a:gd name="connsiteX5" fmla="*/ 1260 w 113384"/>
                <a:gd name="connsiteY5" fmla="*/ 16378 h 176375"/>
                <a:gd name="connsiteX6" fmla="*/ 94487 w 113384"/>
                <a:gd name="connsiteY6" fmla="*/ 175115 h 176375"/>
                <a:gd name="connsiteX7" fmla="*/ 105825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5825" y="180155"/>
                  </a:moveTo>
                  <a:cubicBezTo>
                    <a:pt x="107085" y="180155"/>
                    <a:pt x="109605" y="180155"/>
                    <a:pt x="110865" y="178895"/>
                  </a:cubicBezTo>
                  <a:cubicBezTo>
                    <a:pt x="115904" y="176375"/>
                    <a:pt x="118424" y="170076"/>
                    <a:pt x="114644" y="165037"/>
                  </a:cubicBezTo>
                  <a:cubicBezTo>
                    <a:pt x="85668" y="110865"/>
                    <a:pt x="54172" y="56692"/>
                    <a:pt x="20157" y="5039"/>
                  </a:cubicBezTo>
                  <a:cubicBezTo>
                    <a:pt x="16378" y="0"/>
                    <a:pt x="10079" y="-1260"/>
                    <a:pt x="5039" y="1260"/>
                  </a:cubicBezTo>
                  <a:cubicBezTo>
                    <a:pt x="0" y="5039"/>
                    <a:pt x="-1260" y="11338"/>
                    <a:pt x="1260" y="16378"/>
                  </a:cubicBezTo>
                  <a:cubicBezTo>
                    <a:pt x="34015" y="68030"/>
                    <a:pt x="65511" y="120943"/>
                    <a:pt x="94487" y="175115"/>
                  </a:cubicBezTo>
                  <a:cubicBezTo>
                    <a:pt x="98266" y="178895"/>
                    <a:pt x="102046" y="180155"/>
                    <a:pt x="105825" y="18015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/>
            <p:cNvSpPr/>
            <p:nvPr/>
          </p:nvSpPr>
          <p:spPr>
            <a:xfrm>
              <a:off x="6299517" y="3510086"/>
              <a:ext cx="188973" cy="62991"/>
            </a:xfrm>
            <a:custGeom>
              <a:avLst/>
              <a:gdLst>
                <a:gd name="connsiteX0" fmla="*/ 11653 w 188973"/>
                <a:gd name="connsiteY0" fmla="*/ 73872 h 62991"/>
                <a:gd name="connsiteX1" fmla="*/ 14173 w 188973"/>
                <a:gd name="connsiteY1" fmla="*/ 73872 h 62991"/>
                <a:gd name="connsiteX2" fmla="*/ 189288 w 188973"/>
                <a:gd name="connsiteY2" fmla="*/ 20959 h 62991"/>
                <a:gd name="connsiteX3" fmla="*/ 195588 w 188973"/>
                <a:gd name="connsiteY3" fmla="*/ 7101 h 62991"/>
                <a:gd name="connsiteX4" fmla="*/ 181729 w 188973"/>
                <a:gd name="connsiteY4" fmla="*/ 802 h 62991"/>
                <a:gd name="connsiteX5" fmla="*/ 7874 w 188973"/>
                <a:gd name="connsiteY5" fmla="*/ 53715 h 62991"/>
                <a:gd name="connsiteX6" fmla="*/ 315 w 188973"/>
                <a:gd name="connsiteY6" fmla="*/ 66313 h 62991"/>
                <a:gd name="connsiteX7" fmla="*/ 11653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1653" y="73872"/>
                  </a:moveTo>
                  <a:cubicBezTo>
                    <a:pt x="12913" y="73872"/>
                    <a:pt x="12913" y="73872"/>
                    <a:pt x="14173" y="73872"/>
                  </a:cubicBezTo>
                  <a:cubicBezTo>
                    <a:pt x="73385" y="60014"/>
                    <a:pt x="132596" y="41116"/>
                    <a:pt x="189288" y="20959"/>
                  </a:cubicBezTo>
                  <a:cubicBezTo>
                    <a:pt x="194328" y="18439"/>
                    <a:pt x="198107" y="12140"/>
                    <a:pt x="195588" y="7101"/>
                  </a:cubicBezTo>
                  <a:cubicBezTo>
                    <a:pt x="193068" y="2062"/>
                    <a:pt x="186769" y="-1718"/>
                    <a:pt x="181729" y="802"/>
                  </a:cubicBezTo>
                  <a:cubicBezTo>
                    <a:pt x="125037" y="22219"/>
                    <a:pt x="67086" y="39857"/>
                    <a:pt x="7874" y="53715"/>
                  </a:cubicBezTo>
                  <a:cubicBezTo>
                    <a:pt x="1575" y="54974"/>
                    <a:pt x="-945" y="61274"/>
                    <a:pt x="315" y="66313"/>
                  </a:cubicBezTo>
                  <a:cubicBezTo>
                    <a:pt x="2835" y="71352"/>
                    <a:pt x="6614" y="75131"/>
                    <a:pt x="11653" y="7387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/>
            <p:cNvSpPr/>
            <p:nvPr/>
          </p:nvSpPr>
          <p:spPr>
            <a:xfrm>
              <a:off x="6132547" y="4353710"/>
              <a:ext cx="176375" cy="100786"/>
            </a:xfrm>
            <a:custGeom>
              <a:avLst/>
              <a:gdLst>
                <a:gd name="connsiteX0" fmla="*/ 11067 w 176375"/>
                <a:gd name="connsiteY0" fmla="*/ 109605 h 100785"/>
                <a:gd name="connsiteX1" fmla="*/ 14846 w 176375"/>
                <a:gd name="connsiteY1" fmla="*/ 108345 h 100785"/>
                <a:gd name="connsiteX2" fmla="*/ 176104 w 176375"/>
                <a:gd name="connsiteY2" fmla="*/ 20157 h 100785"/>
                <a:gd name="connsiteX3" fmla="*/ 179883 w 176375"/>
                <a:gd name="connsiteY3" fmla="*/ 5039 h 100785"/>
                <a:gd name="connsiteX4" fmla="*/ 164766 w 176375"/>
                <a:gd name="connsiteY4" fmla="*/ 1260 h 100785"/>
                <a:gd name="connsiteX5" fmla="*/ 6028 w 176375"/>
                <a:gd name="connsiteY5" fmla="*/ 88188 h 100785"/>
                <a:gd name="connsiteX6" fmla="*/ 989 w 176375"/>
                <a:gd name="connsiteY6" fmla="*/ 102046 h 100785"/>
                <a:gd name="connsiteX7" fmla="*/ 11067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1067" y="109605"/>
                  </a:moveTo>
                  <a:cubicBezTo>
                    <a:pt x="12327" y="109605"/>
                    <a:pt x="13587" y="109605"/>
                    <a:pt x="14846" y="108345"/>
                  </a:cubicBezTo>
                  <a:cubicBezTo>
                    <a:pt x="70279" y="83148"/>
                    <a:pt x="124451" y="52913"/>
                    <a:pt x="176104" y="20157"/>
                  </a:cubicBezTo>
                  <a:cubicBezTo>
                    <a:pt x="181143" y="16378"/>
                    <a:pt x="182403" y="10079"/>
                    <a:pt x="179883" y="5039"/>
                  </a:cubicBezTo>
                  <a:cubicBezTo>
                    <a:pt x="176104" y="0"/>
                    <a:pt x="169805" y="-1260"/>
                    <a:pt x="164766" y="1260"/>
                  </a:cubicBezTo>
                  <a:cubicBezTo>
                    <a:pt x="114373" y="34015"/>
                    <a:pt x="60200" y="62991"/>
                    <a:pt x="6028" y="88188"/>
                  </a:cubicBezTo>
                  <a:cubicBezTo>
                    <a:pt x="989" y="90707"/>
                    <a:pt x="-1531" y="97007"/>
                    <a:pt x="989" y="102046"/>
                  </a:cubicBezTo>
                  <a:cubicBezTo>
                    <a:pt x="3508" y="107085"/>
                    <a:pt x="7288" y="109605"/>
                    <a:pt x="11067" y="1096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/>
            <p:cNvSpPr/>
            <p:nvPr/>
          </p:nvSpPr>
          <p:spPr>
            <a:xfrm>
              <a:off x="6228260" y="3148297"/>
              <a:ext cx="163777" cy="251965"/>
            </a:xfrm>
            <a:custGeom>
              <a:avLst/>
              <a:gdLst>
                <a:gd name="connsiteX0" fmla="*/ 162280 w 163777"/>
                <a:gd name="connsiteY0" fmla="*/ 263066 h 251964"/>
                <a:gd name="connsiteX1" fmla="*/ 166059 w 163777"/>
                <a:gd name="connsiteY1" fmla="*/ 261806 h 251964"/>
                <a:gd name="connsiteX2" fmla="*/ 172358 w 163777"/>
                <a:gd name="connsiteY2" fmla="*/ 247947 h 251964"/>
                <a:gd name="connsiteX3" fmla="*/ 18660 w 163777"/>
                <a:gd name="connsiteY3" fmla="*/ 3542 h 251964"/>
                <a:gd name="connsiteX4" fmla="*/ 3542 w 163777"/>
                <a:gd name="connsiteY4" fmla="*/ 2282 h 251964"/>
                <a:gd name="connsiteX5" fmla="*/ 2282 w 163777"/>
                <a:gd name="connsiteY5" fmla="*/ 17400 h 251964"/>
                <a:gd name="connsiteX6" fmla="*/ 152201 w 163777"/>
                <a:gd name="connsiteY6" fmla="*/ 255507 h 251964"/>
                <a:gd name="connsiteX7" fmla="*/ 16228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62280" y="263066"/>
                  </a:moveTo>
                  <a:cubicBezTo>
                    <a:pt x="163540" y="263066"/>
                    <a:pt x="164799" y="263066"/>
                    <a:pt x="166059" y="261806"/>
                  </a:cubicBezTo>
                  <a:cubicBezTo>
                    <a:pt x="171098" y="259286"/>
                    <a:pt x="173618" y="252987"/>
                    <a:pt x="172358" y="247947"/>
                  </a:cubicBezTo>
                  <a:cubicBezTo>
                    <a:pt x="135823" y="157240"/>
                    <a:pt x="84170" y="75352"/>
                    <a:pt x="18660" y="3542"/>
                  </a:cubicBezTo>
                  <a:cubicBezTo>
                    <a:pt x="14880" y="-238"/>
                    <a:pt x="8581" y="-1497"/>
                    <a:pt x="3542" y="2282"/>
                  </a:cubicBezTo>
                  <a:cubicBezTo>
                    <a:pt x="-238" y="6061"/>
                    <a:pt x="-1497" y="12361"/>
                    <a:pt x="2282" y="17400"/>
                  </a:cubicBezTo>
                  <a:cubicBezTo>
                    <a:pt x="66533" y="87950"/>
                    <a:pt x="116926" y="167319"/>
                    <a:pt x="152201" y="255507"/>
                  </a:cubicBezTo>
                  <a:cubicBezTo>
                    <a:pt x="153461" y="260546"/>
                    <a:pt x="158500" y="263066"/>
                    <a:pt x="162280" y="26306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/>
            <p:cNvSpPr/>
            <p:nvPr/>
          </p:nvSpPr>
          <p:spPr>
            <a:xfrm>
              <a:off x="6366281" y="3171675"/>
              <a:ext cx="75589" cy="151179"/>
            </a:xfrm>
            <a:custGeom>
              <a:avLst/>
              <a:gdLst>
                <a:gd name="connsiteX0" fmla="*/ 67092 w 75589"/>
                <a:gd name="connsiteY0" fmla="*/ 157799 h 151178"/>
                <a:gd name="connsiteX1" fmla="*/ 70871 w 75589"/>
                <a:gd name="connsiteY1" fmla="*/ 156539 h 151178"/>
                <a:gd name="connsiteX2" fmla="*/ 77170 w 75589"/>
                <a:gd name="connsiteY2" fmla="*/ 142681 h 151178"/>
                <a:gd name="connsiteX3" fmla="*/ 20478 w 75589"/>
                <a:gd name="connsiteY3" fmla="*/ 6620 h 151178"/>
                <a:gd name="connsiteX4" fmla="*/ 6620 w 75589"/>
                <a:gd name="connsiteY4" fmla="*/ 321 h 151178"/>
                <a:gd name="connsiteX5" fmla="*/ 321 w 75589"/>
                <a:gd name="connsiteY5" fmla="*/ 14179 h 151178"/>
                <a:gd name="connsiteX6" fmla="*/ 57013 w 75589"/>
                <a:gd name="connsiteY6" fmla="*/ 150240 h 151178"/>
                <a:gd name="connsiteX7" fmla="*/ 67092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67092" y="157799"/>
                  </a:moveTo>
                  <a:cubicBezTo>
                    <a:pt x="68351" y="157799"/>
                    <a:pt x="69611" y="157799"/>
                    <a:pt x="70871" y="156539"/>
                  </a:cubicBezTo>
                  <a:cubicBezTo>
                    <a:pt x="75910" y="154019"/>
                    <a:pt x="78430" y="147720"/>
                    <a:pt x="77170" y="142681"/>
                  </a:cubicBezTo>
                  <a:lnTo>
                    <a:pt x="20478" y="6620"/>
                  </a:lnTo>
                  <a:cubicBezTo>
                    <a:pt x="17959" y="1581"/>
                    <a:pt x="11659" y="-939"/>
                    <a:pt x="6620" y="321"/>
                  </a:cubicBezTo>
                  <a:cubicBezTo>
                    <a:pt x="1581" y="2841"/>
                    <a:pt x="-939" y="9140"/>
                    <a:pt x="321" y="14179"/>
                  </a:cubicBezTo>
                  <a:lnTo>
                    <a:pt x="57013" y="150240"/>
                  </a:lnTo>
                  <a:cubicBezTo>
                    <a:pt x="58273" y="156539"/>
                    <a:pt x="62052" y="157799"/>
                    <a:pt x="67092" y="15779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/>
            <p:cNvSpPr/>
            <p:nvPr/>
          </p:nvSpPr>
          <p:spPr>
            <a:xfrm>
              <a:off x="6457765" y="3054437"/>
              <a:ext cx="163777" cy="138581"/>
            </a:xfrm>
            <a:custGeom>
              <a:avLst/>
              <a:gdLst>
                <a:gd name="connsiteX0" fmla="*/ 9623 w 163777"/>
                <a:gd name="connsiteY0" fmla="*/ 147795 h 138580"/>
                <a:gd name="connsiteX1" fmla="*/ 17182 w 163777"/>
                <a:gd name="connsiteY1" fmla="*/ 145275 h 138580"/>
                <a:gd name="connsiteX2" fmla="*/ 167101 w 163777"/>
                <a:gd name="connsiteY2" fmla="*/ 19293 h 138580"/>
                <a:gd name="connsiteX3" fmla="*/ 169620 w 163777"/>
                <a:gd name="connsiteY3" fmla="*/ 4175 h 138580"/>
                <a:gd name="connsiteX4" fmla="*/ 154503 w 163777"/>
                <a:gd name="connsiteY4" fmla="*/ 1655 h 138580"/>
                <a:gd name="connsiteX5" fmla="*/ 3324 w 163777"/>
                <a:gd name="connsiteY5" fmla="*/ 128897 h 138580"/>
                <a:gd name="connsiteX6" fmla="*/ 3324 w 163777"/>
                <a:gd name="connsiteY6" fmla="*/ 144015 h 138580"/>
                <a:gd name="connsiteX7" fmla="*/ 962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9623" y="147795"/>
                  </a:moveTo>
                  <a:cubicBezTo>
                    <a:pt x="12142" y="147795"/>
                    <a:pt x="14662" y="146535"/>
                    <a:pt x="17182" y="145275"/>
                  </a:cubicBezTo>
                  <a:cubicBezTo>
                    <a:pt x="65055" y="101181"/>
                    <a:pt x="115448" y="58347"/>
                    <a:pt x="167101" y="19293"/>
                  </a:cubicBezTo>
                  <a:cubicBezTo>
                    <a:pt x="172140" y="15513"/>
                    <a:pt x="172140" y="9214"/>
                    <a:pt x="169620" y="4175"/>
                  </a:cubicBezTo>
                  <a:cubicBezTo>
                    <a:pt x="165841" y="-865"/>
                    <a:pt x="159542" y="-865"/>
                    <a:pt x="154503" y="1655"/>
                  </a:cubicBezTo>
                  <a:cubicBezTo>
                    <a:pt x="102850" y="41970"/>
                    <a:pt x="51197" y="84803"/>
                    <a:pt x="3324" y="128897"/>
                  </a:cubicBezTo>
                  <a:cubicBezTo>
                    <a:pt x="-456" y="132677"/>
                    <a:pt x="-1716" y="140236"/>
                    <a:pt x="3324" y="144015"/>
                  </a:cubicBezTo>
                  <a:cubicBezTo>
                    <a:pt x="4583" y="146535"/>
                    <a:pt x="7103" y="147795"/>
                    <a:pt x="9623" y="14779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/>
            <p:cNvSpPr/>
            <p:nvPr/>
          </p:nvSpPr>
          <p:spPr>
            <a:xfrm>
              <a:off x="6458807" y="3000982"/>
              <a:ext cx="138581" cy="100786"/>
            </a:xfrm>
            <a:custGeom>
              <a:avLst/>
              <a:gdLst>
                <a:gd name="connsiteX0" fmla="*/ 11101 w 138580"/>
                <a:gd name="connsiteY0" fmla="*/ 113062 h 100785"/>
                <a:gd name="connsiteX1" fmla="*/ 18660 w 138580"/>
                <a:gd name="connsiteY1" fmla="*/ 110542 h 100785"/>
                <a:gd name="connsiteX2" fmla="*/ 134564 w 138580"/>
                <a:gd name="connsiteY2" fmla="*/ 19835 h 100785"/>
                <a:gd name="connsiteX3" fmla="*/ 137083 w 138580"/>
                <a:gd name="connsiteY3" fmla="*/ 4717 h 100785"/>
                <a:gd name="connsiteX4" fmla="*/ 121965 w 138580"/>
                <a:gd name="connsiteY4" fmla="*/ 2198 h 100785"/>
                <a:gd name="connsiteX5" fmla="*/ 3542 w 138580"/>
                <a:gd name="connsiteY5" fmla="*/ 94165 h 100785"/>
                <a:gd name="connsiteX6" fmla="*/ 2282 w 138580"/>
                <a:gd name="connsiteY6" fmla="*/ 109283 h 100785"/>
                <a:gd name="connsiteX7" fmla="*/ 11101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1101" y="113062"/>
                  </a:moveTo>
                  <a:cubicBezTo>
                    <a:pt x="13621" y="113062"/>
                    <a:pt x="16140" y="111802"/>
                    <a:pt x="18660" y="110542"/>
                  </a:cubicBezTo>
                  <a:cubicBezTo>
                    <a:pt x="55195" y="77787"/>
                    <a:pt x="94249" y="47551"/>
                    <a:pt x="134564" y="19835"/>
                  </a:cubicBezTo>
                  <a:cubicBezTo>
                    <a:pt x="139603" y="16056"/>
                    <a:pt x="140863" y="9757"/>
                    <a:pt x="137083" y="4717"/>
                  </a:cubicBezTo>
                  <a:cubicBezTo>
                    <a:pt x="133304" y="-322"/>
                    <a:pt x="127005" y="-1582"/>
                    <a:pt x="121965" y="2198"/>
                  </a:cubicBezTo>
                  <a:cubicBezTo>
                    <a:pt x="80391" y="29914"/>
                    <a:pt x="40077" y="61409"/>
                    <a:pt x="3542" y="94165"/>
                  </a:cubicBezTo>
                  <a:cubicBezTo>
                    <a:pt x="-238" y="97944"/>
                    <a:pt x="-1498" y="105503"/>
                    <a:pt x="2282" y="109283"/>
                  </a:cubicBezTo>
                  <a:cubicBezTo>
                    <a:pt x="6062" y="111802"/>
                    <a:pt x="8581" y="113062"/>
                    <a:pt x="11101" y="11306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/>
            <p:cNvSpPr/>
            <p:nvPr/>
          </p:nvSpPr>
          <p:spPr>
            <a:xfrm>
              <a:off x="1624873" y="3244852"/>
              <a:ext cx="629912" cy="1360609"/>
            </a:xfrm>
            <a:custGeom>
              <a:avLst/>
              <a:gdLst>
                <a:gd name="connsiteX0" fmla="*/ 213924 w 629911"/>
                <a:gd name="connsiteY0" fmla="*/ 1364602 h 1360609"/>
                <a:gd name="connsiteX1" fmla="*/ 47628 w 629911"/>
                <a:gd name="connsiteY1" fmla="*/ 1120196 h 1360609"/>
                <a:gd name="connsiteX2" fmla="*/ 14872 w 629911"/>
                <a:gd name="connsiteY2" fmla="*/ 715793 h 1360609"/>
                <a:gd name="connsiteX3" fmla="*/ 225263 w 629911"/>
                <a:gd name="connsiteY3" fmla="*/ 386979 h 1360609"/>
                <a:gd name="connsiteX4" fmla="*/ 292033 w 629911"/>
                <a:gd name="connsiteY4" fmla="*/ 95960 h 1360609"/>
                <a:gd name="connsiteX5" fmla="*/ 617068 w 629911"/>
                <a:gd name="connsiteY5" fmla="*/ 249658 h 1360609"/>
                <a:gd name="connsiteX6" fmla="*/ 504943 w 629911"/>
                <a:gd name="connsiteY6" fmla="*/ 540677 h 1360609"/>
                <a:gd name="connsiteX7" fmla="*/ 508723 w 629911"/>
                <a:gd name="connsiteY7" fmla="*/ 845554 h 1360609"/>
                <a:gd name="connsiteX8" fmla="*/ 387780 w 629911"/>
                <a:gd name="connsiteY8" fmla="*/ 1157990 h 1360609"/>
                <a:gd name="connsiteX9" fmla="*/ 213924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213924" y="1364602"/>
                  </a:moveTo>
                  <a:cubicBezTo>
                    <a:pt x="119438" y="1350744"/>
                    <a:pt x="31250" y="1305390"/>
                    <a:pt x="47628" y="1120196"/>
                  </a:cubicBezTo>
                  <a:cubicBezTo>
                    <a:pt x="64005" y="935002"/>
                    <a:pt x="-36781" y="890908"/>
                    <a:pt x="14872" y="715793"/>
                  </a:cubicBezTo>
                  <a:cubicBezTo>
                    <a:pt x="66525" y="540677"/>
                    <a:pt x="229042" y="533118"/>
                    <a:pt x="225263" y="386979"/>
                  </a:cubicBezTo>
                  <a:cubicBezTo>
                    <a:pt x="222743" y="315169"/>
                    <a:pt x="237861" y="185407"/>
                    <a:pt x="292033" y="95960"/>
                  </a:cubicBezTo>
                  <a:cubicBezTo>
                    <a:pt x="382741" y="-53959"/>
                    <a:pt x="698956" y="-46401"/>
                    <a:pt x="617068" y="249658"/>
                  </a:cubicBezTo>
                  <a:cubicBezTo>
                    <a:pt x="589352" y="350444"/>
                    <a:pt x="508723" y="407136"/>
                    <a:pt x="504943" y="540677"/>
                  </a:cubicBezTo>
                  <a:cubicBezTo>
                    <a:pt x="502424" y="635164"/>
                    <a:pt x="551557" y="675478"/>
                    <a:pt x="508723" y="845554"/>
                  </a:cubicBezTo>
                  <a:cubicBezTo>
                    <a:pt x="469668" y="997993"/>
                    <a:pt x="375182" y="1006812"/>
                    <a:pt x="387780" y="1157990"/>
                  </a:cubicBezTo>
                  <a:cubicBezTo>
                    <a:pt x="400378" y="1310429"/>
                    <a:pt x="326049" y="1380979"/>
                    <a:pt x="213924" y="136460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/>
            <p:cNvSpPr/>
            <p:nvPr/>
          </p:nvSpPr>
          <p:spPr>
            <a:xfrm>
              <a:off x="1807302" y="3254900"/>
              <a:ext cx="302358" cy="1310216"/>
            </a:xfrm>
            <a:custGeom>
              <a:avLst/>
              <a:gdLst>
                <a:gd name="connsiteX0" fmla="*/ 8819 w 302357"/>
                <a:gd name="connsiteY0" fmla="*/ 1320539 h 1310216"/>
                <a:gd name="connsiteX1" fmla="*/ 5039 w 302357"/>
                <a:gd name="connsiteY1" fmla="*/ 1319279 h 1310216"/>
                <a:gd name="connsiteX2" fmla="*/ 1260 w 302357"/>
                <a:gd name="connsiteY2" fmla="*/ 1304162 h 1310216"/>
                <a:gd name="connsiteX3" fmla="*/ 35275 w 302357"/>
                <a:gd name="connsiteY3" fmla="*/ 1142904 h 1310216"/>
                <a:gd name="connsiteX4" fmla="*/ 36535 w 302357"/>
                <a:gd name="connsiteY4" fmla="*/ 1059755 h 1310216"/>
                <a:gd name="connsiteX5" fmla="*/ 97006 w 302357"/>
                <a:gd name="connsiteY5" fmla="*/ 621337 h 1310216"/>
                <a:gd name="connsiteX6" fmla="*/ 175115 w 302357"/>
                <a:gd name="connsiteY6" fmla="*/ 476457 h 1310216"/>
                <a:gd name="connsiteX7" fmla="*/ 254484 w 302357"/>
                <a:gd name="connsiteY7" fmla="*/ 326539 h 1310216"/>
                <a:gd name="connsiteX8" fmla="*/ 279681 w 302357"/>
                <a:gd name="connsiteY8" fmla="*/ 12842 h 1310216"/>
                <a:gd name="connsiteX9" fmla="*/ 287240 w 302357"/>
                <a:gd name="connsiteY9" fmla="*/ 244 h 1310216"/>
                <a:gd name="connsiteX10" fmla="*/ 299838 w 302357"/>
                <a:gd name="connsiteY10" fmla="*/ 7803 h 1310216"/>
                <a:gd name="connsiteX11" fmla="*/ 273382 w 302357"/>
                <a:gd name="connsiteY11" fmla="*/ 334097 h 1310216"/>
                <a:gd name="connsiteX12" fmla="*/ 192753 w 302357"/>
                <a:gd name="connsiteY12" fmla="*/ 486536 h 1310216"/>
                <a:gd name="connsiteX13" fmla="*/ 115904 w 302357"/>
                <a:gd name="connsiteY13" fmla="*/ 628896 h 1310216"/>
                <a:gd name="connsiteX14" fmla="*/ 56692 w 302357"/>
                <a:gd name="connsiteY14" fmla="*/ 1059755 h 1310216"/>
                <a:gd name="connsiteX15" fmla="*/ 55432 w 302357"/>
                <a:gd name="connsiteY15" fmla="*/ 1142904 h 1310216"/>
                <a:gd name="connsiteX16" fmla="*/ 17638 w 302357"/>
                <a:gd name="connsiteY16" fmla="*/ 1315500 h 1310216"/>
                <a:gd name="connsiteX17" fmla="*/ 8819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8819" y="1320539"/>
                  </a:moveTo>
                  <a:cubicBezTo>
                    <a:pt x="7559" y="1320539"/>
                    <a:pt x="6299" y="1319279"/>
                    <a:pt x="5039" y="1319279"/>
                  </a:cubicBezTo>
                  <a:cubicBezTo>
                    <a:pt x="0" y="1316760"/>
                    <a:pt x="-1260" y="1309201"/>
                    <a:pt x="1260" y="1304162"/>
                  </a:cubicBezTo>
                  <a:cubicBezTo>
                    <a:pt x="30236" y="1257548"/>
                    <a:pt x="34015" y="1199596"/>
                    <a:pt x="35275" y="1142904"/>
                  </a:cubicBezTo>
                  <a:cubicBezTo>
                    <a:pt x="36535" y="1115188"/>
                    <a:pt x="36535" y="1087472"/>
                    <a:pt x="36535" y="1059755"/>
                  </a:cubicBezTo>
                  <a:cubicBezTo>
                    <a:pt x="37795" y="912356"/>
                    <a:pt x="40314" y="758658"/>
                    <a:pt x="97006" y="621337"/>
                  </a:cubicBezTo>
                  <a:cubicBezTo>
                    <a:pt x="118423" y="570944"/>
                    <a:pt x="147399" y="523071"/>
                    <a:pt x="175115" y="476457"/>
                  </a:cubicBezTo>
                  <a:cubicBezTo>
                    <a:pt x="204091" y="428584"/>
                    <a:pt x="233067" y="379451"/>
                    <a:pt x="254484" y="326539"/>
                  </a:cubicBezTo>
                  <a:cubicBezTo>
                    <a:pt x="293539" y="228272"/>
                    <a:pt x="302358" y="116148"/>
                    <a:pt x="279681" y="12842"/>
                  </a:cubicBezTo>
                  <a:cubicBezTo>
                    <a:pt x="278421" y="6543"/>
                    <a:pt x="282200" y="1504"/>
                    <a:pt x="287240" y="244"/>
                  </a:cubicBezTo>
                  <a:cubicBezTo>
                    <a:pt x="293539" y="-1016"/>
                    <a:pt x="298578" y="2764"/>
                    <a:pt x="299838" y="7803"/>
                  </a:cubicBezTo>
                  <a:cubicBezTo>
                    <a:pt x="323775" y="116148"/>
                    <a:pt x="314956" y="230792"/>
                    <a:pt x="273382" y="334097"/>
                  </a:cubicBezTo>
                  <a:cubicBezTo>
                    <a:pt x="251965" y="388270"/>
                    <a:pt x="221729" y="438663"/>
                    <a:pt x="192753" y="486536"/>
                  </a:cubicBezTo>
                  <a:cubicBezTo>
                    <a:pt x="165037" y="531890"/>
                    <a:pt x="137321" y="579763"/>
                    <a:pt x="115904" y="628896"/>
                  </a:cubicBezTo>
                  <a:cubicBezTo>
                    <a:pt x="59212" y="762437"/>
                    <a:pt x="57952" y="913616"/>
                    <a:pt x="56692" y="1059755"/>
                  </a:cubicBezTo>
                  <a:cubicBezTo>
                    <a:pt x="56692" y="1087472"/>
                    <a:pt x="56692" y="1115188"/>
                    <a:pt x="55432" y="1142904"/>
                  </a:cubicBezTo>
                  <a:cubicBezTo>
                    <a:pt x="54172" y="1202116"/>
                    <a:pt x="50393" y="1263847"/>
                    <a:pt x="17638" y="1315500"/>
                  </a:cubicBezTo>
                  <a:cubicBezTo>
                    <a:pt x="17638" y="1319279"/>
                    <a:pt x="12598" y="1321799"/>
                    <a:pt x="8819" y="132053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/>
            <p:cNvSpPr/>
            <p:nvPr/>
          </p:nvSpPr>
          <p:spPr>
            <a:xfrm>
              <a:off x="1665180" y="3929387"/>
              <a:ext cx="201572" cy="264563"/>
            </a:xfrm>
            <a:custGeom>
              <a:avLst/>
              <a:gdLst>
                <a:gd name="connsiteX0" fmla="*/ 189996 w 201571"/>
                <a:gd name="connsiteY0" fmla="*/ 264325 h 264562"/>
                <a:gd name="connsiteX1" fmla="*/ 182437 w 201571"/>
                <a:gd name="connsiteY1" fmla="*/ 259286 h 264562"/>
                <a:gd name="connsiteX2" fmla="*/ 2282 w 201571"/>
                <a:gd name="connsiteY2" fmla="*/ 17400 h 264562"/>
                <a:gd name="connsiteX3" fmla="*/ 3542 w 201571"/>
                <a:gd name="connsiteY3" fmla="*/ 2282 h 264562"/>
                <a:gd name="connsiteX4" fmla="*/ 18660 w 201571"/>
                <a:gd name="connsiteY4" fmla="*/ 3542 h 264562"/>
                <a:gd name="connsiteX5" fmla="*/ 200074 w 201571"/>
                <a:gd name="connsiteY5" fmla="*/ 246688 h 264562"/>
                <a:gd name="connsiteX6" fmla="*/ 197555 w 201571"/>
                <a:gd name="connsiteY6" fmla="*/ 261806 h 264562"/>
                <a:gd name="connsiteX7" fmla="*/ 18999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89996" y="264325"/>
                  </a:moveTo>
                  <a:cubicBezTo>
                    <a:pt x="187476" y="264325"/>
                    <a:pt x="184956" y="261806"/>
                    <a:pt x="182437" y="259286"/>
                  </a:cubicBezTo>
                  <a:cubicBezTo>
                    <a:pt x="124485" y="177397"/>
                    <a:pt x="64013" y="95509"/>
                    <a:pt x="2282" y="17400"/>
                  </a:cubicBezTo>
                  <a:cubicBezTo>
                    <a:pt x="-1497" y="12361"/>
                    <a:pt x="-238" y="6061"/>
                    <a:pt x="3542" y="2282"/>
                  </a:cubicBezTo>
                  <a:cubicBezTo>
                    <a:pt x="8581" y="-1497"/>
                    <a:pt x="14880" y="-238"/>
                    <a:pt x="18660" y="3542"/>
                  </a:cubicBezTo>
                  <a:cubicBezTo>
                    <a:pt x="81651" y="82911"/>
                    <a:pt x="142122" y="164799"/>
                    <a:pt x="200074" y="246688"/>
                  </a:cubicBezTo>
                  <a:cubicBezTo>
                    <a:pt x="203854" y="251727"/>
                    <a:pt x="202594" y="258026"/>
                    <a:pt x="197555" y="261806"/>
                  </a:cubicBezTo>
                  <a:cubicBezTo>
                    <a:pt x="195035" y="264325"/>
                    <a:pt x="192515" y="265585"/>
                    <a:pt x="189996" y="26432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/>
            <p:cNvSpPr/>
            <p:nvPr/>
          </p:nvSpPr>
          <p:spPr>
            <a:xfrm>
              <a:off x="1682265" y="4044738"/>
              <a:ext cx="176375" cy="214170"/>
            </a:xfrm>
            <a:custGeom>
              <a:avLst/>
              <a:gdLst>
                <a:gd name="connsiteX0" fmla="*/ 171651 w 176375"/>
                <a:gd name="connsiteY0" fmla="*/ 214485 h 214169"/>
                <a:gd name="connsiteX1" fmla="*/ 164092 w 176375"/>
                <a:gd name="connsiteY1" fmla="*/ 210706 h 214169"/>
                <a:gd name="connsiteX2" fmla="*/ 2835 w 176375"/>
                <a:gd name="connsiteY2" fmla="*/ 17952 h 214169"/>
                <a:gd name="connsiteX3" fmla="*/ 2835 w 176375"/>
                <a:gd name="connsiteY3" fmla="*/ 2835 h 214169"/>
                <a:gd name="connsiteX4" fmla="*/ 17952 w 176375"/>
                <a:gd name="connsiteY4" fmla="*/ 2835 h 214169"/>
                <a:gd name="connsiteX5" fmla="*/ 180470 w 176375"/>
                <a:gd name="connsiteY5" fmla="*/ 198107 h 214169"/>
                <a:gd name="connsiteX6" fmla="*/ 177950 w 176375"/>
                <a:gd name="connsiteY6" fmla="*/ 213225 h 214169"/>
                <a:gd name="connsiteX7" fmla="*/ 171651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71651" y="214485"/>
                  </a:moveTo>
                  <a:cubicBezTo>
                    <a:pt x="169131" y="214485"/>
                    <a:pt x="166612" y="213225"/>
                    <a:pt x="164092" y="210706"/>
                  </a:cubicBezTo>
                  <a:cubicBezTo>
                    <a:pt x="114959" y="142675"/>
                    <a:pt x="60786" y="78424"/>
                    <a:pt x="2835" y="17952"/>
                  </a:cubicBezTo>
                  <a:cubicBezTo>
                    <a:pt x="-945" y="14173"/>
                    <a:pt x="-945" y="6614"/>
                    <a:pt x="2835" y="2835"/>
                  </a:cubicBezTo>
                  <a:cubicBezTo>
                    <a:pt x="6614" y="-945"/>
                    <a:pt x="14173" y="-945"/>
                    <a:pt x="17952" y="2835"/>
                  </a:cubicBezTo>
                  <a:cubicBezTo>
                    <a:pt x="75904" y="63306"/>
                    <a:pt x="131337" y="128817"/>
                    <a:pt x="180470" y="198107"/>
                  </a:cubicBezTo>
                  <a:cubicBezTo>
                    <a:pt x="184249" y="203147"/>
                    <a:pt x="182989" y="209446"/>
                    <a:pt x="177950" y="213225"/>
                  </a:cubicBezTo>
                  <a:cubicBezTo>
                    <a:pt x="177950" y="214485"/>
                    <a:pt x="174171" y="214485"/>
                    <a:pt x="171651" y="21448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/>
            <p:cNvSpPr/>
            <p:nvPr/>
          </p:nvSpPr>
          <p:spPr>
            <a:xfrm>
              <a:off x="1739097" y="4232592"/>
              <a:ext cx="113384" cy="125982"/>
            </a:xfrm>
            <a:custGeom>
              <a:avLst/>
              <a:gdLst>
                <a:gd name="connsiteX0" fmla="*/ 113559 w 113384"/>
                <a:gd name="connsiteY0" fmla="*/ 136235 h 125982"/>
                <a:gd name="connsiteX1" fmla="*/ 106000 w 113384"/>
                <a:gd name="connsiteY1" fmla="*/ 131196 h 125982"/>
                <a:gd name="connsiteX2" fmla="*/ 3954 w 113384"/>
                <a:gd name="connsiteY2" fmla="*/ 19071 h 125982"/>
                <a:gd name="connsiteX3" fmla="*/ 2694 w 113384"/>
                <a:gd name="connsiteY3" fmla="*/ 3954 h 125982"/>
                <a:gd name="connsiteX4" fmla="*/ 17812 w 113384"/>
                <a:gd name="connsiteY4" fmla="*/ 2694 h 125982"/>
                <a:gd name="connsiteX5" fmla="*/ 123637 w 113384"/>
                <a:gd name="connsiteY5" fmla="*/ 119857 h 125982"/>
                <a:gd name="connsiteX6" fmla="*/ 121117 w 113384"/>
                <a:gd name="connsiteY6" fmla="*/ 134975 h 125982"/>
                <a:gd name="connsiteX7" fmla="*/ 113559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13559" y="136235"/>
                  </a:moveTo>
                  <a:cubicBezTo>
                    <a:pt x="111039" y="136235"/>
                    <a:pt x="108519" y="133715"/>
                    <a:pt x="106000" y="131196"/>
                  </a:cubicBezTo>
                  <a:cubicBezTo>
                    <a:pt x="77024" y="89622"/>
                    <a:pt x="43008" y="51827"/>
                    <a:pt x="3954" y="19071"/>
                  </a:cubicBezTo>
                  <a:cubicBezTo>
                    <a:pt x="-1085" y="15292"/>
                    <a:pt x="-1085" y="8993"/>
                    <a:pt x="2694" y="3954"/>
                  </a:cubicBezTo>
                  <a:cubicBezTo>
                    <a:pt x="6474" y="-1085"/>
                    <a:pt x="12773" y="-1085"/>
                    <a:pt x="17812" y="2694"/>
                  </a:cubicBezTo>
                  <a:cubicBezTo>
                    <a:pt x="58126" y="36709"/>
                    <a:pt x="93401" y="75764"/>
                    <a:pt x="123637" y="119857"/>
                  </a:cubicBezTo>
                  <a:cubicBezTo>
                    <a:pt x="127417" y="124897"/>
                    <a:pt x="126157" y="131196"/>
                    <a:pt x="121117" y="134975"/>
                  </a:cubicBezTo>
                  <a:cubicBezTo>
                    <a:pt x="118598" y="134975"/>
                    <a:pt x="116078" y="136235"/>
                    <a:pt x="113559" y="13623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/>
            <p:cNvSpPr/>
            <p:nvPr/>
          </p:nvSpPr>
          <p:spPr>
            <a:xfrm>
              <a:off x="1855175" y="3949764"/>
              <a:ext cx="251965" cy="125982"/>
            </a:xfrm>
            <a:custGeom>
              <a:avLst/>
              <a:gdLst>
                <a:gd name="connsiteX0" fmla="*/ 8819 w 251964"/>
                <a:gd name="connsiteY0" fmla="*/ 129304 h 125982"/>
                <a:gd name="connsiteX1" fmla="*/ 1260 w 251964"/>
                <a:gd name="connsiteY1" fmla="*/ 124265 h 125982"/>
                <a:gd name="connsiteX2" fmla="*/ 5039 w 251964"/>
                <a:gd name="connsiteY2" fmla="*/ 110407 h 125982"/>
                <a:gd name="connsiteX3" fmla="*/ 249445 w 251964"/>
                <a:gd name="connsiteY3" fmla="*/ 802 h 125982"/>
                <a:gd name="connsiteX4" fmla="*/ 263303 w 251964"/>
                <a:gd name="connsiteY4" fmla="*/ 7101 h 125982"/>
                <a:gd name="connsiteX5" fmla="*/ 257004 w 251964"/>
                <a:gd name="connsiteY5" fmla="*/ 20959 h 125982"/>
                <a:gd name="connsiteX6" fmla="*/ 15118 w 251964"/>
                <a:gd name="connsiteY6" fmla="*/ 129304 h 125982"/>
                <a:gd name="connsiteX7" fmla="*/ 8819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8819" y="129304"/>
                  </a:moveTo>
                  <a:cubicBezTo>
                    <a:pt x="5039" y="129304"/>
                    <a:pt x="2520" y="126784"/>
                    <a:pt x="1260" y="124265"/>
                  </a:cubicBezTo>
                  <a:cubicBezTo>
                    <a:pt x="-1260" y="119225"/>
                    <a:pt x="0" y="112926"/>
                    <a:pt x="5039" y="110407"/>
                  </a:cubicBezTo>
                  <a:cubicBezTo>
                    <a:pt x="83148" y="68832"/>
                    <a:pt x="166297" y="31038"/>
                    <a:pt x="249445" y="802"/>
                  </a:cubicBezTo>
                  <a:cubicBezTo>
                    <a:pt x="254484" y="-1718"/>
                    <a:pt x="260783" y="2062"/>
                    <a:pt x="263303" y="7101"/>
                  </a:cubicBezTo>
                  <a:cubicBezTo>
                    <a:pt x="265823" y="12141"/>
                    <a:pt x="262043" y="18440"/>
                    <a:pt x="257004" y="20959"/>
                  </a:cubicBezTo>
                  <a:cubicBezTo>
                    <a:pt x="173856" y="51195"/>
                    <a:pt x="93227" y="87730"/>
                    <a:pt x="15118" y="129304"/>
                  </a:cubicBezTo>
                  <a:cubicBezTo>
                    <a:pt x="13858" y="129304"/>
                    <a:pt x="11338" y="129304"/>
                    <a:pt x="8819" y="12930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/>
            <p:cNvSpPr/>
            <p:nvPr/>
          </p:nvSpPr>
          <p:spPr>
            <a:xfrm>
              <a:off x="1859894" y="4018276"/>
              <a:ext cx="264563" cy="100786"/>
            </a:xfrm>
            <a:custGeom>
              <a:avLst/>
              <a:gdLst>
                <a:gd name="connsiteX0" fmla="*/ 9140 w 264562"/>
                <a:gd name="connsiteY0" fmla="*/ 103627 h 100785"/>
                <a:gd name="connsiteX1" fmla="*/ 321 w 264562"/>
                <a:gd name="connsiteY1" fmla="*/ 96068 h 100785"/>
                <a:gd name="connsiteX2" fmla="*/ 6620 w 264562"/>
                <a:gd name="connsiteY2" fmla="*/ 82209 h 100785"/>
                <a:gd name="connsiteX3" fmla="*/ 259845 w 264562"/>
                <a:gd name="connsiteY3" fmla="*/ 321 h 100785"/>
                <a:gd name="connsiteX4" fmla="*/ 273703 w 264562"/>
                <a:gd name="connsiteY4" fmla="*/ 6620 h 100785"/>
                <a:gd name="connsiteX5" fmla="*/ 267404 w 264562"/>
                <a:gd name="connsiteY5" fmla="*/ 20478 h 100785"/>
                <a:gd name="connsiteX6" fmla="*/ 14179 w 264562"/>
                <a:gd name="connsiteY6" fmla="*/ 102367 h 100785"/>
                <a:gd name="connsiteX7" fmla="*/ 9140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9140" y="103627"/>
                  </a:moveTo>
                  <a:cubicBezTo>
                    <a:pt x="5360" y="103627"/>
                    <a:pt x="1581" y="99847"/>
                    <a:pt x="321" y="96068"/>
                  </a:cubicBezTo>
                  <a:cubicBezTo>
                    <a:pt x="-939" y="91028"/>
                    <a:pt x="1581" y="84729"/>
                    <a:pt x="6620" y="82209"/>
                  </a:cubicBezTo>
                  <a:lnTo>
                    <a:pt x="259845" y="321"/>
                  </a:lnTo>
                  <a:cubicBezTo>
                    <a:pt x="264884" y="-939"/>
                    <a:pt x="271183" y="1581"/>
                    <a:pt x="273703" y="6620"/>
                  </a:cubicBezTo>
                  <a:cubicBezTo>
                    <a:pt x="274963" y="11660"/>
                    <a:pt x="272443" y="17959"/>
                    <a:pt x="267404" y="20478"/>
                  </a:cubicBezTo>
                  <a:lnTo>
                    <a:pt x="14179" y="102367"/>
                  </a:lnTo>
                  <a:cubicBezTo>
                    <a:pt x="11659" y="103627"/>
                    <a:pt x="10400" y="103627"/>
                    <a:pt x="9140" y="10362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/>
            <p:cNvSpPr/>
            <p:nvPr/>
          </p:nvSpPr>
          <p:spPr>
            <a:xfrm>
              <a:off x="1865576" y="3735459"/>
              <a:ext cx="75589" cy="100786"/>
            </a:xfrm>
            <a:custGeom>
              <a:avLst/>
              <a:gdLst>
                <a:gd name="connsiteX0" fmla="*/ 71488 w 75589"/>
                <a:gd name="connsiteY0" fmla="*/ 104243 h 100785"/>
                <a:gd name="connsiteX1" fmla="*/ 63929 w 75589"/>
                <a:gd name="connsiteY1" fmla="*/ 100464 h 100785"/>
                <a:gd name="connsiteX2" fmla="*/ 2198 w 75589"/>
                <a:gd name="connsiteY2" fmla="*/ 17315 h 100785"/>
                <a:gd name="connsiteX3" fmla="*/ 4717 w 75589"/>
                <a:gd name="connsiteY3" fmla="*/ 2198 h 100785"/>
                <a:gd name="connsiteX4" fmla="*/ 19835 w 75589"/>
                <a:gd name="connsiteY4" fmla="*/ 4717 h 100785"/>
                <a:gd name="connsiteX5" fmla="*/ 81566 w 75589"/>
                <a:gd name="connsiteY5" fmla="*/ 87866 h 100785"/>
                <a:gd name="connsiteX6" fmla="*/ 79047 w 75589"/>
                <a:gd name="connsiteY6" fmla="*/ 102983 h 100785"/>
                <a:gd name="connsiteX7" fmla="*/ 71488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71488" y="104243"/>
                  </a:moveTo>
                  <a:cubicBezTo>
                    <a:pt x="68968" y="104243"/>
                    <a:pt x="66449" y="102983"/>
                    <a:pt x="63929" y="100464"/>
                  </a:cubicBezTo>
                  <a:lnTo>
                    <a:pt x="2198" y="17315"/>
                  </a:lnTo>
                  <a:cubicBezTo>
                    <a:pt x="-1582" y="12276"/>
                    <a:pt x="-322" y="5977"/>
                    <a:pt x="4717" y="2198"/>
                  </a:cubicBezTo>
                  <a:cubicBezTo>
                    <a:pt x="9757" y="-1582"/>
                    <a:pt x="16056" y="-322"/>
                    <a:pt x="19835" y="4717"/>
                  </a:cubicBezTo>
                  <a:lnTo>
                    <a:pt x="81566" y="87866"/>
                  </a:lnTo>
                  <a:cubicBezTo>
                    <a:pt x="85346" y="92905"/>
                    <a:pt x="84086" y="99204"/>
                    <a:pt x="79047" y="102983"/>
                  </a:cubicBezTo>
                  <a:cubicBezTo>
                    <a:pt x="76527" y="104243"/>
                    <a:pt x="74008" y="104243"/>
                    <a:pt x="71488" y="104243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/>
            <p:cNvSpPr/>
            <p:nvPr/>
          </p:nvSpPr>
          <p:spPr>
            <a:xfrm>
              <a:off x="1876032" y="3647649"/>
              <a:ext cx="88188" cy="138581"/>
            </a:xfrm>
            <a:custGeom>
              <a:avLst/>
              <a:gdLst>
                <a:gd name="connsiteX0" fmla="*/ 82448 w 88187"/>
                <a:gd name="connsiteY0" fmla="*/ 145440 h 138580"/>
                <a:gd name="connsiteX1" fmla="*/ 74889 w 88187"/>
                <a:gd name="connsiteY1" fmla="*/ 140400 h 138580"/>
                <a:gd name="connsiteX2" fmla="*/ 1820 w 88187"/>
                <a:gd name="connsiteY2" fmla="*/ 16938 h 138580"/>
                <a:gd name="connsiteX3" fmla="*/ 5599 w 88187"/>
                <a:gd name="connsiteY3" fmla="*/ 1820 h 138580"/>
                <a:gd name="connsiteX4" fmla="*/ 20717 w 88187"/>
                <a:gd name="connsiteY4" fmla="*/ 5599 h 138580"/>
                <a:gd name="connsiteX5" fmla="*/ 93787 w 88187"/>
                <a:gd name="connsiteY5" fmla="*/ 130322 h 138580"/>
                <a:gd name="connsiteX6" fmla="*/ 90007 w 88187"/>
                <a:gd name="connsiteY6" fmla="*/ 144180 h 138580"/>
                <a:gd name="connsiteX7" fmla="*/ 8244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82448" y="145440"/>
                  </a:moveTo>
                  <a:cubicBezTo>
                    <a:pt x="78669" y="145440"/>
                    <a:pt x="76149" y="142920"/>
                    <a:pt x="74889" y="140400"/>
                  </a:cubicBezTo>
                  <a:cubicBezTo>
                    <a:pt x="52213" y="98826"/>
                    <a:pt x="28276" y="57252"/>
                    <a:pt x="1820" y="16938"/>
                  </a:cubicBezTo>
                  <a:cubicBezTo>
                    <a:pt x="-1960" y="11898"/>
                    <a:pt x="560" y="5599"/>
                    <a:pt x="5599" y="1820"/>
                  </a:cubicBezTo>
                  <a:cubicBezTo>
                    <a:pt x="10638" y="-1960"/>
                    <a:pt x="16938" y="560"/>
                    <a:pt x="20717" y="5599"/>
                  </a:cubicBezTo>
                  <a:cubicBezTo>
                    <a:pt x="47173" y="45914"/>
                    <a:pt x="71110" y="87488"/>
                    <a:pt x="93787" y="130322"/>
                  </a:cubicBezTo>
                  <a:cubicBezTo>
                    <a:pt x="96307" y="135361"/>
                    <a:pt x="95047" y="141660"/>
                    <a:pt x="90007" y="144180"/>
                  </a:cubicBezTo>
                  <a:cubicBezTo>
                    <a:pt x="87488" y="145440"/>
                    <a:pt x="84968" y="145440"/>
                    <a:pt x="82448" y="14544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/>
            <p:cNvSpPr/>
            <p:nvPr/>
          </p:nvSpPr>
          <p:spPr>
            <a:xfrm>
              <a:off x="1979654" y="3697800"/>
              <a:ext cx="151179" cy="50393"/>
            </a:xfrm>
            <a:custGeom>
              <a:avLst/>
              <a:gdLst>
                <a:gd name="connsiteX0" fmla="*/ 9063 w 151178"/>
                <a:gd name="connsiteY0" fmla="*/ 61274 h 50392"/>
                <a:gd name="connsiteX1" fmla="*/ 244 w 151178"/>
                <a:gd name="connsiteY1" fmla="*/ 53715 h 50392"/>
                <a:gd name="connsiteX2" fmla="*/ 7803 w 151178"/>
                <a:gd name="connsiteY2" fmla="*/ 41116 h 50392"/>
                <a:gd name="connsiteX3" fmla="*/ 142604 w 151178"/>
                <a:gd name="connsiteY3" fmla="*/ 802 h 50392"/>
                <a:gd name="connsiteX4" fmla="*/ 156462 w 151178"/>
                <a:gd name="connsiteY4" fmla="*/ 7101 h 50392"/>
                <a:gd name="connsiteX5" fmla="*/ 150163 w 151178"/>
                <a:gd name="connsiteY5" fmla="*/ 20959 h 50392"/>
                <a:gd name="connsiteX6" fmla="*/ 12842 w 151178"/>
                <a:gd name="connsiteY6" fmla="*/ 62533 h 50392"/>
                <a:gd name="connsiteX7" fmla="*/ 9063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9063" y="61274"/>
                  </a:moveTo>
                  <a:cubicBezTo>
                    <a:pt x="5283" y="61274"/>
                    <a:pt x="1504" y="57494"/>
                    <a:pt x="244" y="53715"/>
                  </a:cubicBezTo>
                  <a:cubicBezTo>
                    <a:pt x="-1016" y="47416"/>
                    <a:pt x="2764" y="42376"/>
                    <a:pt x="7803" y="41116"/>
                  </a:cubicBezTo>
                  <a:cubicBezTo>
                    <a:pt x="53157" y="29778"/>
                    <a:pt x="98510" y="17180"/>
                    <a:pt x="142604" y="802"/>
                  </a:cubicBezTo>
                  <a:cubicBezTo>
                    <a:pt x="147643" y="-1718"/>
                    <a:pt x="153943" y="2062"/>
                    <a:pt x="156462" y="7101"/>
                  </a:cubicBezTo>
                  <a:cubicBezTo>
                    <a:pt x="158982" y="12141"/>
                    <a:pt x="155202" y="18440"/>
                    <a:pt x="150163" y="20959"/>
                  </a:cubicBezTo>
                  <a:cubicBezTo>
                    <a:pt x="104810" y="37337"/>
                    <a:pt x="59456" y="51195"/>
                    <a:pt x="12842" y="62533"/>
                  </a:cubicBezTo>
                  <a:cubicBezTo>
                    <a:pt x="12842" y="61274"/>
                    <a:pt x="10323" y="61274"/>
                    <a:pt x="9063" y="6127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/>
            <p:cNvSpPr/>
            <p:nvPr/>
          </p:nvSpPr>
          <p:spPr>
            <a:xfrm>
              <a:off x="1849148" y="4354410"/>
              <a:ext cx="138581" cy="88188"/>
            </a:xfrm>
            <a:custGeom>
              <a:avLst/>
              <a:gdLst>
                <a:gd name="connsiteX0" fmla="*/ 8547 w 138580"/>
                <a:gd name="connsiteY0" fmla="*/ 88748 h 88187"/>
                <a:gd name="connsiteX1" fmla="*/ 988 w 138580"/>
                <a:gd name="connsiteY1" fmla="*/ 82448 h 88187"/>
                <a:gd name="connsiteX2" fmla="*/ 6028 w 138580"/>
                <a:gd name="connsiteY2" fmla="*/ 68590 h 88187"/>
                <a:gd name="connsiteX3" fmla="*/ 130750 w 138580"/>
                <a:gd name="connsiteY3" fmla="*/ 1820 h 88187"/>
                <a:gd name="connsiteX4" fmla="*/ 145868 w 138580"/>
                <a:gd name="connsiteY4" fmla="*/ 5599 h 88187"/>
                <a:gd name="connsiteX5" fmla="*/ 142089 w 138580"/>
                <a:gd name="connsiteY5" fmla="*/ 20717 h 88187"/>
                <a:gd name="connsiteX6" fmla="*/ 14847 w 138580"/>
                <a:gd name="connsiteY6" fmla="*/ 90008 h 88187"/>
                <a:gd name="connsiteX7" fmla="*/ 8547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8547" y="88748"/>
                  </a:moveTo>
                  <a:cubicBezTo>
                    <a:pt x="4768" y="88748"/>
                    <a:pt x="2248" y="86228"/>
                    <a:pt x="988" y="82448"/>
                  </a:cubicBezTo>
                  <a:cubicBezTo>
                    <a:pt x="-1531" y="77409"/>
                    <a:pt x="988" y="71110"/>
                    <a:pt x="6028" y="68590"/>
                  </a:cubicBezTo>
                  <a:cubicBezTo>
                    <a:pt x="48862" y="49693"/>
                    <a:pt x="90436" y="27016"/>
                    <a:pt x="130750" y="1820"/>
                  </a:cubicBezTo>
                  <a:cubicBezTo>
                    <a:pt x="135790" y="-1960"/>
                    <a:pt x="142089" y="560"/>
                    <a:pt x="145868" y="5599"/>
                  </a:cubicBezTo>
                  <a:cubicBezTo>
                    <a:pt x="149648" y="10638"/>
                    <a:pt x="147128" y="16938"/>
                    <a:pt x="142089" y="20717"/>
                  </a:cubicBezTo>
                  <a:cubicBezTo>
                    <a:pt x="101774" y="45914"/>
                    <a:pt x="58940" y="69850"/>
                    <a:pt x="14847" y="90008"/>
                  </a:cubicBezTo>
                  <a:cubicBezTo>
                    <a:pt x="12327" y="88748"/>
                    <a:pt x="11067" y="90008"/>
                    <a:pt x="8547" y="887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/>
            <p:cNvSpPr/>
            <p:nvPr/>
          </p:nvSpPr>
          <p:spPr>
            <a:xfrm>
              <a:off x="1924291" y="3414967"/>
              <a:ext cx="138581" cy="201572"/>
            </a:xfrm>
            <a:custGeom>
              <a:avLst/>
              <a:gdLst>
                <a:gd name="connsiteX0" fmla="*/ 127417 w 138580"/>
                <a:gd name="connsiteY0" fmla="*/ 209305 h 201571"/>
                <a:gd name="connsiteX1" fmla="*/ 118598 w 138580"/>
                <a:gd name="connsiteY1" fmla="*/ 203006 h 201571"/>
                <a:gd name="connsiteX2" fmla="*/ 2694 w 138580"/>
                <a:gd name="connsiteY2" fmla="*/ 17812 h 201571"/>
                <a:gd name="connsiteX3" fmla="*/ 3954 w 138580"/>
                <a:gd name="connsiteY3" fmla="*/ 2694 h 201571"/>
                <a:gd name="connsiteX4" fmla="*/ 19072 w 138580"/>
                <a:gd name="connsiteY4" fmla="*/ 3954 h 201571"/>
                <a:gd name="connsiteX5" fmla="*/ 138755 w 138580"/>
                <a:gd name="connsiteY5" fmla="*/ 195447 h 201571"/>
                <a:gd name="connsiteX6" fmla="*/ 132456 w 138580"/>
                <a:gd name="connsiteY6" fmla="*/ 209305 h 201571"/>
                <a:gd name="connsiteX7" fmla="*/ 127417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7417" y="209305"/>
                  </a:moveTo>
                  <a:cubicBezTo>
                    <a:pt x="123637" y="209305"/>
                    <a:pt x="121117" y="206785"/>
                    <a:pt x="118598" y="203006"/>
                  </a:cubicBezTo>
                  <a:cubicBezTo>
                    <a:pt x="90882" y="134976"/>
                    <a:pt x="51827" y="71984"/>
                    <a:pt x="2694" y="17812"/>
                  </a:cubicBezTo>
                  <a:cubicBezTo>
                    <a:pt x="-1085" y="14032"/>
                    <a:pt x="-1085" y="6473"/>
                    <a:pt x="3954" y="2694"/>
                  </a:cubicBezTo>
                  <a:cubicBezTo>
                    <a:pt x="7733" y="-1085"/>
                    <a:pt x="15292" y="-1085"/>
                    <a:pt x="19072" y="3954"/>
                  </a:cubicBezTo>
                  <a:cubicBezTo>
                    <a:pt x="70724" y="60646"/>
                    <a:pt x="111039" y="124897"/>
                    <a:pt x="138755" y="195447"/>
                  </a:cubicBezTo>
                  <a:cubicBezTo>
                    <a:pt x="141275" y="200486"/>
                    <a:pt x="138755" y="206785"/>
                    <a:pt x="132456" y="209305"/>
                  </a:cubicBezTo>
                  <a:cubicBezTo>
                    <a:pt x="131196" y="209305"/>
                    <a:pt x="128676" y="209305"/>
                    <a:pt x="127417" y="2093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/>
            <p:cNvSpPr/>
            <p:nvPr/>
          </p:nvSpPr>
          <p:spPr>
            <a:xfrm>
              <a:off x="2030585" y="3433073"/>
              <a:ext cx="62991" cy="125982"/>
            </a:xfrm>
            <a:custGeom>
              <a:avLst/>
              <a:gdLst>
                <a:gd name="connsiteX0" fmla="*/ 53878 w 62991"/>
                <a:gd name="connsiteY0" fmla="*/ 126948 h 125982"/>
                <a:gd name="connsiteX1" fmla="*/ 45059 w 62991"/>
                <a:gd name="connsiteY1" fmla="*/ 120649 h 125982"/>
                <a:gd name="connsiteX2" fmla="*/ 966 w 62991"/>
                <a:gd name="connsiteY2" fmla="*/ 14824 h 125982"/>
                <a:gd name="connsiteX3" fmla="*/ 7265 w 62991"/>
                <a:gd name="connsiteY3" fmla="*/ 966 h 125982"/>
                <a:gd name="connsiteX4" fmla="*/ 21123 w 62991"/>
                <a:gd name="connsiteY4" fmla="*/ 7265 h 125982"/>
                <a:gd name="connsiteX5" fmla="*/ 65216 w 62991"/>
                <a:gd name="connsiteY5" fmla="*/ 113090 h 125982"/>
                <a:gd name="connsiteX6" fmla="*/ 58917 w 62991"/>
                <a:gd name="connsiteY6" fmla="*/ 126948 h 125982"/>
                <a:gd name="connsiteX7" fmla="*/ 53878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53878" y="126948"/>
                  </a:moveTo>
                  <a:cubicBezTo>
                    <a:pt x="50099" y="126948"/>
                    <a:pt x="47579" y="124428"/>
                    <a:pt x="45059" y="120649"/>
                  </a:cubicBezTo>
                  <a:lnTo>
                    <a:pt x="966" y="14824"/>
                  </a:lnTo>
                  <a:cubicBezTo>
                    <a:pt x="-1554" y="9784"/>
                    <a:pt x="966" y="3485"/>
                    <a:pt x="7265" y="966"/>
                  </a:cubicBezTo>
                  <a:cubicBezTo>
                    <a:pt x="12304" y="-1554"/>
                    <a:pt x="18603" y="966"/>
                    <a:pt x="21123" y="7265"/>
                  </a:cubicBezTo>
                  <a:lnTo>
                    <a:pt x="65216" y="113090"/>
                  </a:lnTo>
                  <a:cubicBezTo>
                    <a:pt x="67736" y="118129"/>
                    <a:pt x="65216" y="124428"/>
                    <a:pt x="58917" y="126948"/>
                  </a:cubicBezTo>
                  <a:cubicBezTo>
                    <a:pt x="57658" y="126948"/>
                    <a:pt x="56398" y="126948"/>
                    <a:pt x="53878" y="1269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/>
            <p:cNvSpPr/>
            <p:nvPr/>
          </p:nvSpPr>
          <p:spPr>
            <a:xfrm>
              <a:off x="2103186" y="3339874"/>
              <a:ext cx="138581" cy="113384"/>
            </a:xfrm>
            <a:custGeom>
              <a:avLst/>
              <a:gdLst>
                <a:gd name="connsiteX0" fmla="*/ 8993 w 138580"/>
                <a:gd name="connsiteY0" fmla="*/ 120621 h 113384"/>
                <a:gd name="connsiteX1" fmla="*/ 2694 w 138580"/>
                <a:gd name="connsiteY1" fmla="*/ 116841 h 113384"/>
                <a:gd name="connsiteX2" fmla="*/ 3954 w 138580"/>
                <a:gd name="connsiteY2" fmla="*/ 101724 h 113384"/>
                <a:gd name="connsiteX3" fmla="*/ 122377 w 138580"/>
                <a:gd name="connsiteY3" fmla="*/ 2198 h 113384"/>
                <a:gd name="connsiteX4" fmla="*/ 137495 w 138580"/>
                <a:gd name="connsiteY4" fmla="*/ 4717 h 113384"/>
                <a:gd name="connsiteX5" fmla="*/ 134976 w 138580"/>
                <a:gd name="connsiteY5" fmla="*/ 19835 h 113384"/>
                <a:gd name="connsiteX6" fmla="*/ 17812 w 138580"/>
                <a:gd name="connsiteY6" fmla="*/ 118101 h 113384"/>
                <a:gd name="connsiteX7" fmla="*/ 8993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8993" y="120621"/>
                  </a:moveTo>
                  <a:cubicBezTo>
                    <a:pt x="6474" y="120621"/>
                    <a:pt x="3954" y="119361"/>
                    <a:pt x="2694" y="116841"/>
                  </a:cubicBezTo>
                  <a:cubicBezTo>
                    <a:pt x="-1085" y="113062"/>
                    <a:pt x="-1085" y="105503"/>
                    <a:pt x="3954" y="101724"/>
                  </a:cubicBezTo>
                  <a:cubicBezTo>
                    <a:pt x="41749" y="66448"/>
                    <a:pt x="82063" y="33693"/>
                    <a:pt x="122377" y="2198"/>
                  </a:cubicBezTo>
                  <a:cubicBezTo>
                    <a:pt x="127417" y="-1582"/>
                    <a:pt x="133716" y="-322"/>
                    <a:pt x="137495" y="4717"/>
                  </a:cubicBezTo>
                  <a:cubicBezTo>
                    <a:pt x="141275" y="9756"/>
                    <a:pt x="140015" y="16056"/>
                    <a:pt x="134976" y="19835"/>
                  </a:cubicBezTo>
                  <a:cubicBezTo>
                    <a:pt x="94661" y="50071"/>
                    <a:pt x="55607" y="84086"/>
                    <a:pt x="17812" y="118101"/>
                  </a:cubicBezTo>
                  <a:cubicBezTo>
                    <a:pt x="15292" y="120621"/>
                    <a:pt x="11513" y="120621"/>
                    <a:pt x="8993" y="12062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/>
            <p:cNvSpPr/>
            <p:nvPr/>
          </p:nvSpPr>
          <p:spPr>
            <a:xfrm>
              <a:off x="2104446" y="3298300"/>
              <a:ext cx="113384" cy="88188"/>
            </a:xfrm>
            <a:custGeom>
              <a:avLst/>
              <a:gdLst>
                <a:gd name="connsiteX0" fmla="*/ 8993 w 113384"/>
                <a:gd name="connsiteY0" fmla="*/ 92905 h 88187"/>
                <a:gd name="connsiteX1" fmla="*/ 2694 w 113384"/>
                <a:gd name="connsiteY1" fmla="*/ 89125 h 88187"/>
                <a:gd name="connsiteX2" fmla="*/ 3954 w 113384"/>
                <a:gd name="connsiteY2" fmla="*/ 74007 h 88187"/>
                <a:gd name="connsiteX3" fmla="*/ 97181 w 113384"/>
                <a:gd name="connsiteY3" fmla="*/ 2198 h 88187"/>
                <a:gd name="connsiteX4" fmla="*/ 112299 w 113384"/>
                <a:gd name="connsiteY4" fmla="*/ 4717 h 88187"/>
                <a:gd name="connsiteX5" fmla="*/ 109779 w 113384"/>
                <a:gd name="connsiteY5" fmla="*/ 19835 h 88187"/>
                <a:gd name="connsiteX6" fmla="*/ 19072 w 113384"/>
                <a:gd name="connsiteY6" fmla="*/ 90385 h 88187"/>
                <a:gd name="connsiteX7" fmla="*/ 899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8993" y="92905"/>
                  </a:moveTo>
                  <a:cubicBezTo>
                    <a:pt x="6474" y="92905"/>
                    <a:pt x="3954" y="91645"/>
                    <a:pt x="2694" y="89125"/>
                  </a:cubicBezTo>
                  <a:cubicBezTo>
                    <a:pt x="-1085" y="85346"/>
                    <a:pt x="-1085" y="77787"/>
                    <a:pt x="3954" y="74007"/>
                  </a:cubicBezTo>
                  <a:cubicBezTo>
                    <a:pt x="32930" y="47551"/>
                    <a:pt x="64425" y="23615"/>
                    <a:pt x="97181" y="2198"/>
                  </a:cubicBezTo>
                  <a:cubicBezTo>
                    <a:pt x="102220" y="-1582"/>
                    <a:pt x="108519" y="-322"/>
                    <a:pt x="112299" y="4717"/>
                  </a:cubicBezTo>
                  <a:cubicBezTo>
                    <a:pt x="116078" y="9756"/>
                    <a:pt x="114818" y="16056"/>
                    <a:pt x="109779" y="19835"/>
                  </a:cubicBezTo>
                  <a:cubicBezTo>
                    <a:pt x="78283" y="41252"/>
                    <a:pt x="48048" y="63929"/>
                    <a:pt x="19072" y="90385"/>
                  </a:cubicBezTo>
                  <a:cubicBezTo>
                    <a:pt x="15292" y="92905"/>
                    <a:pt x="12773" y="92905"/>
                    <a:pt x="8993" y="929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/>
            <p:cNvSpPr/>
            <p:nvPr/>
          </p:nvSpPr>
          <p:spPr>
            <a:xfrm>
              <a:off x="1626133" y="3389945"/>
              <a:ext cx="415742" cy="1222029"/>
            </a:xfrm>
            <a:custGeom>
              <a:avLst/>
              <a:gdLst>
                <a:gd name="connsiteX0" fmla="*/ 342426 w 415741"/>
                <a:gd name="connsiteY0" fmla="*/ 835263 h 1222028"/>
                <a:gd name="connsiteX1" fmla="*/ 268097 w 415741"/>
                <a:gd name="connsiteY1" fmla="*/ 0 h 1222028"/>
                <a:gd name="connsiteX2" fmla="*/ 225263 w 415741"/>
                <a:gd name="connsiteY2" fmla="*/ 243146 h 1222028"/>
                <a:gd name="connsiteX3" fmla="*/ 14872 w 415741"/>
                <a:gd name="connsiteY3" fmla="*/ 571960 h 1222028"/>
                <a:gd name="connsiteX4" fmla="*/ 47628 w 415741"/>
                <a:gd name="connsiteY4" fmla="*/ 976363 h 1222028"/>
                <a:gd name="connsiteX5" fmla="*/ 213924 w 415741"/>
                <a:gd name="connsiteY5" fmla="*/ 1220769 h 1222028"/>
                <a:gd name="connsiteX6" fmla="*/ 375182 w 415741"/>
                <a:gd name="connsiteY6" fmla="*/ 1131322 h 1222028"/>
                <a:gd name="connsiteX7" fmla="*/ 342426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342426" y="835263"/>
                  </a:moveTo>
                  <a:cubicBezTo>
                    <a:pt x="454551" y="549283"/>
                    <a:pt x="469668" y="212910"/>
                    <a:pt x="268097" y="0"/>
                  </a:cubicBezTo>
                  <a:cubicBezTo>
                    <a:pt x="234081" y="83148"/>
                    <a:pt x="222743" y="182674"/>
                    <a:pt x="225263" y="243146"/>
                  </a:cubicBezTo>
                  <a:cubicBezTo>
                    <a:pt x="230302" y="389286"/>
                    <a:pt x="66525" y="396844"/>
                    <a:pt x="14872" y="571960"/>
                  </a:cubicBezTo>
                  <a:cubicBezTo>
                    <a:pt x="-36781" y="747075"/>
                    <a:pt x="64005" y="791169"/>
                    <a:pt x="47628" y="976363"/>
                  </a:cubicBezTo>
                  <a:cubicBezTo>
                    <a:pt x="31250" y="1161557"/>
                    <a:pt x="119438" y="1206911"/>
                    <a:pt x="213924" y="1220769"/>
                  </a:cubicBezTo>
                  <a:cubicBezTo>
                    <a:pt x="290774" y="1232107"/>
                    <a:pt x="349985" y="1201871"/>
                    <a:pt x="375182" y="1131322"/>
                  </a:cubicBezTo>
                  <a:cubicBezTo>
                    <a:pt x="339907" y="1028016"/>
                    <a:pt x="303372" y="929750"/>
                    <a:pt x="342426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/>
            <p:cNvSpPr/>
            <p:nvPr/>
          </p:nvSpPr>
          <p:spPr>
            <a:xfrm>
              <a:off x="1116573" y="2930229"/>
              <a:ext cx="806287" cy="1751154"/>
            </a:xfrm>
            <a:custGeom>
              <a:avLst/>
              <a:gdLst>
                <a:gd name="connsiteX0" fmla="*/ 531991 w 806286"/>
                <a:gd name="connsiteY0" fmla="*/ 1748516 h 1751154"/>
                <a:gd name="connsiteX1" fmla="*/ 744901 w 806286"/>
                <a:gd name="connsiteY1" fmla="*/ 1436079 h 1751154"/>
                <a:gd name="connsiteX2" fmla="*/ 787735 w 806286"/>
                <a:gd name="connsiteY2" fmla="*/ 918292 h 1751154"/>
                <a:gd name="connsiteX3" fmla="*/ 519393 w 806286"/>
                <a:gd name="connsiteY3" fmla="*/ 496251 h 1751154"/>
                <a:gd name="connsiteX4" fmla="*/ 433725 w 806286"/>
                <a:gd name="connsiteY4" fmla="*/ 123343 h 1751154"/>
                <a:gd name="connsiteX5" fmla="*/ 16724 w 806286"/>
                <a:gd name="connsiteY5" fmla="*/ 319876 h 1751154"/>
                <a:gd name="connsiteX6" fmla="*/ 160343 w 806286"/>
                <a:gd name="connsiteY6" fmla="*/ 694043 h 1751154"/>
                <a:gd name="connsiteX7" fmla="*/ 155304 w 806286"/>
                <a:gd name="connsiteY7" fmla="*/ 1084589 h 1751154"/>
                <a:gd name="connsiteX8" fmla="*/ 310262 w 806286"/>
                <a:gd name="connsiteY8" fmla="*/ 1485212 h 1751154"/>
                <a:gd name="connsiteX9" fmla="*/ 531991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531991" y="1748516"/>
                  </a:moveTo>
                  <a:cubicBezTo>
                    <a:pt x="652934" y="1730878"/>
                    <a:pt x="766318" y="1672926"/>
                    <a:pt x="744901" y="1436079"/>
                  </a:cubicBezTo>
                  <a:cubicBezTo>
                    <a:pt x="723484" y="1199233"/>
                    <a:pt x="853246" y="1142541"/>
                    <a:pt x="787735" y="918292"/>
                  </a:cubicBezTo>
                  <a:cubicBezTo>
                    <a:pt x="722225" y="692783"/>
                    <a:pt x="513094" y="683965"/>
                    <a:pt x="519393" y="496251"/>
                  </a:cubicBezTo>
                  <a:cubicBezTo>
                    <a:pt x="521913" y="404284"/>
                    <a:pt x="503015" y="237987"/>
                    <a:pt x="433725" y="123343"/>
                  </a:cubicBezTo>
                  <a:cubicBezTo>
                    <a:pt x="317821" y="-69410"/>
                    <a:pt x="-86582" y="-59331"/>
                    <a:pt x="16724" y="319876"/>
                  </a:cubicBezTo>
                  <a:cubicBezTo>
                    <a:pt x="51999" y="449638"/>
                    <a:pt x="155304" y="521448"/>
                    <a:pt x="160343" y="694043"/>
                  </a:cubicBezTo>
                  <a:cubicBezTo>
                    <a:pt x="164123" y="814986"/>
                    <a:pt x="99872" y="867899"/>
                    <a:pt x="155304" y="1084589"/>
                  </a:cubicBezTo>
                  <a:cubicBezTo>
                    <a:pt x="205697" y="1281121"/>
                    <a:pt x="326640" y="1291200"/>
                    <a:pt x="310262" y="1485212"/>
                  </a:cubicBezTo>
                  <a:cubicBezTo>
                    <a:pt x="293885" y="1677965"/>
                    <a:pt x="388371" y="1768672"/>
                    <a:pt x="531991" y="174851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/>
            <p:cNvSpPr/>
            <p:nvPr/>
          </p:nvSpPr>
          <p:spPr>
            <a:xfrm>
              <a:off x="1434394" y="3955606"/>
              <a:ext cx="478733" cy="718099"/>
            </a:xfrm>
            <a:custGeom>
              <a:avLst/>
              <a:gdLst>
                <a:gd name="connsiteX0" fmla="*/ 488811 w 478732"/>
                <a:gd name="connsiteY0" fmla="*/ 0 h 718099"/>
                <a:gd name="connsiteX1" fmla="*/ 0 w 478732"/>
                <a:gd name="connsiteY1" fmla="*/ 580778 h 718099"/>
                <a:gd name="connsiteX2" fmla="*/ 215430 w 478732"/>
                <a:gd name="connsiteY2" fmla="*/ 723139 h 718099"/>
                <a:gd name="connsiteX3" fmla="*/ 428340 w 478732"/>
                <a:gd name="connsiteY3" fmla="*/ 410702 h 718099"/>
                <a:gd name="connsiteX4" fmla="*/ 48881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488811" y="0"/>
                  </a:moveTo>
                  <a:cubicBezTo>
                    <a:pt x="282200" y="122203"/>
                    <a:pt x="115904" y="321255"/>
                    <a:pt x="0" y="580778"/>
                  </a:cubicBezTo>
                  <a:cubicBezTo>
                    <a:pt x="25196" y="690383"/>
                    <a:pt x="105825" y="739516"/>
                    <a:pt x="215430" y="723139"/>
                  </a:cubicBezTo>
                  <a:cubicBezTo>
                    <a:pt x="336373" y="705501"/>
                    <a:pt x="449757" y="647549"/>
                    <a:pt x="428340" y="410702"/>
                  </a:cubicBezTo>
                  <a:cubicBezTo>
                    <a:pt x="410702" y="216690"/>
                    <a:pt x="493851" y="143620"/>
                    <a:pt x="48881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/>
            <p:cNvSpPr/>
            <p:nvPr/>
          </p:nvSpPr>
          <p:spPr>
            <a:xfrm>
              <a:off x="1290980" y="2946172"/>
              <a:ext cx="390545" cy="1675565"/>
            </a:xfrm>
            <a:custGeom>
              <a:avLst/>
              <a:gdLst>
                <a:gd name="connsiteX0" fmla="*/ 385300 w 390545"/>
                <a:gd name="connsiteY0" fmla="*/ 1685959 h 1675564"/>
                <a:gd name="connsiteX1" fmla="*/ 376482 w 390545"/>
                <a:gd name="connsiteY1" fmla="*/ 1680919 h 1675564"/>
                <a:gd name="connsiteX2" fmla="*/ 328608 w 390545"/>
                <a:gd name="connsiteY2" fmla="*/ 1461710 h 1675564"/>
                <a:gd name="connsiteX3" fmla="*/ 327349 w 390545"/>
                <a:gd name="connsiteY3" fmla="*/ 1354625 h 1675564"/>
                <a:gd name="connsiteX4" fmla="*/ 251759 w 390545"/>
                <a:gd name="connsiteY4" fmla="*/ 801563 h 1675564"/>
                <a:gd name="connsiteX5" fmla="*/ 153493 w 390545"/>
                <a:gd name="connsiteY5" fmla="*/ 618888 h 1675564"/>
                <a:gd name="connsiteX6" fmla="*/ 50187 w 390545"/>
                <a:gd name="connsiteY6" fmla="*/ 423616 h 1675564"/>
                <a:gd name="connsiteX7" fmla="*/ 17432 w 390545"/>
                <a:gd name="connsiteY7" fmla="*/ 7874 h 1675564"/>
                <a:gd name="connsiteX8" fmla="*/ 30030 w 390545"/>
                <a:gd name="connsiteY8" fmla="*/ 315 h 1675564"/>
                <a:gd name="connsiteX9" fmla="*/ 37589 w 390545"/>
                <a:gd name="connsiteY9" fmla="*/ 12913 h 1675564"/>
                <a:gd name="connsiteX10" fmla="*/ 69085 w 390545"/>
                <a:gd name="connsiteY10" fmla="*/ 416057 h 1675564"/>
                <a:gd name="connsiteX11" fmla="*/ 171130 w 390545"/>
                <a:gd name="connsiteY11" fmla="*/ 608810 h 1675564"/>
                <a:gd name="connsiteX12" fmla="*/ 270656 w 390545"/>
                <a:gd name="connsiteY12" fmla="*/ 794004 h 1675564"/>
                <a:gd name="connsiteX13" fmla="*/ 347506 w 390545"/>
                <a:gd name="connsiteY13" fmla="*/ 1354625 h 1675564"/>
                <a:gd name="connsiteX14" fmla="*/ 348766 w 390545"/>
                <a:gd name="connsiteY14" fmla="*/ 1460450 h 1675564"/>
                <a:gd name="connsiteX15" fmla="*/ 392859 w 390545"/>
                <a:gd name="connsiteY15" fmla="*/ 1668321 h 1675564"/>
                <a:gd name="connsiteX16" fmla="*/ 389080 w 390545"/>
                <a:gd name="connsiteY16" fmla="*/ 1683439 h 1675564"/>
                <a:gd name="connsiteX17" fmla="*/ 385300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385300" y="1685959"/>
                  </a:moveTo>
                  <a:cubicBezTo>
                    <a:pt x="381521" y="1685959"/>
                    <a:pt x="379001" y="1684699"/>
                    <a:pt x="376482" y="1680919"/>
                  </a:cubicBezTo>
                  <a:cubicBezTo>
                    <a:pt x="336167" y="1616668"/>
                    <a:pt x="331128" y="1537300"/>
                    <a:pt x="328608" y="1461710"/>
                  </a:cubicBezTo>
                  <a:cubicBezTo>
                    <a:pt x="327349" y="1426435"/>
                    <a:pt x="327349" y="1391160"/>
                    <a:pt x="327349" y="1354625"/>
                  </a:cubicBezTo>
                  <a:cubicBezTo>
                    <a:pt x="326089" y="1166911"/>
                    <a:pt x="323569" y="974158"/>
                    <a:pt x="251759" y="801563"/>
                  </a:cubicBezTo>
                  <a:cubicBezTo>
                    <a:pt x="225303" y="738571"/>
                    <a:pt x="188768" y="676840"/>
                    <a:pt x="153493" y="618888"/>
                  </a:cubicBezTo>
                  <a:cubicBezTo>
                    <a:pt x="115698" y="557157"/>
                    <a:pt x="77904" y="491646"/>
                    <a:pt x="50187" y="423616"/>
                  </a:cubicBezTo>
                  <a:cubicBezTo>
                    <a:pt x="-2725" y="292594"/>
                    <a:pt x="-14064" y="145195"/>
                    <a:pt x="17432" y="7874"/>
                  </a:cubicBezTo>
                  <a:cubicBezTo>
                    <a:pt x="18692" y="1575"/>
                    <a:pt x="24991" y="-945"/>
                    <a:pt x="30030" y="315"/>
                  </a:cubicBezTo>
                  <a:cubicBezTo>
                    <a:pt x="36329" y="1575"/>
                    <a:pt x="38849" y="7874"/>
                    <a:pt x="37589" y="12913"/>
                  </a:cubicBezTo>
                  <a:cubicBezTo>
                    <a:pt x="7353" y="146454"/>
                    <a:pt x="18692" y="290074"/>
                    <a:pt x="69085" y="416057"/>
                  </a:cubicBezTo>
                  <a:cubicBezTo>
                    <a:pt x="95541" y="482827"/>
                    <a:pt x="134596" y="547078"/>
                    <a:pt x="171130" y="608810"/>
                  </a:cubicBezTo>
                  <a:cubicBezTo>
                    <a:pt x="206406" y="668021"/>
                    <a:pt x="242940" y="729753"/>
                    <a:pt x="270656" y="794004"/>
                  </a:cubicBezTo>
                  <a:cubicBezTo>
                    <a:pt x="343726" y="970379"/>
                    <a:pt x="346246" y="1165652"/>
                    <a:pt x="347506" y="1354625"/>
                  </a:cubicBezTo>
                  <a:cubicBezTo>
                    <a:pt x="347506" y="1389900"/>
                    <a:pt x="348766" y="1425175"/>
                    <a:pt x="348766" y="1460450"/>
                  </a:cubicBezTo>
                  <a:cubicBezTo>
                    <a:pt x="350025" y="1532260"/>
                    <a:pt x="355065" y="1607849"/>
                    <a:pt x="392859" y="1668321"/>
                  </a:cubicBezTo>
                  <a:cubicBezTo>
                    <a:pt x="395379" y="1673360"/>
                    <a:pt x="394119" y="1679659"/>
                    <a:pt x="389080" y="1683439"/>
                  </a:cubicBezTo>
                  <a:cubicBezTo>
                    <a:pt x="389080" y="1685959"/>
                    <a:pt x="386560" y="1685959"/>
                    <a:pt x="385300" y="16859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/>
            <p:cNvSpPr/>
            <p:nvPr/>
          </p:nvSpPr>
          <p:spPr>
            <a:xfrm>
              <a:off x="1616131" y="3810552"/>
              <a:ext cx="251965" cy="327554"/>
            </a:xfrm>
            <a:custGeom>
              <a:avLst/>
              <a:gdLst>
                <a:gd name="connsiteX0" fmla="*/ 11016 w 251964"/>
                <a:gd name="connsiteY0" fmla="*/ 332768 h 327554"/>
                <a:gd name="connsiteX1" fmla="*/ 4717 w 251964"/>
                <a:gd name="connsiteY1" fmla="*/ 330248 h 327554"/>
                <a:gd name="connsiteX2" fmla="*/ 2198 w 251964"/>
                <a:gd name="connsiteY2" fmla="*/ 315130 h 327554"/>
                <a:gd name="connsiteX3" fmla="*/ 235265 w 251964"/>
                <a:gd name="connsiteY3" fmla="*/ 3954 h 327554"/>
                <a:gd name="connsiteX4" fmla="*/ 250383 w 251964"/>
                <a:gd name="connsiteY4" fmla="*/ 2694 h 327554"/>
                <a:gd name="connsiteX5" fmla="*/ 251643 w 251964"/>
                <a:gd name="connsiteY5" fmla="*/ 17812 h 327554"/>
                <a:gd name="connsiteX6" fmla="*/ 19835 w 251964"/>
                <a:gd name="connsiteY6" fmla="*/ 327728 h 327554"/>
                <a:gd name="connsiteX7" fmla="*/ 11016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11016" y="332768"/>
                  </a:moveTo>
                  <a:cubicBezTo>
                    <a:pt x="8497" y="332768"/>
                    <a:pt x="7237" y="331508"/>
                    <a:pt x="4717" y="330248"/>
                  </a:cubicBezTo>
                  <a:cubicBezTo>
                    <a:pt x="-322" y="326469"/>
                    <a:pt x="-1582" y="320170"/>
                    <a:pt x="2198" y="315130"/>
                  </a:cubicBezTo>
                  <a:cubicBezTo>
                    <a:pt x="76527" y="209305"/>
                    <a:pt x="154636" y="104740"/>
                    <a:pt x="235265" y="3954"/>
                  </a:cubicBezTo>
                  <a:cubicBezTo>
                    <a:pt x="239044" y="-1085"/>
                    <a:pt x="245343" y="-1085"/>
                    <a:pt x="250383" y="2694"/>
                  </a:cubicBezTo>
                  <a:cubicBezTo>
                    <a:pt x="255422" y="6474"/>
                    <a:pt x="255422" y="12773"/>
                    <a:pt x="251643" y="17812"/>
                  </a:cubicBezTo>
                  <a:cubicBezTo>
                    <a:pt x="171014" y="118598"/>
                    <a:pt x="94165" y="223163"/>
                    <a:pt x="19835" y="327728"/>
                  </a:cubicBezTo>
                  <a:cubicBezTo>
                    <a:pt x="17315" y="330248"/>
                    <a:pt x="14796" y="332768"/>
                    <a:pt x="11016" y="33276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/>
            <p:cNvSpPr/>
            <p:nvPr/>
          </p:nvSpPr>
          <p:spPr>
            <a:xfrm>
              <a:off x="1617391" y="3956551"/>
              <a:ext cx="226768" cy="264563"/>
            </a:xfrm>
            <a:custGeom>
              <a:avLst/>
              <a:gdLst>
                <a:gd name="connsiteX0" fmla="*/ 11016 w 226768"/>
                <a:gd name="connsiteY0" fmla="*/ 269917 h 264562"/>
                <a:gd name="connsiteX1" fmla="*/ 4717 w 226768"/>
                <a:gd name="connsiteY1" fmla="*/ 267398 h 264562"/>
                <a:gd name="connsiteX2" fmla="*/ 2198 w 226768"/>
                <a:gd name="connsiteY2" fmla="*/ 252279 h 264562"/>
                <a:gd name="connsiteX3" fmla="*/ 210068 w 226768"/>
                <a:gd name="connsiteY3" fmla="*/ 2835 h 264562"/>
                <a:gd name="connsiteX4" fmla="*/ 225186 w 226768"/>
                <a:gd name="connsiteY4" fmla="*/ 2835 h 264562"/>
                <a:gd name="connsiteX5" fmla="*/ 225186 w 226768"/>
                <a:gd name="connsiteY5" fmla="*/ 17952 h 264562"/>
                <a:gd name="connsiteX6" fmla="*/ 18575 w 226768"/>
                <a:gd name="connsiteY6" fmla="*/ 264878 h 264562"/>
                <a:gd name="connsiteX7" fmla="*/ 11016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11016" y="269917"/>
                  </a:moveTo>
                  <a:cubicBezTo>
                    <a:pt x="8497" y="269917"/>
                    <a:pt x="7237" y="268657"/>
                    <a:pt x="4717" y="267398"/>
                  </a:cubicBezTo>
                  <a:cubicBezTo>
                    <a:pt x="-322" y="263618"/>
                    <a:pt x="-1582" y="257319"/>
                    <a:pt x="2198" y="252279"/>
                  </a:cubicBezTo>
                  <a:cubicBezTo>
                    <a:pt x="66449" y="165352"/>
                    <a:pt x="135739" y="80943"/>
                    <a:pt x="210068" y="2835"/>
                  </a:cubicBezTo>
                  <a:cubicBezTo>
                    <a:pt x="213848" y="-945"/>
                    <a:pt x="221407" y="-945"/>
                    <a:pt x="225186" y="2835"/>
                  </a:cubicBezTo>
                  <a:cubicBezTo>
                    <a:pt x="228966" y="6614"/>
                    <a:pt x="228966" y="14173"/>
                    <a:pt x="225186" y="17952"/>
                  </a:cubicBezTo>
                  <a:cubicBezTo>
                    <a:pt x="150857" y="94802"/>
                    <a:pt x="81566" y="177950"/>
                    <a:pt x="18575" y="264878"/>
                  </a:cubicBezTo>
                  <a:cubicBezTo>
                    <a:pt x="17315" y="268657"/>
                    <a:pt x="13536" y="269917"/>
                    <a:pt x="11016" y="26991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/>
            <p:cNvSpPr/>
            <p:nvPr/>
          </p:nvSpPr>
          <p:spPr>
            <a:xfrm>
              <a:off x="1619911" y="4197317"/>
              <a:ext cx="151179" cy="163777"/>
            </a:xfrm>
            <a:custGeom>
              <a:avLst/>
              <a:gdLst>
                <a:gd name="connsiteX0" fmla="*/ 11016 w 151178"/>
                <a:gd name="connsiteY0" fmla="*/ 168991 h 163777"/>
                <a:gd name="connsiteX1" fmla="*/ 4717 w 151178"/>
                <a:gd name="connsiteY1" fmla="*/ 166471 h 163777"/>
                <a:gd name="connsiteX2" fmla="*/ 2198 w 151178"/>
                <a:gd name="connsiteY2" fmla="*/ 151353 h 163777"/>
                <a:gd name="connsiteX3" fmla="*/ 138258 w 151178"/>
                <a:gd name="connsiteY3" fmla="*/ 2694 h 163777"/>
                <a:gd name="connsiteX4" fmla="*/ 153376 w 151178"/>
                <a:gd name="connsiteY4" fmla="*/ 3954 h 163777"/>
                <a:gd name="connsiteX5" fmla="*/ 152117 w 151178"/>
                <a:gd name="connsiteY5" fmla="*/ 19072 h 163777"/>
                <a:gd name="connsiteX6" fmla="*/ 19835 w 151178"/>
                <a:gd name="connsiteY6" fmla="*/ 163951 h 163777"/>
                <a:gd name="connsiteX7" fmla="*/ 11016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1016" y="168991"/>
                  </a:moveTo>
                  <a:cubicBezTo>
                    <a:pt x="8497" y="168991"/>
                    <a:pt x="7237" y="167731"/>
                    <a:pt x="4717" y="166471"/>
                  </a:cubicBezTo>
                  <a:cubicBezTo>
                    <a:pt x="-322" y="162692"/>
                    <a:pt x="-1582" y="156392"/>
                    <a:pt x="2198" y="151353"/>
                  </a:cubicBezTo>
                  <a:cubicBezTo>
                    <a:pt x="41252" y="95921"/>
                    <a:pt x="86606" y="45528"/>
                    <a:pt x="138258" y="2694"/>
                  </a:cubicBezTo>
                  <a:cubicBezTo>
                    <a:pt x="143298" y="-1085"/>
                    <a:pt x="149597" y="-1085"/>
                    <a:pt x="153376" y="3954"/>
                  </a:cubicBezTo>
                  <a:cubicBezTo>
                    <a:pt x="157156" y="8993"/>
                    <a:pt x="157156" y="15292"/>
                    <a:pt x="152117" y="19072"/>
                  </a:cubicBezTo>
                  <a:cubicBezTo>
                    <a:pt x="101724" y="61906"/>
                    <a:pt x="57630" y="109779"/>
                    <a:pt x="19835" y="163951"/>
                  </a:cubicBezTo>
                  <a:cubicBezTo>
                    <a:pt x="17315" y="167731"/>
                    <a:pt x="13536" y="168991"/>
                    <a:pt x="11016" y="16899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/>
            <p:cNvSpPr/>
            <p:nvPr/>
          </p:nvSpPr>
          <p:spPr>
            <a:xfrm>
              <a:off x="1293752" y="3832601"/>
              <a:ext cx="327554" cy="151179"/>
            </a:xfrm>
            <a:custGeom>
              <a:avLst/>
              <a:gdLst>
                <a:gd name="connsiteX0" fmla="*/ 322057 w 327554"/>
                <a:gd name="connsiteY0" fmla="*/ 162059 h 151178"/>
                <a:gd name="connsiteX1" fmla="*/ 317018 w 327554"/>
                <a:gd name="connsiteY1" fmla="*/ 160799 h 151178"/>
                <a:gd name="connsiteX2" fmla="*/ 7101 w 327554"/>
                <a:gd name="connsiteY2" fmla="*/ 20959 h 151178"/>
                <a:gd name="connsiteX3" fmla="*/ 802 w 327554"/>
                <a:gd name="connsiteY3" fmla="*/ 7101 h 151178"/>
                <a:gd name="connsiteX4" fmla="*/ 14660 w 327554"/>
                <a:gd name="connsiteY4" fmla="*/ 802 h 151178"/>
                <a:gd name="connsiteX5" fmla="*/ 328356 w 327554"/>
                <a:gd name="connsiteY5" fmla="*/ 141902 h 151178"/>
                <a:gd name="connsiteX6" fmla="*/ 332136 w 327554"/>
                <a:gd name="connsiteY6" fmla="*/ 155760 h 151178"/>
                <a:gd name="connsiteX7" fmla="*/ 322057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322057" y="162059"/>
                  </a:moveTo>
                  <a:cubicBezTo>
                    <a:pt x="320797" y="162059"/>
                    <a:pt x="318277" y="162059"/>
                    <a:pt x="317018" y="160799"/>
                  </a:cubicBezTo>
                  <a:cubicBezTo>
                    <a:pt x="217492" y="106627"/>
                    <a:pt x="112926" y="60014"/>
                    <a:pt x="7101" y="20959"/>
                  </a:cubicBezTo>
                  <a:cubicBezTo>
                    <a:pt x="2062" y="18440"/>
                    <a:pt x="-1718" y="13400"/>
                    <a:pt x="802" y="7101"/>
                  </a:cubicBezTo>
                  <a:cubicBezTo>
                    <a:pt x="3322" y="2062"/>
                    <a:pt x="8361" y="-1718"/>
                    <a:pt x="14660" y="802"/>
                  </a:cubicBezTo>
                  <a:cubicBezTo>
                    <a:pt x="121745" y="39856"/>
                    <a:pt x="227570" y="87730"/>
                    <a:pt x="328356" y="141902"/>
                  </a:cubicBezTo>
                  <a:cubicBezTo>
                    <a:pt x="333395" y="144422"/>
                    <a:pt x="335915" y="150721"/>
                    <a:pt x="332136" y="155760"/>
                  </a:cubicBezTo>
                  <a:cubicBezTo>
                    <a:pt x="329616" y="160799"/>
                    <a:pt x="325836" y="162059"/>
                    <a:pt x="322057" y="1620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/>
            <p:cNvSpPr/>
            <p:nvPr/>
          </p:nvSpPr>
          <p:spPr>
            <a:xfrm>
              <a:off x="1274855" y="3924568"/>
              <a:ext cx="340152" cy="113384"/>
            </a:xfrm>
            <a:custGeom>
              <a:avLst/>
              <a:gdLst>
                <a:gd name="connsiteX0" fmla="*/ 334655 w 340152"/>
                <a:gd name="connsiteY0" fmla="*/ 125524 h 113384"/>
                <a:gd name="connsiteX1" fmla="*/ 332136 w 340152"/>
                <a:gd name="connsiteY1" fmla="*/ 125524 h 113384"/>
                <a:gd name="connsiteX2" fmla="*/ 7101 w 340152"/>
                <a:gd name="connsiteY2" fmla="*/ 20959 h 113384"/>
                <a:gd name="connsiteX3" fmla="*/ 802 w 340152"/>
                <a:gd name="connsiteY3" fmla="*/ 7101 h 113384"/>
                <a:gd name="connsiteX4" fmla="*/ 14660 w 340152"/>
                <a:gd name="connsiteY4" fmla="*/ 802 h 113384"/>
                <a:gd name="connsiteX5" fmla="*/ 339694 w 340152"/>
                <a:gd name="connsiteY5" fmla="*/ 105368 h 113384"/>
                <a:gd name="connsiteX6" fmla="*/ 345994 w 340152"/>
                <a:gd name="connsiteY6" fmla="*/ 119225 h 113384"/>
                <a:gd name="connsiteX7" fmla="*/ 334655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334655" y="125524"/>
                  </a:moveTo>
                  <a:cubicBezTo>
                    <a:pt x="333395" y="125524"/>
                    <a:pt x="332136" y="125524"/>
                    <a:pt x="332136" y="125524"/>
                  </a:cubicBezTo>
                  <a:lnTo>
                    <a:pt x="7101" y="20959"/>
                  </a:lnTo>
                  <a:cubicBezTo>
                    <a:pt x="2062" y="19699"/>
                    <a:pt x="-1718" y="13400"/>
                    <a:pt x="802" y="7101"/>
                  </a:cubicBezTo>
                  <a:cubicBezTo>
                    <a:pt x="2062" y="2062"/>
                    <a:pt x="8361" y="-1718"/>
                    <a:pt x="14660" y="802"/>
                  </a:cubicBezTo>
                  <a:lnTo>
                    <a:pt x="339694" y="105368"/>
                  </a:lnTo>
                  <a:cubicBezTo>
                    <a:pt x="344734" y="106627"/>
                    <a:pt x="348513" y="112926"/>
                    <a:pt x="345994" y="119225"/>
                  </a:cubicBezTo>
                  <a:cubicBezTo>
                    <a:pt x="343474" y="123005"/>
                    <a:pt x="338435" y="125524"/>
                    <a:pt x="334655" y="12552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/>
            <p:cNvSpPr/>
            <p:nvPr/>
          </p:nvSpPr>
          <p:spPr>
            <a:xfrm>
              <a:off x="1511566" y="3560343"/>
              <a:ext cx="100786" cy="125982"/>
            </a:xfrm>
            <a:custGeom>
              <a:avLst/>
              <a:gdLst>
                <a:gd name="connsiteX0" fmla="*/ 11016 w 100785"/>
                <a:gd name="connsiteY0" fmla="*/ 128180 h 125982"/>
                <a:gd name="connsiteX1" fmla="*/ 4717 w 100785"/>
                <a:gd name="connsiteY1" fmla="*/ 125660 h 125982"/>
                <a:gd name="connsiteX2" fmla="*/ 2198 w 100785"/>
                <a:gd name="connsiteY2" fmla="*/ 110542 h 125982"/>
                <a:gd name="connsiteX3" fmla="*/ 81566 w 100785"/>
                <a:gd name="connsiteY3" fmla="*/ 4717 h 125982"/>
                <a:gd name="connsiteX4" fmla="*/ 96684 w 100785"/>
                <a:gd name="connsiteY4" fmla="*/ 2198 h 125982"/>
                <a:gd name="connsiteX5" fmla="*/ 99204 w 100785"/>
                <a:gd name="connsiteY5" fmla="*/ 17315 h 125982"/>
                <a:gd name="connsiteX6" fmla="*/ 19835 w 100785"/>
                <a:gd name="connsiteY6" fmla="*/ 123141 h 125982"/>
                <a:gd name="connsiteX7" fmla="*/ 11016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11016" y="128180"/>
                  </a:moveTo>
                  <a:cubicBezTo>
                    <a:pt x="8497" y="128180"/>
                    <a:pt x="7237" y="126920"/>
                    <a:pt x="4717" y="125660"/>
                  </a:cubicBezTo>
                  <a:cubicBezTo>
                    <a:pt x="-322" y="121881"/>
                    <a:pt x="-1582" y="115582"/>
                    <a:pt x="2198" y="110542"/>
                  </a:cubicBezTo>
                  <a:lnTo>
                    <a:pt x="81566" y="4717"/>
                  </a:lnTo>
                  <a:cubicBezTo>
                    <a:pt x="85346" y="-322"/>
                    <a:pt x="91645" y="-1582"/>
                    <a:pt x="96684" y="2198"/>
                  </a:cubicBezTo>
                  <a:cubicBezTo>
                    <a:pt x="101724" y="5977"/>
                    <a:pt x="102983" y="12276"/>
                    <a:pt x="99204" y="17315"/>
                  </a:cubicBezTo>
                  <a:lnTo>
                    <a:pt x="19835" y="123141"/>
                  </a:lnTo>
                  <a:cubicBezTo>
                    <a:pt x="17315" y="126920"/>
                    <a:pt x="13536" y="128180"/>
                    <a:pt x="11016" y="12818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/>
            <p:cNvSpPr/>
            <p:nvPr/>
          </p:nvSpPr>
          <p:spPr>
            <a:xfrm>
              <a:off x="1484227" y="3447897"/>
              <a:ext cx="113384" cy="176375"/>
            </a:xfrm>
            <a:custGeom>
              <a:avLst/>
              <a:gdLst>
                <a:gd name="connsiteX0" fmla="*/ 10639 w 113384"/>
                <a:gd name="connsiteY0" fmla="*/ 180155 h 176375"/>
                <a:gd name="connsiteX1" fmla="*/ 5599 w 113384"/>
                <a:gd name="connsiteY1" fmla="*/ 178895 h 176375"/>
                <a:gd name="connsiteX2" fmla="*/ 1820 w 113384"/>
                <a:gd name="connsiteY2" fmla="*/ 165037 h 176375"/>
                <a:gd name="connsiteX3" fmla="*/ 96306 w 113384"/>
                <a:gd name="connsiteY3" fmla="*/ 5039 h 176375"/>
                <a:gd name="connsiteX4" fmla="*/ 111424 w 113384"/>
                <a:gd name="connsiteY4" fmla="*/ 1260 h 176375"/>
                <a:gd name="connsiteX5" fmla="*/ 115204 w 113384"/>
                <a:gd name="connsiteY5" fmla="*/ 16378 h 176375"/>
                <a:gd name="connsiteX6" fmla="*/ 21977 w 113384"/>
                <a:gd name="connsiteY6" fmla="*/ 175115 h 176375"/>
                <a:gd name="connsiteX7" fmla="*/ 10639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639" y="180155"/>
                  </a:moveTo>
                  <a:cubicBezTo>
                    <a:pt x="9379" y="180155"/>
                    <a:pt x="6859" y="180155"/>
                    <a:pt x="5599" y="178895"/>
                  </a:cubicBezTo>
                  <a:cubicBezTo>
                    <a:pt x="560" y="176375"/>
                    <a:pt x="-1960" y="170076"/>
                    <a:pt x="1820" y="165037"/>
                  </a:cubicBezTo>
                  <a:cubicBezTo>
                    <a:pt x="30796" y="110865"/>
                    <a:pt x="62291" y="56692"/>
                    <a:pt x="96306" y="5039"/>
                  </a:cubicBezTo>
                  <a:cubicBezTo>
                    <a:pt x="100086" y="0"/>
                    <a:pt x="106385" y="-1260"/>
                    <a:pt x="111424" y="1260"/>
                  </a:cubicBezTo>
                  <a:cubicBezTo>
                    <a:pt x="116464" y="5039"/>
                    <a:pt x="117723" y="11338"/>
                    <a:pt x="115204" y="16378"/>
                  </a:cubicBezTo>
                  <a:cubicBezTo>
                    <a:pt x="82448" y="68030"/>
                    <a:pt x="50953" y="120943"/>
                    <a:pt x="21977" y="175115"/>
                  </a:cubicBezTo>
                  <a:cubicBezTo>
                    <a:pt x="18197" y="178895"/>
                    <a:pt x="14418" y="180155"/>
                    <a:pt x="10639" y="18015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/>
            <p:cNvSpPr/>
            <p:nvPr/>
          </p:nvSpPr>
          <p:spPr>
            <a:xfrm>
              <a:off x="1271075" y="3510086"/>
              <a:ext cx="188973" cy="62991"/>
            </a:xfrm>
            <a:custGeom>
              <a:avLst/>
              <a:gdLst>
                <a:gd name="connsiteX0" fmla="*/ 184736 w 188973"/>
                <a:gd name="connsiteY0" fmla="*/ 73872 h 62991"/>
                <a:gd name="connsiteX1" fmla="*/ 182217 w 188973"/>
                <a:gd name="connsiteY1" fmla="*/ 73872 h 62991"/>
                <a:gd name="connsiteX2" fmla="*/ 7101 w 188973"/>
                <a:gd name="connsiteY2" fmla="*/ 20959 h 62991"/>
                <a:gd name="connsiteX3" fmla="*/ 802 w 188973"/>
                <a:gd name="connsiteY3" fmla="*/ 7101 h 62991"/>
                <a:gd name="connsiteX4" fmla="*/ 14660 w 188973"/>
                <a:gd name="connsiteY4" fmla="*/ 802 h 62991"/>
                <a:gd name="connsiteX5" fmla="*/ 188516 w 188973"/>
                <a:gd name="connsiteY5" fmla="*/ 53715 h 62991"/>
                <a:gd name="connsiteX6" fmla="*/ 196075 w 188973"/>
                <a:gd name="connsiteY6" fmla="*/ 66313 h 62991"/>
                <a:gd name="connsiteX7" fmla="*/ 184736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84736" y="73872"/>
                  </a:moveTo>
                  <a:cubicBezTo>
                    <a:pt x="183476" y="73872"/>
                    <a:pt x="183476" y="73872"/>
                    <a:pt x="182217" y="73872"/>
                  </a:cubicBezTo>
                  <a:cubicBezTo>
                    <a:pt x="123005" y="60014"/>
                    <a:pt x="63793" y="41116"/>
                    <a:pt x="7101" y="20959"/>
                  </a:cubicBezTo>
                  <a:cubicBezTo>
                    <a:pt x="2062" y="18439"/>
                    <a:pt x="-1718" y="12140"/>
                    <a:pt x="802" y="7101"/>
                  </a:cubicBezTo>
                  <a:cubicBezTo>
                    <a:pt x="3322" y="2062"/>
                    <a:pt x="9621" y="-1718"/>
                    <a:pt x="14660" y="802"/>
                  </a:cubicBezTo>
                  <a:cubicBezTo>
                    <a:pt x="71352" y="22219"/>
                    <a:pt x="129304" y="39857"/>
                    <a:pt x="188516" y="53715"/>
                  </a:cubicBezTo>
                  <a:cubicBezTo>
                    <a:pt x="194815" y="54974"/>
                    <a:pt x="197334" y="61274"/>
                    <a:pt x="196075" y="66313"/>
                  </a:cubicBezTo>
                  <a:cubicBezTo>
                    <a:pt x="193555" y="71352"/>
                    <a:pt x="189775" y="75131"/>
                    <a:pt x="184736" y="7387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/>
            <p:cNvSpPr/>
            <p:nvPr/>
          </p:nvSpPr>
          <p:spPr>
            <a:xfrm>
              <a:off x="1453292" y="4353710"/>
              <a:ext cx="176375" cy="100786"/>
            </a:xfrm>
            <a:custGeom>
              <a:avLst/>
              <a:gdLst>
                <a:gd name="connsiteX0" fmla="*/ 170076 w 176375"/>
                <a:gd name="connsiteY0" fmla="*/ 109605 h 100785"/>
                <a:gd name="connsiteX1" fmla="*/ 166297 w 176375"/>
                <a:gd name="connsiteY1" fmla="*/ 108345 h 100785"/>
                <a:gd name="connsiteX2" fmla="*/ 5039 w 176375"/>
                <a:gd name="connsiteY2" fmla="*/ 20157 h 100785"/>
                <a:gd name="connsiteX3" fmla="*/ 1260 w 176375"/>
                <a:gd name="connsiteY3" fmla="*/ 5039 h 100785"/>
                <a:gd name="connsiteX4" fmla="*/ 16378 w 176375"/>
                <a:gd name="connsiteY4" fmla="*/ 1260 h 100785"/>
                <a:gd name="connsiteX5" fmla="*/ 175115 w 176375"/>
                <a:gd name="connsiteY5" fmla="*/ 88188 h 100785"/>
                <a:gd name="connsiteX6" fmla="*/ 180155 w 176375"/>
                <a:gd name="connsiteY6" fmla="*/ 102046 h 100785"/>
                <a:gd name="connsiteX7" fmla="*/ 170076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70076" y="109605"/>
                  </a:moveTo>
                  <a:cubicBezTo>
                    <a:pt x="168816" y="109605"/>
                    <a:pt x="167556" y="109605"/>
                    <a:pt x="166297" y="108345"/>
                  </a:cubicBezTo>
                  <a:cubicBezTo>
                    <a:pt x="110864" y="83148"/>
                    <a:pt x="56692" y="52913"/>
                    <a:pt x="5039" y="20157"/>
                  </a:cubicBezTo>
                  <a:cubicBezTo>
                    <a:pt x="0" y="16378"/>
                    <a:pt x="-1260" y="10079"/>
                    <a:pt x="1260" y="5039"/>
                  </a:cubicBezTo>
                  <a:cubicBezTo>
                    <a:pt x="5039" y="0"/>
                    <a:pt x="11338" y="-1260"/>
                    <a:pt x="16378" y="1260"/>
                  </a:cubicBezTo>
                  <a:cubicBezTo>
                    <a:pt x="66771" y="34015"/>
                    <a:pt x="120943" y="62991"/>
                    <a:pt x="175115" y="88188"/>
                  </a:cubicBezTo>
                  <a:cubicBezTo>
                    <a:pt x="180155" y="90707"/>
                    <a:pt x="182674" y="97007"/>
                    <a:pt x="180155" y="102046"/>
                  </a:cubicBezTo>
                  <a:cubicBezTo>
                    <a:pt x="177635" y="107085"/>
                    <a:pt x="173856" y="109605"/>
                    <a:pt x="170076" y="1096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/>
            <p:cNvSpPr/>
            <p:nvPr/>
          </p:nvSpPr>
          <p:spPr>
            <a:xfrm>
              <a:off x="1366043" y="3148297"/>
              <a:ext cx="163777" cy="251965"/>
            </a:xfrm>
            <a:custGeom>
              <a:avLst/>
              <a:gdLst>
                <a:gd name="connsiteX0" fmla="*/ 10400 w 163777"/>
                <a:gd name="connsiteY0" fmla="*/ 263066 h 251964"/>
                <a:gd name="connsiteX1" fmla="*/ 6620 w 163777"/>
                <a:gd name="connsiteY1" fmla="*/ 261806 h 251964"/>
                <a:gd name="connsiteX2" fmla="*/ 321 w 163777"/>
                <a:gd name="connsiteY2" fmla="*/ 247947 h 251964"/>
                <a:gd name="connsiteX3" fmla="*/ 154019 w 163777"/>
                <a:gd name="connsiteY3" fmla="*/ 3542 h 251964"/>
                <a:gd name="connsiteX4" fmla="*/ 169137 w 163777"/>
                <a:gd name="connsiteY4" fmla="*/ 2282 h 251964"/>
                <a:gd name="connsiteX5" fmla="*/ 170397 w 163777"/>
                <a:gd name="connsiteY5" fmla="*/ 17400 h 251964"/>
                <a:gd name="connsiteX6" fmla="*/ 20478 w 163777"/>
                <a:gd name="connsiteY6" fmla="*/ 255507 h 251964"/>
                <a:gd name="connsiteX7" fmla="*/ 1040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0400" y="263066"/>
                  </a:moveTo>
                  <a:cubicBezTo>
                    <a:pt x="9140" y="263066"/>
                    <a:pt x="7880" y="263066"/>
                    <a:pt x="6620" y="261806"/>
                  </a:cubicBezTo>
                  <a:cubicBezTo>
                    <a:pt x="1581" y="259286"/>
                    <a:pt x="-939" y="252987"/>
                    <a:pt x="321" y="247947"/>
                  </a:cubicBezTo>
                  <a:cubicBezTo>
                    <a:pt x="36856" y="157240"/>
                    <a:pt x="88509" y="75352"/>
                    <a:pt x="154019" y="3542"/>
                  </a:cubicBezTo>
                  <a:cubicBezTo>
                    <a:pt x="157799" y="-238"/>
                    <a:pt x="164098" y="-1497"/>
                    <a:pt x="169137" y="2282"/>
                  </a:cubicBezTo>
                  <a:cubicBezTo>
                    <a:pt x="172917" y="6061"/>
                    <a:pt x="174177" y="12361"/>
                    <a:pt x="170397" y="17400"/>
                  </a:cubicBezTo>
                  <a:cubicBezTo>
                    <a:pt x="106146" y="87950"/>
                    <a:pt x="55753" y="167319"/>
                    <a:pt x="20478" y="255507"/>
                  </a:cubicBezTo>
                  <a:cubicBezTo>
                    <a:pt x="19218" y="260546"/>
                    <a:pt x="15439" y="263066"/>
                    <a:pt x="10400" y="26306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/>
            <p:cNvSpPr/>
            <p:nvPr/>
          </p:nvSpPr>
          <p:spPr>
            <a:xfrm>
              <a:off x="1323209" y="3171675"/>
              <a:ext cx="75589" cy="151179"/>
            </a:xfrm>
            <a:custGeom>
              <a:avLst/>
              <a:gdLst>
                <a:gd name="connsiteX0" fmla="*/ 10400 w 75589"/>
                <a:gd name="connsiteY0" fmla="*/ 157799 h 151178"/>
                <a:gd name="connsiteX1" fmla="*/ 6620 w 75589"/>
                <a:gd name="connsiteY1" fmla="*/ 156539 h 151178"/>
                <a:gd name="connsiteX2" fmla="*/ 321 w 75589"/>
                <a:gd name="connsiteY2" fmla="*/ 142681 h 151178"/>
                <a:gd name="connsiteX3" fmla="*/ 57013 w 75589"/>
                <a:gd name="connsiteY3" fmla="*/ 6620 h 151178"/>
                <a:gd name="connsiteX4" fmla="*/ 70871 w 75589"/>
                <a:gd name="connsiteY4" fmla="*/ 321 h 151178"/>
                <a:gd name="connsiteX5" fmla="*/ 77170 w 75589"/>
                <a:gd name="connsiteY5" fmla="*/ 14179 h 151178"/>
                <a:gd name="connsiteX6" fmla="*/ 20478 w 75589"/>
                <a:gd name="connsiteY6" fmla="*/ 151500 h 151178"/>
                <a:gd name="connsiteX7" fmla="*/ 10400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10400" y="157799"/>
                  </a:moveTo>
                  <a:cubicBezTo>
                    <a:pt x="9140" y="157799"/>
                    <a:pt x="7880" y="157799"/>
                    <a:pt x="6620" y="156539"/>
                  </a:cubicBezTo>
                  <a:cubicBezTo>
                    <a:pt x="1581" y="154019"/>
                    <a:pt x="-939" y="147720"/>
                    <a:pt x="321" y="142681"/>
                  </a:cubicBezTo>
                  <a:lnTo>
                    <a:pt x="57013" y="6620"/>
                  </a:lnTo>
                  <a:cubicBezTo>
                    <a:pt x="59533" y="1581"/>
                    <a:pt x="65832" y="-939"/>
                    <a:pt x="70871" y="321"/>
                  </a:cubicBezTo>
                  <a:cubicBezTo>
                    <a:pt x="75910" y="2841"/>
                    <a:pt x="78430" y="9140"/>
                    <a:pt x="77170" y="14179"/>
                  </a:cubicBezTo>
                  <a:lnTo>
                    <a:pt x="20478" y="151500"/>
                  </a:lnTo>
                  <a:cubicBezTo>
                    <a:pt x="19218" y="156539"/>
                    <a:pt x="15439" y="157799"/>
                    <a:pt x="10400" y="15779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/>
            <p:cNvSpPr/>
            <p:nvPr/>
          </p:nvSpPr>
          <p:spPr>
            <a:xfrm>
              <a:off x="1137941" y="3054437"/>
              <a:ext cx="163777" cy="138581"/>
            </a:xfrm>
            <a:custGeom>
              <a:avLst/>
              <a:gdLst>
                <a:gd name="connsiteX0" fmla="*/ 161653 w 163777"/>
                <a:gd name="connsiteY0" fmla="*/ 147795 h 138580"/>
                <a:gd name="connsiteX1" fmla="*/ 154094 w 163777"/>
                <a:gd name="connsiteY1" fmla="*/ 145275 h 138580"/>
                <a:gd name="connsiteX2" fmla="*/ 4175 w 163777"/>
                <a:gd name="connsiteY2" fmla="*/ 19293 h 138580"/>
                <a:gd name="connsiteX3" fmla="*/ 1655 w 163777"/>
                <a:gd name="connsiteY3" fmla="*/ 4175 h 138580"/>
                <a:gd name="connsiteX4" fmla="*/ 16773 w 163777"/>
                <a:gd name="connsiteY4" fmla="*/ 1655 h 138580"/>
                <a:gd name="connsiteX5" fmla="*/ 167952 w 163777"/>
                <a:gd name="connsiteY5" fmla="*/ 128897 h 138580"/>
                <a:gd name="connsiteX6" fmla="*/ 167952 w 163777"/>
                <a:gd name="connsiteY6" fmla="*/ 144015 h 138580"/>
                <a:gd name="connsiteX7" fmla="*/ 16165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161653" y="147795"/>
                  </a:moveTo>
                  <a:cubicBezTo>
                    <a:pt x="159133" y="147795"/>
                    <a:pt x="156613" y="146535"/>
                    <a:pt x="154094" y="145275"/>
                  </a:cubicBezTo>
                  <a:cubicBezTo>
                    <a:pt x="106220" y="101181"/>
                    <a:pt x="55827" y="58347"/>
                    <a:pt x="4175" y="19293"/>
                  </a:cubicBezTo>
                  <a:cubicBezTo>
                    <a:pt x="-865" y="15513"/>
                    <a:pt x="-865" y="9214"/>
                    <a:pt x="1655" y="4175"/>
                  </a:cubicBezTo>
                  <a:cubicBezTo>
                    <a:pt x="5435" y="-865"/>
                    <a:pt x="11734" y="-865"/>
                    <a:pt x="16773" y="1655"/>
                  </a:cubicBezTo>
                  <a:cubicBezTo>
                    <a:pt x="68426" y="41970"/>
                    <a:pt x="120078" y="84803"/>
                    <a:pt x="167952" y="128897"/>
                  </a:cubicBezTo>
                  <a:cubicBezTo>
                    <a:pt x="171731" y="132677"/>
                    <a:pt x="172991" y="140236"/>
                    <a:pt x="167952" y="144015"/>
                  </a:cubicBezTo>
                  <a:cubicBezTo>
                    <a:pt x="166692" y="146535"/>
                    <a:pt x="164172" y="147795"/>
                    <a:pt x="161653" y="14779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/>
            <p:cNvSpPr/>
            <p:nvPr/>
          </p:nvSpPr>
          <p:spPr>
            <a:xfrm>
              <a:off x="1168894" y="3000982"/>
              <a:ext cx="138581" cy="100786"/>
            </a:xfrm>
            <a:custGeom>
              <a:avLst/>
              <a:gdLst>
                <a:gd name="connsiteX0" fmla="*/ 128180 w 138580"/>
                <a:gd name="connsiteY0" fmla="*/ 113062 h 100785"/>
                <a:gd name="connsiteX1" fmla="*/ 120621 w 138580"/>
                <a:gd name="connsiteY1" fmla="*/ 110542 h 100785"/>
                <a:gd name="connsiteX2" fmla="*/ 4717 w 138580"/>
                <a:gd name="connsiteY2" fmla="*/ 19835 h 100785"/>
                <a:gd name="connsiteX3" fmla="*/ 2198 w 138580"/>
                <a:gd name="connsiteY3" fmla="*/ 4717 h 100785"/>
                <a:gd name="connsiteX4" fmla="*/ 17315 w 138580"/>
                <a:gd name="connsiteY4" fmla="*/ 2198 h 100785"/>
                <a:gd name="connsiteX5" fmla="*/ 135739 w 138580"/>
                <a:gd name="connsiteY5" fmla="*/ 94165 h 100785"/>
                <a:gd name="connsiteX6" fmla="*/ 136999 w 138580"/>
                <a:gd name="connsiteY6" fmla="*/ 109283 h 100785"/>
                <a:gd name="connsiteX7" fmla="*/ 128180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28180" y="113062"/>
                  </a:moveTo>
                  <a:cubicBezTo>
                    <a:pt x="125660" y="113062"/>
                    <a:pt x="123141" y="111802"/>
                    <a:pt x="120621" y="110542"/>
                  </a:cubicBezTo>
                  <a:cubicBezTo>
                    <a:pt x="84086" y="77787"/>
                    <a:pt x="45032" y="47551"/>
                    <a:pt x="4717" y="19835"/>
                  </a:cubicBezTo>
                  <a:cubicBezTo>
                    <a:pt x="-322" y="16056"/>
                    <a:pt x="-1582" y="9757"/>
                    <a:pt x="2198" y="4717"/>
                  </a:cubicBezTo>
                  <a:cubicBezTo>
                    <a:pt x="5977" y="-322"/>
                    <a:pt x="12276" y="-1582"/>
                    <a:pt x="17315" y="2198"/>
                  </a:cubicBezTo>
                  <a:cubicBezTo>
                    <a:pt x="58890" y="29914"/>
                    <a:pt x="99204" y="61409"/>
                    <a:pt x="135739" y="94165"/>
                  </a:cubicBezTo>
                  <a:cubicBezTo>
                    <a:pt x="139518" y="97944"/>
                    <a:pt x="140778" y="105503"/>
                    <a:pt x="136999" y="109283"/>
                  </a:cubicBezTo>
                  <a:cubicBezTo>
                    <a:pt x="133219" y="111802"/>
                    <a:pt x="130700" y="113062"/>
                    <a:pt x="128180" y="11306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/>
            <p:cNvSpPr/>
            <p:nvPr/>
          </p:nvSpPr>
          <p:spPr>
            <a:xfrm>
              <a:off x="5735431" y="4536384"/>
              <a:ext cx="629912" cy="188973"/>
            </a:xfrm>
            <a:custGeom>
              <a:avLst/>
              <a:gdLst>
                <a:gd name="connsiteX0" fmla="*/ 621093 w 629911"/>
                <a:gd name="connsiteY0" fmla="*/ 0 h 188973"/>
                <a:gd name="connsiteX1" fmla="*/ 8819 w 629911"/>
                <a:gd name="connsiteY1" fmla="*/ 0 h 188973"/>
                <a:gd name="connsiteX2" fmla="*/ 0 w 629911"/>
                <a:gd name="connsiteY2" fmla="*/ 8819 h 188973"/>
                <a:gd name="connsiteX3" fmla="*/ 0 w 629911"/>
                <a:gd name="connsiteY3" fmla="*/ 105825 h 188973"/>
                <a:gd name="connsiteX4" fmla="*/ 85668 w 629911"/>
                <a:gd name="connsiteY4" fmla="*/ 191493 h 188973"/>
                <a:gd name="connsiteX5" fmla="*/ 544243 w 629911"/>
                <a:gd name="connsiteY5" fmla="*/ 191493 h 188973"/>
                <a:gd name="connsiteX6" fmla="*/ 629912 w 629911"/>
                <a:gd name="connsiteY6" fmla="*/ 105825 h 188973"/>
                <a:gd name="connsiteX7" fmla="*/ 629912 w 629911"/>
                <a:gd name="connsiteY7" fmla="*/ 8819 h 188973"/>
                <a:gd name="connsiteX8" fmla="*/ 621093 w 629911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911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3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3117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/>
            <p:cNvSpPr/>
            <p:nvPr/>
          </p:nvSpPr>
          <p:spPr>
            <a:xfrm>
              <a:off x="1407938" y="4536384"/>
              <a:ext cx="617313" cy="188973"/>
            </a:xfrm>
            <a:custGeom>
              <a:avLst/>
              <a:gdLst>
                <a:gd name="connsiteX0" fmla="*/ 621093 w 617313"/>
                <a:gd name="connsiteY0" fmla="*/ 0 h 188973"/>
                <a:gd name="connsiteX1" fmla="*/ 8819 w 617313"/>
                <a:gd name="connsiteY1" fmla="*/ 0 h 188973"/>
                <a:gd name="connsiteX2" fmla="*/ 0 w 617313"/>
                <a:gd name="connsiteY2" fmla="*/ 8819 h 188973"/>
                <a:gd name="connsiteX3" fmla="*/ 0 w 617313"/>
                <a:gd name="connsiteY3" fmla="*/ 105825 h 188973"/>
                <a:gd name="connsiteX4" fmla="*/ 85668 w 617313"/>
                <a:gd name="connsiteY4" fmla="*/ 191493 h 188973"/>
                <a:gd name="connsiteX5" fmla="*/ 544244 w 617313"/>
                <a:gd name="connsiteY5" fmla="*/ 191493 h 188973"/>
                <a:gd name="connsiteX6" fmla="*/ 629912 w 617313"/>
                <a:gd name="connsiteY6" fmla="*/ 105825 h 188973"/>
                <a:gd name="connsiteX7" fmla="*/ 629912 w 617313"/>
                <a:gd name="connsiteY7" fmla="*/ 8819 h 188973"/>
                <a:gd name="connsiteX8" fmla="*/ 621093 w 617313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7313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4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2991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/>
            <p:cNvSpPr/>
            <p:nvPr/>
          </p:nvSpPr>
          <p:spPr>
            <a:xfrm>
              <a:off x="3467749" y="3523486"/>
              <a:ext cx="226768" cy="226768"/>
            </a:xfrm>
            <a:custGeom>
              <a:avLst/>
              <a:gdLst>
                <a:gd name="connsiteX0" fmla="*/ 0 w 226768"/>
                <a:gd name="connsiteY0" fmla="*/ 94487 h 226768"/>
                <a:gd name="connsiteX1" fmla="*/ 0 w 226768"/>
                <a:gd name="connsiteY1" fmla="*/ 137321 h 226768"/>
                <a:gd name="connsiteX2" fmla="*/ 21417 w 226768"/>
                <a:gd name="connsiteY2" fmla="*/ 177635 h 226768"/>
                <a:gd name="connsiteX3" fmla="*/ 49133 w 226768"/>
                <a:gd name="connsiteY3" fmla="*/ 186454 h 226768"/>
                <a:gd name="connsiteX4" fmla="*/ 61731 w 226768"/>
                <a:gd name="connsiteY4" fmla="*/ 186454 h 226768"/>
                <a:gd name="connsiteX5" fmla="*/ 61731 w 226768"/>
                <a:gd name="connsiteY5" fmla="*/ 229288 h 226768"/>
                <a:gd name="connsiteX6" fmla="*/ 238107 w 226768"/>
                <a:gd name="connsiteY6" fmla="*/ 229288 h 226768"/>
                <a:gd name="connsiteX7" fmla="*/ 238107 w 226768"/>
                <a:gd name="connsiteY7" fmla="*/ 45354 h 226768"/>
                <a:gd name="connsiteX8" fmla="*/ 192753 w 226768"/>
                <a:gd name="connsiteY8" fmla="*/ 0 h 226768"/>
                <a:gd name="connsiteX9" fmla="*/ 108345 w 226768"/>
                <a:gd name="connsiteY9" fmla="*/ 0 h 226768"/>
                <a:gd name="connsiteX10" fmla="*/ 62991 w 226768"/>
                <a:gd name="connsiteY10" fmla="*/ 45354 h 226768"/>
                <a:gd name="connsiteX11" fmla="*/ 62991 w 226768"/>
                <a:gd name="connsiteY11" fmla="*/ 46613 h 226768"/>
                <a:gd name="connsiteX12" fmla="*/ 50393 w 226768"/>
                <a:gd name="connsiteY12" fmla="*/ 46613 h 226768"/>
                <a:gd name="connsiteX13" fmla="*/ 18897 w 226768"/>
                <a:gd name="connsiteY13" fmla="*/ 57952 h 226768"/>
                <a:gd name="connsiteX14" fmla="*/ 0 w 226768"/>
                <a:gd name="connsiteY14" fmla="*/ 94487 h 226768"/>
                <a:gd name="connsiteX15" fmla="*/ 30236 w 226768"/>
                <a:gd name="connsiteY15" fmla="*/ 153698 h 226768"/>
                <a:gd name="connsiteX16" fmla="*/ 23937 w 226768"/>
                <a:gd name="connsiteY16" fmla="*/ 138581 h 226768"/>
                <a:gd name="connsiteX17" fmla="*/ 23937 w 226768"/>
                <a:gd name="connsiteY17" fmla="*/ 94487 h 226768"/>
                <a:gd name="connsiteX18" fmla="*/ 32755 w 226768"/>
                <a:gd name="connsiteY18" fmla="*/ 76849 h 226768"/>
                <a:gd name="connsiteX19" fmla="*/ 46613 w 226768"/>
                <a:gd name="connsiteY19" fmla="*/ 71810 h 226768"/>
                <a:gd name="connsiteX20" fmla="*/ 61731 w 226768"/>
                <a:gd name="connsiteY20" fmla="*/ 71810 h 226768"/>
                <a:gd name="connsiteX21" fmla="*/ 62991 w 226768"/>
                <a:gd name="connsiteY21" fmla="*/ 71810 h 226768"/>
                <a:gd name="connsiteX22" fmla="*/ 62991 w 226768"/>
                <a:gd name="connsiteY22" fmla="*/ 159998 h 226768"/>
                <a:gd name="connsiteX23" fmla="*/ 61731 w 226768"/>
                <a:gd name="connsiteY23" fmla="*/ 159998 h 226768"/>
                <a:gd name="connsiteX24" fmla="*/ 46613 w 226768"/>
                <a:gd name="connsiteY24" fmla="*/ 159998 h 226768"/>
                <a:gd name="connsiteX25" fmla="*/ 30236 w 226768"/>
                <a:gd name="connsiteY25" fmla="*/ 153698 h 22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6768" h="226768">
                  <a:moveTo>
                    <a:pt x="0" y="94487"/>
                  </a:moveTo>
                  <a:lnTo>
                    <a:pt x="0" y="137321"/>
                  </a:lnTo>
                  <a:cubicBezTo>
                    <a:pt x="0" y="153698"/>
                    <a:pt x="8819" y="168816"/>
                    <a:pt x="21417" y="177635"/>
                  </a:cubicBezTo>
                  <a:cubicBezTo>
                    <a:pt x="28976" y="182674"/>
                    <a:pt x="39054" y="186454"/>
                    <a:pt x="49133" y="186454"/>
                  </a:cubicBezTo>
                  <a:lnTo>
                    <a:pt x="61731" y="186454"/>
                  </a:lnTo>
                  <a:lnTo>
                    <a:pt x="61731" y="229288"/>
                  </a:lnTo>
                  <a:lnTo>
                    <a:pt x="238107" y="229288"/>
                  </a:lnTo>
                  <a:lnTo>
                    <a:pt x="238107" y="45354"/>
                  </a:lnTo>
                  <a:cubicBezTo>
                    <a:pt x="238107" y="20157"/>
                    <a:pt x="217949" y="0"/>
                    <a:pt x="192753" y="0"/>
                  </a:cubicBezTo>
                  <a:lnTo>
                    <a:pt x="108345" y="0"/>
                  </a:lnTo>
                  <a:cubicBezTo>
                    <a:pt x="83148" y="0"/>
                    <a:pt x="62991" y="20157"/>
                    <a:pt x="62991" y="45354"/>
                  </a:cubicBezTo>
                  <a:lnTo>
                    <a:pt x="62991" y="46613"/>
                  </a:lnTo>
                  <a:lnTo>
                    <a:pt x="50393" y="46613"/>
                  </a:lnTo>
                  <a:cubicBezTo>
                    <a:pt x="39054" y="46613"/>
                    <a:pt x="27716" y="50393"/>
                    <a:pt x="18897" y="57952"/>
                  </a:cubicBezTo>
                  <a:cubicBezTo>
                    <a:pt x="6299" y="65511"/>
                    <a:pt x="0" y="79369"/>
                    <a:pt x="0" y="94487"/>
                  </a:cubicBezTo>
                  <a:close/>
                  <a:moveTo>
                    <a:pt x="30236" y="153698"/>
                  </a:moveTo>
                  <a:cubicBezTo>
                    <a:pt x="26456" y="149919"/>
                    <a:pt x="23937" y="143620"/>
                    <a:pt x="23937" y="138581"/>
                  </a:cubicBezTo>
                  <a:lnTo>
                    <a:pt x="23937" y="94487"/>
                  </a:lnTo>
                  <a:cubicBezTo>
                    <a:pt x="23937" y="86928"/>
                    <a:pt x="27716" y="80629"/>
                    <a:pt x="32755" y="76849"/>
                  </a:cubicBezTo>
                  <a:cubicBezTo>
                    <a:pt x="36535" y="74330"/>
                    <a:pt x="41574" y="71810"/>
                    <a:pt x="46613" y="71810"/>
                  </a:cubicBezTo>
                  <a:lnTo>
                    <a:pt x="61731" y="71810"/>
                  </a:lnTo>
                  <a:cubicBezTo>
                    <a:pt x="61731" y="71810"/>
                    <a:pt x="61731" y="71810"/>
                    <a:pt x="62991" y="71810"/>
                  </a:cubicBezTo>
                  <a:lnTo>
                    <a:pt x="62991" y="159998"/>
                  </a:lnTo>
                  <a:cubicBezTo>
                    <a:pt x="62991" y="159998"/>
                    <a:pt x="62991" y="159998"/>
                    <a:pt x="61731" y="159998"/>
                  </a:cubicBezTo>
                  <a:lnTo>
                    <a:pt x="46613" y="159998"/>
                  </a:lnTo>
                  <a:cubicBezTo>
                    <a:pt x="39054" y="159998"/>
                    <a:pt x="34015" y="157478"/>
                    <a:pt x="30236" y="15369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/>
            <p:cNvSpPr/>
            <p:nvPr/>
          </p:nvSpPr>
          <p:spPr>
            <a:xfrm>
              <a:off x="3555937" y="3534825"/>
              <a:ext cx="125982" cy="12598"/>
            </a:xfrm>
            <a:custGeom>
              <a:avLst/>
              <a:gdLst>
                <a:gd name="connsiteX0" fmla="*/ 0 w 125982"/>
                <a:gd name="connsiteY0" fmla="*/ 11339 h 12598"/>
                <a:gd name="connsiteX1" fmla="*/ 11338 w 125982"/>
                <a:gd name="connsiteY1" fmla="*/ 22677 h 12598"/>
                <a:gd name="connsiteX2" fmla="*/ 118423 w 125982"/>
                <a:gd name="connsiteY2" fmla="*/ 22677 h 12598"/>
                <a:gd name="connsiteX3" fmla="*/ 129762 w 125982"/>
                <a:gd name="connsiteY3" fmla="*/ 11339 h 12598"/>
                <a:gd name="connsiteX4" fmla="*/ 129762 w 125982"/>
                <a:gd name="connsiteY4" fmla="*/ 11339 h 12598"/>
                <a:gd name="connsiteX5" fmla="*/ 118423 w 125982"/>
                <a:gd name="connsiteY5" fmla="*/ 0 h 12598"/>
                <a:gd name="connsiteX6" fmla="*/ 11338 w 125982"/>
                <a:gd name="connsiteY6" fmla="*/ 0 h 12598"/>
                <a:gd name="connsiteX7" fmla="*/ 0 w 125982"/>
                <a:gd name="connsiteY7" fmla="*/ 11339 h 12598"/>
                <a:gd name="connsiteX8" fmla="*/ 0 w 125982"/>
                <a:gd name="connsiteY8" fmla="*/ 11339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12598">
                  <a:moveTo>
                    <a:pt x="0" y="11339"/>
                  </a:moveTo>
                  <a:cubicBezTo>
                    <a:pt x="0" y="17638"/>
                    <a:pt x="5039" y="22677"/>
                    <a:pt x="11338" y="22677"/>
                  </a:cubicBezTo>
                  <a:lnTo>
                    <a:pt x="118423" y="22677"/>
                  </a:lnTo>
                  <a:cubicBezTo>
                    <a:pt x="124722" y="22677"/>
                    <a:pt x="129762" y="17638"/>
                    <a:pt x="129762" y="11339"/>
                  </a:cubicBezTo>
                  <a:lnTo>
                    <a:pt x="129762" y="11339"/>
                  </a:lnTo>
                  <a:cubicBezTo>
                    <a:pt x="129762" y="5039"/>
                    <a:pt x="124722" y="0"/>
                    <a:pt x="118423" y="0"/>
                  </a:cubicBezTo>
                  <a:lnTo>
                    <a:pt x="11338" y="0"/>
                  </a:lnTo>
                  <a:cubicBezTo>
                    <a:pt x="5039" y="1260"/>
                    <a:pt x="0" y="6299"/>
                    <a:pt x="0" y="11339"/>
                  </a:cubicBezTo>
                  <a:lnTo>
                    <a:pt x="0" y="1133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/>
            <p:cNvSpPr/>
            <p:nvPr/>
          </p:nvSpPr>
          <p:spPr>
            <a:xfrm>
              <a:off x="2490518" y="3366008"/>
              <a:ext cx="667706" cy="743296"/>
            </a:xfrm>
            <a:custGeom>
              <a:avLst/>
              <a:gdLst>
                <a:gd name="connsiteX0" fmla="*/ 528734 w 667706"/>
                <a:gd name="connsiteY0" fmla="*/ 51653 h 743295"/>
                <a:gd name="connsiteX1" fmla="*/ 465743 w 667706"/>
                <a:gd name="connsiteY1" fmla="*/ 0 h 743295"/>
                <a:gd name="connsiteX2" fmla="*/ 43702 w 667706"/>
                <a:gd name="connsiteY2" fmla="*/ 0 h 743295"/>
                <a:gd name="connsiteX3" fmla="*/ 43702 w 667706"/>
                <a:gd name="connsiteY3" fmla="*/ 0 h 743295"/>
                <a:gd name="connsiteX4" fmla="*/ 22285 w 667706"/>
                <a:gd name="connsiteY4" fmla="*/ 5039 h 743295"/>
                <a:gd name="connsiteX5" fmla="*/ 868 w 667706"/>
                <a:gd name="connsiteY5" fmla="*/ 51653 h 743295"/>
                <a:gd name="connsiteX6" fmla="*/ 130630 w 667706"/>
                <a:gd name="connsiteY6" fmla="*/ 720619 h 743295"/>
                <a:gd name="connsiteX7" fmla="*/ 130630 w 667706"/>
                <a:gd name="connsiteY7" fmla="*/ 720619 h 743295"/>
                <a:gd name="connsiteX8" fmla="*/ 172204 w 667706"/>
                <a:gd name="connsiteY8" fmla="*/ 754634 h 743295"/>
                <a:gd name="connsiteX9" fmla="*/ 173464 w 667706"/>
                <a:gd name="connsiteY9" fmla="*/ 754634 h 743295"/>
                <a:gd name="connsiteX10" fmla="*/ 673614 w 667706"/>
                <a:gd name="connsiteY10" fmla="*/ 754634 h 743295"/>
                <a:gd name="connsiteX11" fmla="*/ 528734 w 667706"/>
                <a:gd name="connsiteY11" fmla="*/ 51653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706" h="743295">
                  <a:moveTo>
                    <a:pt x="528734" y="51653"/>
                  </a:moveTo>
                  <a:cubicBezTo>
                    <a:pt x="522435" y="21417"/>
                    <a:pt x="495979" y="0"/>
                    <a:pt x="465743" y="0"/>
                  </a:cubicBezTo>
                  <a:lnTo>
                    <a:pt x="43702" y="0"/>
                  </a:lnTo>
                  <a:lnTo>
                    <a:pt x="43702" y="0"/>
                  </a:lnTo>
                  <a:cubicBezTo>
                    <a:pt x="37403" y="0"/>
                    <a:pt x="29844" y="1260"/>
                    <a:pt x="22285" y="5039"/>
                  </a:cubicBezTo>
                  <a:cubicBezTo>
                    <a:pt x="5907" y="13858"/>
                    <a:pt x="-2911" y="32755"/>
                    <a:pt x="868" y="51653"/>
                  </a:cubicBezTo>
                  <a:lnTo>
                    <a:pt x="130630" y="720619"/>
                  </a:lnTo>
                  <a:lnTo>
                    <a:pt x="130630" y="720619"/>
                  </a:lnTo>
                  <a:cubicBezTo>
                    <a:pt x="134409" y="740776"/>
                    <a:pt x="152047" y="754634"/>
                    <a:pt x="172204" y="754634"/>
                  </a:cubicBezTo>
                  <a:lnTo>
                    <a:pt x="173464" y="754634"/>
                  </a:lnTo>
                  <a:lnTo>
                    <a:pt x="673614" y="754634"/>
                  </a:lnTo>
                  <a:lnTo>
                    <a:pt x="528734" y="51653"/>
                  </a:ln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/>
            <p:cNvSpPr/>
            <p:nvPr/>
          </p:nvSpPr>
          <p:spPr>
            <a:xfrm>
              <a:off x="2490807" y="3366300"/>
              <a:ext cx="995260" cy="743296"/>
            </a:xfrm>
            <a:custGeom>
              <a:avLst/>
              <a:gdLst>
                <a:gd name="connsiteX0" fmla="*/ 34594 w 995260"/>
                <a:gd name="connsiteY0" fmla="*/ 968 h 743295"/>
                <a:gd name="connsiteX1" fmla="*/ 83727 w 995260"/>
                <a:gd name="connsiteY1" fmla="*/ 34984 h 743295"/>
                <a:gd name="connsiteX2" fmla="*/ 207190 w 995260"/>
                <a:gd name="connsiteY2" fmla="*/ 669935 h 743295"/>
                <a:gd name="connsiteX3" fmla="*/ 363408 w 995260"/>
                <a:gd name="connsiteY3" fmla="*/ 669935 h 743295"/>
                <a:gd name="connsiteX4" fmla="*/ 517106 w 995260"/>
                <a:gd name="connsiteY4" fmla="*/ 669935 h 743295"/>
                <a:gd name="connsiteX5" fmla="*/ 953005 w 995260"/>
                <a:gd name="connsiteY5" fmla="*/ 669935 h 743295"/>
                <a:gd name="connsiteX6" fmla="*/ 995839 w 995260"/>
                <a:gd name="connsiteY6" fmla="*/ 712769 h 743295"/>
                <a:gd name="connsiteX7" fmla="*/ 953005 w 995260"/>
                <a:gd name="connsiteY7" fmla="*/ 755602 h 743295"/>
                <a:gd name="connsiteX8" fmla="*/ 517106 w 995260"/>
                <a:gd name="connsiteY8" fmla="*/ 755602 h 743295"/>
                <a:gd name="connsiteX9" fmla="*/ 417580 w 995260"/>
                <a:gd name="connsiteY9" fmla="*/ 755602 h 743295"/>
                <a:gd name="connsiteX10" fmla="*/ 173175 w 995260"/>
                <a:gd name="connsiteY10" fmla="*/ 755602 h 743295"/>
                <a:gd name="connsiteX11" fmla="*/ 171915 w 995260"/>
                <a:gd name="connsiteY11" fmla="*/ 755602 h 743295"/>
                <a:gd name="connsiteX12" fmla="*/ 130341 w 995260"/>
                <a:gd name="connsiteY12" fmla="*/ 721587 h 743295"/>
                <a:gd name="connsiteX13" fmla="*/ 579 w 995260"/>
                <a:gd name="connsiteY13" fmla="*/ 52621 h 743295"/>
                <a:gd name="connsiteX14" fmla="*/ 34594 w 995260"/>
                <a:gd name="connsiteY14" fmla="*/ 968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5260" h="743295">
                  <a:moveTo>
                    <a:pt x="34594" y="968"/>
                  </a:moveTo>
                  <a:cubicBezTo>
                    <a:pt x="57271" y="-4071"/>
                    <a:pt x="79948" y="11047"/>
                    <a:pt x="83727" y="34984"/>
                  </a:cubicBezTo>
                  <a:lnTo>
                    <a:pt x="207190" y="669935"/>
                  </a:lnTo>
                  <a:lnTo>
                    <a:pt x="363408" y="669935"/>
                  </a:lnTo>
                  <a:lnTo>
                    <a:pt x="517106" y="669935"/>
                  </a:lnTo>
                  <a:lnTo>
                    <a:pt x="953005" y="669935"/>
                  </a:lnTo>
                  <a:cubicBezTo>
                    <a:pt x="976942" y="669935"/>
                    <a:pt x="995839" y="688832"/>
                    <a:pt x="995839" y="712769"/>
                  </a:cubicBezTo>
                  <a:cubicBezTo>
                    <a:pt x="995839" y="736705"/>
                    <a:pt x="976942" y="755602"/>
                    <a:pt x="953005" y="755602"/>
                  </a:cubicBezTo>
                  <a:lnTo>
                    <a:pt x="517106" y="755602"/>
                  </a:lnTo>
                  <a:lnTo>
                    <a:pt x="417580" y="755602"/>
                  </a:lnTo>
                  <a:lnTo>
                    <a:pt x="173175" y="755602"/>
                  </a:lnTo>
                  <a:cubicBezTo>
                    <a:pt x="173175" y="755602"/>
                    <a:pt x="173175" y="755602"/>
                    <a:pt x="171915" y="755602"/>
                  </a:cubicBezTo>
                  <a:cubicBezTo>
                    <a:pt x="151758" y="755602"/>
                    <a:pt x="134120" y="741744"/>
                    <a:pt x="130341" y="721587"/>
                  </a:cubicBezTo>
                  <a:lnTo>
                    <a:pt x="579" y="52621"/>
                  </a:lnTo>
                  <a:cubicBezTo>
                    <a:pt x="-3201" y="27424"/>
                    <a:pt x="11917" y="4748"/>
                    <a:pt x="34594" y="968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/>
            <p:cNvSpPr/>
            <p:nvPr/>
          </p:nvSpPr>
          <p:spPr>
            <a:xfrm>
              <a:off x="2764511" y="4120642"/>
              <a:ext cx="491331" cy="604715"/>
            </a:xfrm>
            <a:custGeom>
              <a:avLst/>
              <a:gdLst>
                <a:gd name="connsiteX0" fmla="*/ 33012 w 491331"/>
                <a:gd name="connsiteY0" fmla="*/ 544244 h 604715"/>
                <a:gd name="connsiteX1" fmla="*/ 36792 w 491331"/>
                <a:gd name="connsiteY1" fmla="*/ 544244 h 604715"/>
                <a:gd name="connsiteX2" fmla="*/ 33012 w 491331"/>
                <a:gd name="connsiteY2" fmla="*/ 531646 h 604715"/>
                <a:gd name="connsiteX3" fmla="*/ 33012 w 491331"/>
                <a:gd name="connsiteY3" fmla="*/ 524087 h 604715"/>
                <a:gd name="connsiteX4" fmla="*/ 54429 w 491331"/>
                <a:gd name="connsiteY4" fmla="*/ 502669 h 604715"/>
                <a:gd name="connsiteX5" fmla="*/ 194270 w 491331"/>
                <a:gd name="connsiteY5" fmla="*/ 502669 h 604715"/>
                <a:gd name="connsiteX6" fmla="*/ 194270 w 491331"/>
                <a:gd name="connsiteY6" fmla="*/ 306137 h 604715"/>
                <a:gd name="connsiteX7" fmla="*/ 214427 w 491331"/>
                <a:gd name="connsiteY7" fmla="*/ 273382 h 604715"/>
                <a:gd name="connsiteX8" fmla="*/ 214427 w 491331"/>
                <a:gd name="connsiteY8" fmla="*/ 134801 h 604715"/>
                <a:gd name="connsiteX9" fmla="*/ 214427 w 491331"/>
                <a:gd name="connsiteY9" fmla="*/ 73070 h 604715"/>
                <a:gd name="connsiteX10" fmla="*/ 64508 w 491331"/>
                <a:gd name="connsiteY10" fmla="*/ 73070 h 604715"/>
                <a:gd name="connsiteX11" fmla="*/ 6556 w 491331"/>
                <a:gd name="connsiteY11" fmla="*/ 15118 h 604715"/>
                <a:gd name="connsiteX12" fmla="*/ 6556 w 491331"/>
                <a:gd name="connsiteY12" fmla="*/ 0 h 604715"/>
                <a:gd name="connsiteX13" fmla="*/ 484029 w 491331"/>
                <a:gd name="connsiteY13" fmla="*/ 0 h 604715"/>
                <a:gd name="connsiteX14" fmla="*/ 484029 w 491331"/>
                <a:gd name="connsiteY14" fmla="*/ 15118 h 604715"/>
                <a:gd name="connsiteX15" fmla="*/ 426077 w 491331"/>
                <a:gd name="connsiteY15" fmla="*/ 73070 h 604715"/>
                <a:gd name="connsiteX16" fmla="*/ 276158 w 491331"/>
                <a:gd name="connsiteY16" fmla="*/ 73070 h 604715"/>
                <a:gd name="connsiteX17" fmla="*/ 276158 w 491331"/>
                <a:gd name="connsiteY17" fmla="*/ 273382 h 604715"/>
                <a:gd name="connsiteX18" fmla="*/ 296316 w 491331"/>
                <a:gd name="connsiteY18" fmla="*/ 306137 h 604715"/>
                <a:gd name="connsiteX19" fmla="*/ 296316 w 491331"/>
                <a:gd name="connsiteY19" fmla="*/ 502669 h 604715"/>
                <a:gd name="connsiteX20" fmla="*/ 436156 w 491331"/>
                <a:gd name="connsiteY20" fmla="*/ 502669 h 604715"/>
                <a:gd name="connsiteX21" fmla="*/ 457573 w 491331"/>
                <a:gd name="connsiteY21" fmla="*/ 524087 h 604715"/>
                <a:gd name="connsiteX22" fmla="*/ 457573 w 491331"/>
                <a:gd name="connsiteY22" fmla="*/ 531646 h 604715"/>
                <a:gd name="connsiteX23" fmla="*/ 453793 w 491331"/>
                <a:gd name="connsiteY23" fmla="*/ 544244 h 604715"/>
                <a:gd name="connsiteX24" fmla="*/ 457573 w 491331"/>
                <a:gd name="connsiteY24" fmla="*/ 544244 h 604715"/>
                <a:gd name="connsiteX25" fmla="*/ 492848 w 491331"/>
                <a:gd name="connsiteY25" fmla="*/ 579519 h 604715"/>
                <a:gd name="connsiteX26" fmla="*/ 457573 w 491331"/>
                <a:gd name="connsiteY26" fmla="*/ 614794 h 604715"/>
                <a:gd name="connsiteX27" fmla="*/ 422298 w 491331"/>
                <a:gd name="connsiteY27" fmla="*/ 579519 h 604715"/>
                <a:gd name="connsiteX28" fmla="*/ 433636 w 491331"/>
                <a:gd name="connsiteY28" fmla="*/ 553062 h 604715"/>
                <a:gd name="connsiteX29" fmla="*/ 342929 w 491331"/>
                <a:gd name="connsiteY29" fmla="*/ 553062 h 604715"/>
                <a:gd name="connsiteX30" fmla="*/ 354267 w 491331"/>
                <a:gd name="connsiteY30" fmla="*/ 579519 h 604715"/>
                <a:gd name="connsiteX31" fmla="*/ 318992 w 491331"/>
                <a:gd name="connsiteY31" fmla="*/ 614794 h 604715"/>
                <a:gd name="connsiteX32" fmla="*/ 283717 w 491331"/>
                <a:gd name="connsiteY32" fmla="*/ 579519 h 604715"/>
                <a:gd name="connsiteX33" fmla="*/ 295056 w 491331"/>
                <a:gd name="connsiteY33" fmla="*/ 553062 h 604715"/>
                <a:gd name="connsiteX34" fmla="*/ 198049 w 491331"/>
                <a:gd name="connsiteY34" fmla="*/ 553062 h 604715"/>
                <a:gd name="connsiteX35" fmla="*/ 209388 w 491331"/>
                <a:gd name="connsiteY35" fmla="*/ 579519 h 604715"/>
                <a:gd name="connsiteX36" fmla="*/ 174113 w 491331"/>
                <a:gd name="connsiteY36" fmla="*/ 614794 h 604715"/>
                <a:gd name="connsiteX37" fmla="*/ 138838 w 491331"/>
                <a:gd name="connsiteY37" fmla="*/ 579519 h 604715"/>
                <a:gd name="connsiteX38" fmla="*/ 150176 w 491331"/>
                <a:gd name="connsiteY38" fmla="*/ 553062 h 604715"/>
                <a:gd name="connsiteX39" fmla="*/ 59469 w 491331"/>
                <a:gd name="connsiteY39" fmla="*/ 553062 h 604715"/>
                <a:gd name="connsiteX40" fmla="*/ 70807 w 491331"/>
                <a:gd name="connsiteY40" fmla="*/ 579519 h 604715"/>
                <a:gd name="connsiteX41" fmla="*/ 35532 w 491331"/>
                <a:gd name="connsiteY41" fmla="*/ 614794 h 604715"/>
                <a:gd name="connsiteX42" fmla="*/ 257 w 491331"/>
                <a:gd name="connsiteY42" fmla="*/ 579519 h 604715"/>
                <a:gd name="connsiteX43" fmla="*/ 33012 w 491331"/>
                <a:gd name="connsiteY43" fmla="*/ 544244 h 60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91331" h="604715">
                  <a:moveTo>
                    <a:pt x="33012" y="544244"/>
                  </a:moveTo>
                  <a:cubicBezTo>
                    <a:pt x="34272" y="544244"/>
                    <a:pt x="35532" y="544244"/>
                    <a:pt x="36792" y="544244"/>
                  </a:cubicBezTo>
                  <a:cubicBezTo>
                    <a:pt x="34272" y="540464"/>
                    <a:pt x="33012" y="536685"/>
                    <a:pt x="33012" y="531646"/>
                  </a:cubicBezTo>
                  <a:lnTo>
                    <a:pt x="33012" y="524087"/>
                  </a:lnTo>
                  <a:cubicBezTo>
                    <a:pt x="33012" y="511488"/>
                    <a:pt x="43091" y="502669"/>
                    <a:pt x="54429" y="502669"/>
                  </a:cubicBezTo>
                  <a:lnTo>
                    <a:pt x="194270" y="502669"/>
                  </a:lnTo>
                  <a:lnTo>
                    <a:pt x="194270" y="306137"/>
                  </a:lnTo>
                  <a:cubicBezTo>
                    <a:pt x="194270" y="292279"/>
                    <a:pt x="203088" y="279681"/>
                    <a:pt x="214427" y="273382"/>
                  </a:cubicBezTo>
                  <a:lnTo>
                    <a:pt x="214427" y="134801"/>
                  </a:lnTo>
                  <a:lnTo>
                    <a:pt x="214427" y="73070"/>
                  </a:lnTo>
                  <a:lnTo>
                    <a:pt x="64508" y="73070"/>
                  </a:lnTo>
                  <a:cubicBezTo>
                    <a:pt x="31753" y="73070"/>
                    <a:pt x="6556" y="46614"/>
                    <a:pt x="6556" y="15118"/>
                  </a:cubicBezTo>
                  <a:lnTo>
                    <a:pt x="6556" y="0"/>
                  </a:lnTo>
                  <a:lnTo>
                    <a:pt x="484029" y="0"/>
                  </a:lnTo>
                  <a:lnTo>
                    <a:pt x="484029" y="15118"/>
                  </a:lnTo>
                  <a:cubicBezTo>
                    <a:pt x="484029" y="47874"/>
                    <a:pt x="457573" y="73070"/>
                    <a:pt x="426077" y="73070"/>
                  </a:cubicBezTo>
                  <a:lnTo>
                    <a:pt x="276158" y="73070"/>
                  </a:lnTo>
                  <a:lnTo>
                    <a:pt x="276158" y="273382"/>
                  </a:lnTo>
                  <a:cubicBezTo>
                    <a:pt x="287497" y="279681"/>
                    <a:pt x="296316" y="291019"/>
                    <a:pt x="296316" y="306137"/>
                  </a:cubicBezTo>
                  <a:lnTo>
                    <a:pt x="296316" y="502669"/>
                  </a:lnTo>
                  <a:lnTo>
                    <a:pt x="436156" y="502669"/>
                  </a:lnTo>
                  <a:cubicBezTo>
                    <a:pt x="448754" y="502669"/>
                    <a:pt x="457573" y="512748"/>
                    <a:pt x="457573" y="524087"/>
                  </a:cubicBezTo>
                  <a:lnTo>
                    <a:pt x="457573" y="531646"/>
                  </a:lnTo>
                  <a:cubicBezTo>
                    <a:pt x="457573" y="536685"/>
                    <a:pt x="456313" y="540464"/>
                    <a:pt x="453793" y="544244"/>
                  </a:cubicBezTo>
                  <a:cubicBezTo>
                    <a:pt x="455053" y="544244"/>
                    <a:pt x="456313" y="544244"/>
                    <a:pt x="457573" y="544244"/>
                  </a:cubicBezTo>
                  <a:cubicBezTo>
                    <a:pt x="477730" y="544244"/>
                    <a:pt x="492848" y="560621"/>
                    <a:pt x="492848" y="579519"/>
                  </a:cubicBezTo>
                  <a:cubicBezTo>
                    <a:pt x="492848" y="599676"/>
                    <a:pt x="476470" y="614794"/>
                    <a:pt x="457573" y="614794"/>
                  </a:cubicBezTo>
                  <a:cubicBezTo>
                    <a:pt x="437416" y="614794"/>
                    <a:pt x="422298" y="598416"/>
                    <a:pt x="422298" y="579519"/>
                  </a:cubicBezTo>
                  <a:cubicBezTo>
                    <a:pt x="422298" y="569440"/>
                    <a:pt x="427337" y="559361"/>
                    <a:pt x="433636" y="553062"/>
                  </a:cubicBezTo>
                  <a:lnTo>
                    <a:pt x="342929" y="553062"/>
                  </a:lnTo>
                  <a:cubicBezTo>
                    <a:pt x="350488" y="559361"/>
                    <a:pt x="354267" y="569440"/>
                    <a:pt x="354267" y="579519"/>
                  </a:cubicBezTo>
                  <a:cubicBezTo>
                    <a:pt x="354267" y="599676"/>
                    <a:pt x="337890" y="614794"/>
                    <a:pt x="318992" y="614794"/>
                  </a:cubicBezTo>
                  <a:cubicBezTo>
                    <a:pt x="298835" y="614794"/>
                    <a:pt x="283717" y="598416"/>
                    <a:pt x="283717" y="579519"/>
                  </a:cubicBezTo>
                  <a:cubicBezTo>
                    <a:pt x="283717" y="569440"/>
                    <a:pt x="288756" y="559361"/>
                    <a:pt x="295056" y="553062"/>
                  </a:cubicBezTo>
                  <a:lnTo>
                    <a:pt x="198049" y="553062"/>
                  </a:lnTo>
                  <a:cubicBezTo>
                    <a:pt x="205608" y="559361"/>
                    <a:pt x="209388" y="569440"/>
                    <a:pt x="209388" y="579519"/>
                  </a:cubicBezTo>
                  <a:cubicBezTo>
                    <a:pt x="209388" y="599676"/>
                    <a:pt x="193010" y="614794"/>
                    <a:pt x="174113" y="614794"/>
                  </a:cubicBezTo>
                  <a:cubicBezTo>
                    <a:pt x="153955" y="614794"/>
                    <a:pt x="138838" y="598416"/>
                    <a:pt x="138838" y="579519"/>
                  </a:cubicBezTo>
                  <a:cubicBezTo>
                    <a:pt x="138838" y="569440"/>
                    <a:pt x="143877" y="559361"/>
                    <a:pt x="150176" y="553062"/>
                  </a:cubicBezTo>
                  <a:lnTo>
                    <a:pt x="59469" y="553062"/>
                  </a:lnTo>
                  <a:cubicBezTo>
                    <a:pt x="67028" y="559361"/>
                    <a:pt x="70807" y="569440"/>
                    <a:pt x="70807" y="579519"/>
                  </a:cubicBezTo>
                  <a:cubicBezTo>
                    <a:pt x="70807" y="599676"/>
                    <a:pt x="54429" y="614794"/>
                    <a:pt x="35532" y="614794"/>
                  </a:cubicBezTo>
                  <a:cubicBezTo>
                    <a:pt x="15375" y="614794"/>
                    <a:pt x="257" y="598416"/>
                    <a:pt x="257" y="579519"/>
                  </a:cubicBezTo>
                  <a:cubicBezTo>
                    <a:pt x="-2263" y="560621"/>
                    <a:pt x="14115" y="544244"/>
                    <a:pt x="33012" y="54424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/>
            <p:cNvSpPr/>
            <p:nvPr/>
          </p:nvSpPr>
          <p:spPr>
            <a:xfrm>
              <a:off x="3349461" y="3871395"/>
              <a:ext cx="163777" cy="768492"/>
            </a:xfrm>
            <a:custGeom>
              <a:avLst/>
              <a:gdLst>
                <a:gd name="connsiteX0" fmla="*/ 127107 w 163777"/>
                <a:gd name="connsiteY0" fmla="*/ 767035 h 768492"/>
                <a:gd name="connsiteX1" fmla="*/ 164902 w 163777"/>
                <a:gd name="connsiteY1" fmla="*/ 82951 h 768492"/>
                <a:gd name="connsiteX2" fmla="*/ 83013 w 163777"/>
                <a:gd name="connsiteY2" fmla="*/ 2322 h 768492"/>
                <a:gd name="connsiteX3" fmla="*/ 2384 w 163777"/>
                <a:gd name="connsiteY3" fmla="*/ 84211 h 768492"/>
                <a:gd name="connsiteX4" fmla="*/ 14982 w 163777"/>
                <a:gd name="connsiteY4" fmla="*/ 770814 h 768492"/>
                <a:gd name="connsiteX5" fmla="*/ 127107 w 163777"/>
                <a:gd name="connsiteY5" fmla="*/ 767035 h 76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777" h="768492">
                  <a:moveTo>
                    <a:pt x="127107" y="767035"/>
                  </a:moveTo>
                  <a:lnTo>
                    <a:pt x="164902" y="82951"/>
                  </a:lnTo>
                  <a:cubicBezTo>
                    <a:pt x="164902" y="37597"/>
                    <a:pt x="127107" y="2322"/>
                    <a:pt x="83013" y="2322"/>
                  </a:cubicBezTo>
                  <a:cubicBezTo>
                    <a:pt x="37659" y="2322"/>
                    <a:pt x="-11474" y="-21614"/>
                    <a:pt x="2384" y="84211"/>
                  </a:cubicBezTo>
                  <a:lnTo>
                    <a:pt x="14982" y="770814"/>
                  </a:lnTo>
                  <a:lnTo>
                    <a:pt x="127107" y="767035"/>
                  </a:lnTo>
                  <a:close/>
                </a:path>
              </a:pathLst>
            </a:custGeom>
            <a:solidFill>
              <a:srgbClr val="557FF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/>
            <p:cNvSpPr/>
            <p:nvPr/>
          </p:nvSpPr>
          <p:spPr>
            <a:xfrm>
              <a:off x="2806342" y="3872457"/>
              <a:ext cx="604715" cy="151179"/>
            </a:xfrm>
            <a:custGeom>
              <a:avLst/>
              <a:gdLst>
                <a:gd name="connsiteX0" fmla="*/ 531645 w 604715"/>
                <a:gd name="connsiteY0" fmla="*/ 0 h 151178"/>
                <a:gd name="connsiteX1" fmla="*/ 0 w 604715"/>
                <a:gd name="connsiteY1" fmla="*/ 0 h 151178"/>
                <a:gd name="connsiteX2" fmla="*/ 0 w 604715"/>
                <a:gd name="connsiteY2" fmla="*/ 69290 h 151178"/>
                <a:gd name="connsiteX3" fmla="*/ 93227 w 604715"/>
                <a:gd name="connsiteY3" fmla="*/ 162517 h 151178"/>
                <a:gd name="connsiteX4" fmla="*/ 531645 w 604715"/>
                <a:gd name="connsiteY4" fmla="*/ 162517 h 151178"/>
                <a:gd name="connsiteX5" fmla="*/ 613534 w 604715"/>
                <a:gd name="connsiteY5" fmla="*/ 80629 h 151178"/>
                <a:gd name="connsiteX6" fmla="*/ 613534 w 604715"/>
                <a:gd name="connsiteY6" fmla="*/ 80629 h 151178"/>
                <a:gd name="connsiteX7" fmla="*/ 531645 w 604715"/>
                <a:gd name="connsiteY7" fmla="*/ 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715" h="151178">
                  <a:moveTo>
                    <a:pt x="531645" y="0"/>
                  </a:moveTo>
                  <a:lnTo>
                    <a:pt x="0" y="0"/>
                  </a:lnTo>
                  <a:lnTo>
                    <a:pt x="0" y="69290"/>
                  </a:lnTo>
                  <a:cubicBezTo>
                    <a:pt x="0" y="120943"/>
                    <a:pt x="41574" y="162517"/>
                    <a:pt x="93227" y="162517"/>
                  </a:cubicBezTo>
                  <a:lnTo>
                    <a:pt x="531645" y="162517"/>
                  </a:lnTo>
                  <a:cubicBezTo>
                    <a:pt x="576999" y="162517"/>
                    <a:pt x="613534" y="125983"/>
                    <a:pt x="613534" y="80629"/>
                  </a:cubicBezTo>
                  <a:lnTo>
                    <a:pt x="613534" y="80629"/>
                  </a:lnTo>
                  <a:cubicBezTo>
                    <a:pt x="612274" y="36535"/>
                    <a:pt x="575739" y="0"/>
                    <a:pt x="531645" y="0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/>
            <p:cNvSpPr/>
            <p:nvPr/>
          </p:nvSpPr>
          <p:spPr>
            <a:xfrm>
              <a:off x="3084763" y="3872353"/>
              <a:ext cx="327554" cy="718099"/>
            </a:xfrm>
            <a:custGeom>
              <a:avLst/>
              <a:gdLst>
                <a:gd name="connsiteX0" fmla="*/ 273382 w 327554"/>
                <a:gd name="connsiteY0" fmla="*/ 2624 h 718099"/>
                <a:gd name="connsiteX1" fmla="*/ 175116 w 327554"/>
                <a:gd name="connsiteY1" fmla="*/ 61835 h 718099"/>
                <a:gd name="connsiteX2" fmla="*/ 0 w 327554"/>
                <a:gd name="connsiteY2" fmla="*/ 700566 h 718099"/>
                <a:gd name="connsiteX3" fmla="*/ 44094 w 327554"/>
                <a:gd name="connsiteY3" fmla="*/ 700566 h 718099"/>
                <a:gd name="connsiteX4" fmla="*/ 88188 w 327554"/>
                <a:gd name="connsiteY4" fmla="*/ 719463 h 718099"/>
                <a:gd name="connsiteX5" fmla="*/ 120943 w 327554"/>
                <a:gd name="connsiteY5" fmla="*/ 729542 h 718099"/>
                <a:gd name="connsiteX6" fmla="*/ 113384 w 327554"/>
                <a:gd name="connsiteY6" fmla="*/ 721983 h 718099"/>
                <a:gd name="connsiteX7" fmla="*/ 332593 w 327554"/>
                <a:gd name="connsiteY7" fmla="*/ 102150 h 718099"/>
                <a:gd name="connsiteX8" fmla="*/ 273382 w 327554"/>
                <a:gd name="connsiteY8" fmla="*/ 2624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554" h="718099">
                  <a:moveTo>
                    <a:pt x="273382" y="2624"/>
                  </a:moveTo>
                  <a:cubicBezTo>
                    <a:pt x="229288" y="-8715"/>
                    <a:pt x="185194" y="17742"/>
                    <a:pt x="175116" y="61835"/>
                  </a:cubicBezTo>
                  <a:lnTo>
                    <a:pt x="0" y="700566"/>
                  </a:lnTo>
                  <a:cubicBezTo>
                    <a:pt x="12598" y="696786"/>
                    <a:pt x="27716" y="696786"/>
                    <a:pt x="44094" y="700566"/>
                  </a:cubicBezTo>
                  <a:cubicBezTo>
                    <a:pt x="60472" y="704345"/>
                    <a:pt x="74330" y="713164"/>
                    <a:pt x="88188" y="719463"/>
                  </a:cubicBezTo>
                  <a:cubicBezTo>
                    <a:pt x="98266" y="723243"/>
                    <a:pt x="109605" y="725762"/>
                    <a:pt x="120943" y="729542"/>
                  </a:cubicBezTo>
                  <a:lnTo>
                    <a:pt x="113384" y="721983"/>
                  </a:lnTo>
                  <a:lnTo>
                    <a:pt x="332593" y="102150"/>
                  </a:lnTo>
                  <a:cubicBezTo>
                    <a:pt x="342672" y="58056"/>
                    <a:pt x="316216" y="13962"/>
                    <a:pt x="273382" y="2624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/>
            <p:cNvSpPr/>
            <p:nvPr/>
          </p:nvSpPr>
          <p:spPr>
            <a:xfrm>
              <a:off x="2900829" y="3795608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7559 h 0"/>
                <a:gd name="connsiteX5" fmla="*/ 0 w 0"/>
                <a:gd name="connsiteY5" fmla="*/ 6299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lnTo>
                    <a:pt x="0" y="1260"/>
                  </a:lnTo>
                  <a:lnTo>
                    <a:pt x="0" y="0"/>
                  </a:lnTo>
                  <a:lnTo>
                    <a:pt x="0" y="1260"/>
                  </a:lnTo>
                  <a:cubicBezTo>
                    <a:pt x="0" y="3779"/>
                    <a:pt x="0" y="5039"/>
                    <a:pt x="0" y="7559"/>
                  </a:cubicBezTo>
                  <a:cubicBezTo>
                    <a:pt x="0" y="7559"/>
                    <a:pt x="0" y="6299"/>
                    <a:pt x="0" y="6299"/>
                  </a:cubicBezTo>
                  <a:cubicBezTo>
                    <a:pt x="0" y="3779"/>
                    <a:pt x="0" y="252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/>
            <p:cNvSpPr/>
            <p:nvPr/>
          </p:nvSpPr>
          <p:spPr>
            <a:xfrm>
              <a:off x="2854215" y="3866158"/>
              <a:ext cx="12598" cy="12598"/>
            </a:xfrm>
            <a:custGeom>
              <a:avLst/>
              <a:gdLst>
                <a:gd name="connsiteX0" fmla="*/ 2520 w 0"/>
                <a:gd name="connsiteY0" fmla="*/ 0 h 0"/>
                <a:gd name="connsiteX1" fmla="*/ 2520 w 0"/>
                <a:gd name="connsiteY1" fmla="*/ 0 h 0"/>
                <a:gd name="connsiteX2" fmla="*/ 2520 w 0"/>
                <a:gd name="connsiteY2" fmla="*/ 0 h 0"/>
                <a:gd name="connsiteX3" fmla="*/ 2520 w 0"/>
                <a:gd name="connsiteY3" fmla="*/ 0 h 0"/>
                <a:gd name="connsiteX4" fmla="*/ 0 w 0"/>
                <a:gd name="connsiteY4" fmla="*/ 1260 h 0"/>
                <a:gd name="connsiteX5" fmla="*/ 1260 w 0"/>
                <a:gd name="connsiteY5" fmla="*/ 1260 h 0"/>
                <a:gd name="connsiteX6" fmla="*/ 2520 w 0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2520" y="0"/>
                  </a:moveTo>
                  <a:lnTo>
                    <a:pt x="2520" y="0"/>
                  </a:lnTo>
                  <a:lnTo>
                    <a:pt x="2520" y="0"/>
                  </a:lnTo>
                  <a:lnTo>
                    <a:pt x="2520" y="0"/>
                  </a:lnTo>
                  <a:cubicBezTo>
                    <a:pt x="1260" y="0"/>
                    <a:pt x="0" y="1260"/>
                    <a:pt x="0" y="1260"/>
                  </a:cubicBezTo>
                  <a:cubicBezTo>
                    <a:pt x="0" y="1260"/>
                    <a:pt x="1260" y="1260"/>
                    <a:pt x="1260" y="1260"/>
                  </a:cubicBezTo>
                  <a:cubicBezTo>
                    <a:pt x="1260" y="1260"/>
                    <a:pt x="1260" y="1260"/>
                    <a:pt x="252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/>
            <p:cNvSpPr/>
            <p:nvPr/>
          </p:nvSpPr>
          <p:spPr>
            <a:xfrm>
              <a:off x="2876892" y="3854820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126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1260 h 0"/>
                <a:gd name="connsiteX5" fmla="*/ 0 w 0"/>
                <a:gd name="connsiteY5" fmla="*/ 1260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0" y="1260"/>
                    <a:pt x="0" y="0"/>
                    <a:pt x="0" y="1260"/>
                  </a:cubicBezTo>
                  <a:cubicBezTo>
                    <a:pt x="1260" y="0"/>
                    <a:pt x="1260" y="0"/>
                    <a:pt x="1260" y="0"/>
                  </a:cubicBezTo>
                  <a:cubicBezTo>
                    <a:pt x="1260" y="0"/>
                    <a:pt x="0" y="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lnTo>
                    <a:pt x="0" y="126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/>
            <p:cNvSpPr/>
            <p:nvPr/>
          </p:nvSpPr>
          <p:spPr>
            <a:xfrm>
              <a:off x="2856735" y="3862379"/>
              <a:ext cx="12598" cy="12598"/>
            </a:xfrm>
            <a:custGeom>
              <a:avLst/>
              <a:gdLst>
                <a:gd name="connsiteX0" fmla="*/ 6299 w 0"/>
                <a:gd name="connsiteY0" fmla="*/ 1260 h 0"/>
                <a:gd name="connsiteX1" fmla="*/ 6299 w 0"/>
                <a:gd name="connsiteY1" fmla="*/ 1260 h 0"/>
                <a:gd name="connsiteX2" fmla="*/ 7559 w 0"/>
                <a:gd name="connsiteY2" fmla="*/ 0 h 0"/>
                <a:gd name="connsiteX3" fmla="*/ 6299 w 0"/>
                <a:gd name="connsiteY3" fmla="*/ 1260 h 0"/>
                <a:gd name="connsiteX4" fmla="*/ 0 w 0"/>
                <a:gd name="connsiteY4" fmla="*/ 3780 h 0"/>
                <a:gd name="connsiteX5" fmla="*/ 1260 w 0"/>
                <a:gd name="connsiteY5" fmla="*/ 3780 h 0"/>
                <a:gd name="connsiteX6" fmla="*/ 6299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6299" y="1260"/>
                  </a:moveTo>
                  <a:cubicBezTo>
                    <a:pt x="7559" y="1260"/>
                    <a:pt x="7559" y="1260"/>
                    <a:pt x="6299" y="1260"/>
                  </a:cubicBezTo>
                  <a:cubicBezTo>
                    <a:pt x="7559" y="1260"/>
                    <a:pt x="7559" y="0"/>
                    <a:pt x="7559" y="0"/>
                  </a:cubicBezTo>
                  <a:cubicBezTo>
                    <a:pt x="7559" y="1260"/>
                    <a:pt x="7559" y="1260"/>
                    <a:pt x="6299" y="1260"/>
                  </a:cubicBezTo>
                  <a:cubicBezTo>
                    <a:pt x="5039" y="1260"/>
                    <a:pt x="2520" y="2520"/>
                    <a:pt x="0" y="3780"/>
                  </a:cubicBezTo>
                  <a:cubicBezTo>
                    <a:pt x="0" y="3780"/>
                    <a:pt x="1260" y="3780"/>
                    <a:pt x="1260" y="3780"/>
                  </a:cubicBezTo>
                  <a:cubicBezTo>
                    <a:pt x="3779" y="2520"/>
                    <a:pt x="5039" y="2520"/>
                    <a:pt x="6299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/>
            <p:cNvSpPr/>
            <p:nvPr/>
          </p:nvSpPr>
          <p:spPr>
            <a:xfrm>
              <a:off x="2898309" y="3764113"/>
              <a:ext cx="12598" cy="12598"/>
            </a:xfrm>
            <a:custGeom>
              <a:avLst/>
              <a:gdLst>
                <a:gd name="connsiteX0" fmla="*/ 1260 w 0"/>
                <a:gd name="connsiteY0" fmla="*/ 6299 h 0"/>
                <a:gd name="connsiteX1" fmla="*/ 0 w 0"/>
                <a:gd name="connsiteY1" fmla="*/ 0 h 0"/>
                <a:gd name="connsiteX2" fmla="*/ 1260 w 0"/>
                <a:gd name="connsiteY2" fmla="*/ 6299 h 0"/>
                <a:gd name="connsiteX3" fmla="*/ 1260 w 0"/>
                <a:gd name="connsiteY3" fmla="*/ 8819 h 0"/>
                <a:gd name="connsiteX4" fmla="*/ 1260 w 0"/>
                <a:gd name="connsiteY4" fmla="*/ 6299 h 0"/>
                <a:gd name="connsiteX5" fmla="*/ 1260 w 0"/>
                <a:gd name="connsiteY5" fmla="*/ 62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260" y="6299"/>
                  </a:moveTo>
                  <a:cubicBezTo>
                    <a:pt x="1260" y="3779"/>
                    <a:pt x="0" y="2520"/>
                    <a:pt x="0" y="0"/>
                  </a:cubicBezTo>
                  <a:cubicBezTo>
                    <a:pt x="0" y="2520"/>
                    <a:pt x="1260" y="3779"/>
                    <a:pt x="1260" y="6299"/>
                  </a:cubicBezTo>
                  <a:cubicBezTo>
                    <a:pt x="1260" y="7559"/>
                    <a:pt x="1260" y="7559"/>
                    <a:pt x="1260" y="8819"/>
                  </a:cubicBezTo>
                  <a:cubicBezTo>
                    <a:pt x="1260" y="7559"/>
                    <a:pt x="1260" y="7559"/>
                    <a:pt x="1260" y="6299"/>
                  </a:cubicBezTo>
                  <a:cubicBezTo>
                    <a:pt x="1260" y="6299"/>
                    <a:pt x="1260" y="6299"/>
                    <a:pt x="1260" y="6299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/>
            <p:cNvSpPr/>
            <p:nvPr/>
          </p:nvSpPr>
          <p:spPr>
            <a:xfrm>
              <a:off x="2808862" y="3851040"/>
              <a:ext cx="25196" cy="12598"/>
            </a:xfrm>
            <a:custGeom>
              <a:avLst/>
              <a:gdLst>
                <a:gd name="connsiteX0" fmla="*/ 8819 w 25196"/>
                <a:gd name="connsiteY0" fmla="*/ 15118 h 12598"/>
                <a:gd name="connsiteX1" fmla="*/ 13858 w 25196"/>
                <a:gd name="connsiteY1" fmla="*/ 16378 h 12598"/>
                <a:gd name="connsiteX2" fmla="*/ 17637 w 25196"/>
                <a:gd name="connsiteY2" fmla="*/ 16378 h 12598"/>
                <a:gd name="connsiteX3" fmla="*/ 17637 w 25196"/>
                <a:gd name="connsiteY3" fmla="*/ 16378 h 12598"/>
                <a:gd name="connsiteX4" fmla="*/ 25196 w 25196"/>
                <a:gd name="connsiteY4" fmla="*/ 17637 h 12598"/>
                <a:gd name="connsiteX5" fmla="*/ 20157 w 25196"/>
                <a:gd name="connsiteY5" fmla="*/ 16378 h 12598"/>
                <a:gd name="connsiteX6" fmla="*/ 15118 w 25196"/>
                <a:gd name="connsiteY6" fmla="*/ 13858 h 12598"/>
                <a:gd name="connsiteX7" fmla="*/ 10079 w 25196"/>
                <a:gd name="connsiteY7" fmla="*/ 11338 h 12598"/>
                <a:gd name="connsiteX8" fmla="*/ 10079 w 25196"/>
                <a:gd name="connsiteY8" fmla="*/ 11338 h 12598"/>
                <a:gd name="connsiteX9" fmla="*/ 7559 w 25196"/>
                <a:gd name="connsiteY9" fmla="*/ 8819 h 12598"/>
                <a:gd name="connsiteX10" fmla="*/ 1260 w 25196"/>
                <a:gd name="connsiteY10" fmla="*/ 2520 h 12598"/>
                <a:gd name="connsiteX11" fmla="*/ 0 w 25196"/>
                <a:gd name="connsiteY11" fmla="*/ 0 h 12598"/>
                <a:gd name="connsiteX12" fmla="*/ 0 w 25196"/>
                <a:gd name="connsiteY12" fmla="*/ 1260 h 12598"/>
                <a:gd name="connsiteX13" fmla="*/ 2520 w 25196"/>
                <a:gd name="connsiteY13" fmla="*/ 8819 h 12598"/>
                <a:gd name="connsiteX14" fmla="*/ 3780 w 25196"/>
                <a:gd name="connsiteY14" fmla="*/ 10079 h 12598"/>
                <a:gd name="connsiteX15" fmla="*/ 5039 w 25196"/>
                <a:gd name="connsiteY15" fmla="*/ 11338 h 12598"/>
                <a:gd name="connsiteX16" fmla="*/ 8819 w 25196"/>
                <a:gd name="connsiteY16" fmla="*/ 15118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196" h="12598">
                  <a:moveTo>
                    <a:pt x="8819" y="15118"/>
                  </a:moveTo>
                  <a:cubicBezTo>
                    <a:pt x="10079" y="16378"/>
                    <a:pt x="12598" y="16378"/>
                    <a:pt x="13858" y="16378"/>
                  </a:cubicBezTo>
                  <a:cubicBezTo>
                    <a:pt x="15118" y="16378"/>
                    <a:pt x="16378" y="16378"/>
                    <a:pt x="17637" y="16378"/>
                  </a:cubicBezTo>
                  <a:lnTo>
                    <a:pt x="17637" y="16378"/>
                  </a:lnTo>
                  <a:cubicBezTo>
                    <a:pt x="20157" y="16378"/>
                    <a:pt x="22677" y="16378"/>
                    <a:pt x="25196" y="17637"/>
                  </a:cubicBezTo>
                  <a:cubicBezTo>
                    <a:pt x="23937" y="17637"/>
                    <a:pt x="21417" y="16378"/>
                    <a:pt x="20157" y="16378"/>
                  </a:cubicBezTo>
                  <a:cubicBezTo>
                    <a:pt x="17637" y="15118"/>
                    <a:pt x="16378" y="15118"/>
                    <a:pt x="15118" y="13858"/>
                  </a:cubicBezTo>
                  <a:cubicBezTo>
                    <a:pt x="13858" y="12598"/>
                    <a:pt x="12598" y="12598"/>
                    <a:pt x="10079" y="11338"/>
                  </a:cubicBezTo>
                  <a:lnTo>
                    <a:pt x="10079" y="11338"/>
                  </a:lnTo>
                  <a:cubicBezTo>
                    <a:pt x="8819" y="10079"/>
                    <a:pt x="7559" y="10079"/>
                    <a:pt x="7559" y="8819"/>
                  </a:cubicBezTo>
                  <a:cubicBezTo>
                    <a:pt x="6299" y="7559"/>
                    <a:pt x="3780" y="5039"/>
                    <a:pt x="1260" y="2520"/>
                  </a:cubicBezTo>
                  <a:cubicBezTo>
                    <a:pt x="0" y="1260"/>
                    <a:pt x="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1260" y="3780"/>
                    <a:pt x="2520" y="6299"/>
                    <a:pt x="2520" y="8819"/>
                  </a:cubicBezTo>
                  <a:cubicBezTo>
                    <a:pt x="2520" y="8819"/>
                    <a:pt x="2520" y="10079"/>
                    <a:pt x="3780" y="10079"/>
                  </a:cubicBezTo>
                  <a:cubicBezTo>
                    <a:pt x="3780" y="10079"/>
                    <a:pt x="3780" y="11338"/>
                    <a:pt x="5039" y="11338"/>
                  </a:cubicBezTo>
                  <a:cubicBezTo>
                    <a:pt x="6299" y="12598"/>
                    <a:pt x="7559" y="13858"/>
                    <a:pt x="8819" y="1511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/>
            <p:cNvSpPr/>
            <p:nvPr/>
          </p:nvSpPr>
          <p:spPr>
            <a:xfrm>
              <a:off x="2845711" y="3869938"/>
              <a:ext cx="12598" cy="12598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0 h 0"/>
                <a:gd name="connsiteX2" fmla="*/ 945 w 0"/>
                <a:gd name="connsiteY2" fmla="*/ 0 h 0"/>
                <a:gd name="connsiteX3" fmla="*/ 94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/>
            <p:cNvSpPr/>
            <p:nvPr/>
          </p:nvSpPr>
          <p:spPr>
            <a:xfrm>
              <a:off x="2900829" y="3786789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/>
            <p:cNvSpPr/>
            <p:nvPr/>
          </p:nvSpPr>
          <p:spPr>
            <a:xfrm>
              <a:off x="2885711" y="3732617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1260 w 0"/>
                <a:gd name="connsiteY1" fmla="*/ 3779 h 0"/>
                <a:gd name="connsiteX2" fmla="*/ 1260 w 0"/>
                <a:gd name="connsiteY2" fmla="*/ 3779 h 0"/>
                <a:gd name="connsiteX3" fmla="*/ 1260 w 0"/>
                <a:gd name="connsiteY3" fmla="*/ 3779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1260" y="2520"/>
                    <a:pt x="1260" y="3779"/>
                  </a:cubicBezTo>
                  <a:lnTo>
                    <a:pt x="1260" y="3779"/>
                  </a:lnTo>
                  <a:lnTo>
                    <a:pt x="1260" y="3779"/>
                  </a:lnTo>
                  <a:cubicBezTo>
                    <a:pt x="126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/>
            <p:cNvSpPr/>
            <p:nvPr/>
          </p:nvSpPr>
          <p:spPr>
            <a:xfrm>
              <a:off x="2783665" y="3420181"/>
              <a:ext cx="12598" cy="62991"/>
            </a:xfrm>
            <a:custGeom>
              <a:avLst/>
              <a:gdLst>
                <a:gd name="connsiteX0" fmla="*/ 1260 w 0"/>
                <a:gd name="connsiteY0" fmla="*/ 68030 h 62991"/>
                <a:gd name="connsiteX1" fmla="*/ 1260 w 0"/>
                <a:gd name="connsiteY1" fmla="*/ 68030 h 62991"/>
                <a:gd name="connsiteX2" fmla="*/ 1260 w 0"/>
                <a:gd name="connsiteY2" fmla="*/ 66771 h 62991"/>
                <a:gd name="connsiteX3" fmla="*/ 1260 w 0"/>
                <a:gd name="connsiteY3" fmla="*/ 65511 h 62991"/>
                <a:gd name="connsiteX4" fmla="*/ 1260 w 0"/>
                <a:gd name="connsiteY4" fmla="*/ 64251 h 62991"/>
                <a:gd name="connsiteX5" fmla="*/ 1260 w 0"/>
                <a:gd name="connsiteY5" fmla="*/ 60472 h 62991"/>
                <a:gd name="connsiteX6" fmla="*/ 1260 w 0"/>
                <a:gd name="connsiteY6" fmla="*/ 57952 h 62991"/>
                <a:gd name="connsiteX7" fmla="*/ 1260 w 0"/>
                <a:gd name="connsiteY7" fmla="*/ 55432 h 62991"/>
                <a:gd name="connsiteX8" fmla="*/ 1260 w 0"/>
                <a:gd name="connsiteY8" fmla="*/ 45354 h 62991"/>
                <a:gd name="connsiteX9" fmla="*/ 1260 w 0"/>
                <a:gd name="connsiteY9" fmla="*/ 42834 h 62991"/>
                <a:gd name="connsiteX10" fmla="*/ 0 w 0"/>
                <a:gd name="connsiteY10" fmla="*/ 32755 h 62991"/>
                <a:gd name="connsiteX11" fmla="*/ 0 w 0"/>
                <a:gd name="connsiteY11" fmla="*/ 30236 h 62991"/>
                <a:gd name="connsiteX12" fmla="*/ 0 w 0"/>
                <a:gd name="connsiteY12" fmla="*/ 27716 h 62991"/>
                <a:gd name="connsiteX13" fmla="*/ 0 w 0"/>
                <a:gd name="connsiteY13" fmla="*/ 25196 h 62991"/>
                <a:gd name="connsiteX14" fmla="*/ 0 w 0"/>
                <a:gd name="connsiteY14" fmla="*/ 21417 h 62991"/>
                <a:gd name="connsiteX15" fmla="*/ 0 w 0"/>
                <a:gd name="connsiteY15" fmla="*/ 13858 h 62991"/>
                <a:gd name="connsiteX16" fmla="*/ 0 w 0"/>
                <a:gd name="connsiteY16" fmla="*/ 10079 h 62991"/>
                <a:gd name="connsiteX17" fmla="*/ 0 w 0"/>
                <a:gd name="connsiteY17" fmla="*/ 8819 h 62991"/>
                <a:gd name="connsiteX18" fmla="*/ 0 w 0"/>
                <a:gd name="connsiteY18" fmla="*/ 5039 h 62991"/>
                <a:gd name="connsiteX19" fmla="*/ 0 w 0"/>
                <a:gd name="connsiteY19" fmla="*/ 3780 h 62991"/>
                <a:gd name="connsiteX20" fmla="*/ 0 w 0"/>
                <a:gd name="connsiteY20" fmla="*/ 1260 h 62991"/>
                <a:gd name="connsiteX21" fmla="*/ 0 w 0"/>
                <a:gd name="connsiteY21" fmla="*/ 1260 h 62991"/>
                <a:gd name="connsiteX22" fmla="*/ 0 w 0"/>
                <a:gd name="connsiteY22" fmla="*/ 1260 h 62991"/>
                <a:gd name="connsiteX23" fmla="*/ 0 w 0"/>
                <a:gd name="connsiteY23" fmla="*/ 1260 h 62991"/>
                <a:gd name="connsiteX24" fmla="*/ 0 w 0"/>
                <a:gd name="connsiteY24" fmla="*/ 1260 h 62991"/>
                <a:gd name="connsiteX25" fmla="*/ 0 w 0"/>
                <a:gd name="connsiteY25" fmla="*/ 1260 h 62991"/>
                <a:gd name="connsiteX26" fmla="*/ 0 w 0"/>
                <a:gd name="connsiteY26" fmla="*/ 0 h 62991"/>
                <a:gd name="connsiteX27" fmla="*/ 0 w 0"/>
                <a:gd name="connsiteY27" fmla="*/ 6299 h 62991"/>
                <a:gd name="connsiteX28" fmla="*/ 1260 w 0"/>
                <a:gd name="connsiteY28" fmla="*/ 31496 h 62991"/>
                <a:gd name="connsiteX29" fmla="*/ 2520 w 0"/>
                <a:gd name="connsiteY29" fmla="*/ 70550 h 62991"/>
                <a:gd name="connsiteX30" fmla="*/ 2520 w 0"/>
                <a:gd name="connsiteY30" fmla="*/ 70550 h 62991"/>
                <a:gd name="connsiteX31" fmla="*/ 2520 w 0"/>
                <a:gd name="connsiteY31" fmla="*/ 70550 h 62991"/>
                <a:gd name="connsiteX32" fmla="*/ 1260 w 0"/>
                <a:gd name="connsiteY32" fmla="*/ 6803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h="62991">
                  <a:moveTo>
                    <a:pt x="1260" y="68030"/>
                  </a:moveTo>
                  <a:cubicBezTo>
                    <a:pt x="1260" y="68030"/>
                    <a:pt x="1260" y="68030"/>
                    <a:pt x="1260" y="68030"/>
                  </a:cubicBezTo>
                  <a:lnTo>
                    <a:pt x="1260" y="66771"/>
                  </a:lnTo>
                  <a:lnTo>
                    <a:pt x="1260" y="65511"/>
                  </a:lnTo>
                  <a:lnTo>
                    <a:pt x="1260" y="64251"/>
                  </a:lnTo>
                  <a:cubicBezTo>
                    <a:pt x="1260" y="62991"/>
                    <a:pt x="1260" y="61731"/>
                    <a:pt x="1260" y="60472"/>
                  </a:cubicBezTo>
                  <a:cubicBezTo>
                    <a:pt x="1260" y="59212"/>
                    <a:pt x="1260" y="59212"/>
                    <a:pt x="1260" y="57952"/>
                  </a:cubicBezTo>
                  <a:cubicBezTo>
                    <a:pt x="1260" y="56692"/>
                    <a:pt x="1260" y="56692"/>
                    <a:pt x="1260" y="55432"/>
                  </a:cubicBezTo>
                  <a:cubicBezTo>
                    <a:pt x="1260" y="51653"/>
                    <a:pt x="1260" y="49133"/>
                    <a:pt x="1260" y="45354"/>
                  </a:cubicBezTo>
                  <a:cubicBezTo>
                    <a:pt x="1260" y="44094"/>
                    <a:pt x="1260" y="44094"/>
                    <a:pt x="1260" y="42834"/>
                  </a:cubicBezTo>
                  <a:cubicBezTo>
                    <a:pt x="1260" y="40314"/>
                    <a:pt x="1260" y="36535"/>
                    <a:pt x="0" y="32755"/>
                  </a:cubicBezTo>
                  <a:cubicBezTo>
                    <a:pt x="0" y="31496"/>
                    <a:pt x="0" y="30236"/>
                    <a:pt x="0" y="30236"/>
                  </a:cubicBezTo>
                  <a:cubicBezTo>
                    <a:pt x="0" y="28976"/>
                    <a:pt x="0" y="28976"/>
                    <a:pt x="0" y="27716"/>
                  </a:cubicBezTo>
                  <a:lnTo>
                    <a:pt x="0" y="25196"/>
                  </a:lnTo>
                  <a:cubicBezTo>
                    <a:pt x="0" y="23937"/>
                    <a:pt x="0" y="22677"/>
                    <a:pt x="0" y="21417"/>
                  </a:cubicBezTo>
                  <a:cubicBezTo>
                    <a:pt x="0" y="18897"/>
                    <a:pt x="0" y="16378"/>
                    <a:pt x="0" y="13858"/>
                  </a:cubicBezTo>
                  <a:cubicBezTo>
                    <a:pt x="0" y="12598"/>
                    <a:pt x="0" y="11338"/>
                    <a:pt x="0" y="10079"/>
                  </a:cubicBezTo>
                  <a:lnTo>
                    <a:pt x="0" y="8819"/>
                  </a:lnTo>
                  <a:cubicBezTo>
                    <a:pt x="0" y="7559"/>
                    <a:pt x="0" y="6299"/>
                    <a:pt x="0" y="5039"/>
                  </a:cubicBezTo>
                  <a:cubicBezTo>
                    <a:pt x="0" y="5039"/>
                    <a:pt x="0" y="3780"/>
                    <a:pt x="0" y="3780"/>
                  </a:cubicBezTo>
                  <a:cubicBezTo>
                    <a:pt x="0" y="2520"/>
                    <a:pt x="0" y="252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cubicBezTo>
                    <a:pt x="0" y="1260"/>
                    <a:pt x="0" y="0"/>
                    <a:pt x="0" y="0"/>
                  </a:cubicBezTo>
                  <a:cubicBezTo>
                    <a:pt x="0" y="2520"/>
                    <a:pt x="0" y="3780"/>
                    <a:pt x="0" y="6299"/>
                  </a:cubicBezTo>
                  <a:cubicBezTo>
                    <a:pt x="0" y="13858"/>
                    <a:pt x="1260" y="22677"/>
                    <a:pt x="1260" y="31496"/>
                  </a:cubicBezTo>
                  <a:cubicBezTo>
                    <a:pt x="1260" y="44094"/>
                    <a:pt x="2520" y="57952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1260" y="70550"/>
                    <a:pt x="1260" y="69290"/>
                    <a:pt x="1260" y="68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/>
            <p:cNvSpPr/>
            <p:nvPr/>
          </p:nvSpPr>
          <p:spPr>
            <a:xfrm>
              <a:off x="2771067" y="3358449"/>
              <a:ext cx="37795" cy="176375"/>
            </a:xfrm>
            <a:custGeom>
              <a:avLst/>
              <a:gdLst>
                <a:gd name="connsiteX0" fmla="*/ 8819 w 37794"/>
                <a:gd name="connsiteY0" fmla="*/ 44094 h 176375"/>
                <a:gd name="connsiteX1" fmla="*/ 8819 w 37794"/>
                <a:gd name="connsiteY1" fmla="*/ 45354 h 176375"/>
                <a:gd name="connsiteX2" fmla="*/ 8819 w 37794"/>
                <a:gd name="connsiteY2" fmla="*/ 46614 h 176375"/>
                <a:gd name="connsiteX3" fmla="*/ 8819 w 37794"/>
                <a:gd name="connsiteY3" fmla="*/ 49133 h 176375"/>
                <a:gd name="connsiteX4" fmla="*/ 8819 w 37794"/>
                <a:gd name="connsiteY4" fmla="*/ 50393 h 176375"/>
                <a:gd name="connsiteX5" fmla="*/ 8819 w 37794"/>
                <a:gd name="connsiteY5" fmla="*/ 52913 h 176375"/>
                <a:gd name="connsiteX6" fmla="*/ 8819 w 37794"/>
                <a:gd name="connsiteY6" fmla="*/ 59212 h 176375"/>
                <a:gd name="connsiteX7" fmla="*/ 8819 w 37794"/>
                <a:gd name="connsiteY7" fmla="*/ 62991 h 176375"/>
                <a:gd name="connsiteX8" fmla="*/ 8819 w 37794"/>
                <a:gd name="connsiteY8" fmla="*/ 64251 h 176375"/>
                <a:gd name="connsiteX9" fmla="*/ 8819 w 37794"/>
                <a:gd name="connsiteY9" fmla="*/ 64251 h 176375"/>
                <a:gd name="connsiteX10" fmla="*/ 8819 w 37794"/>
                <a:gd name="connsiteY10" fmla="*/ 64251 h 176375"/>
                <a:gd name="connsiteX11" fmla="*/ 8819 w 37794"/>
                <a:gd name="connsiteY11" fmla="*/ 64251 h 176375"/>
                <a:gd name="connsiteX12" fmla="*/ 8819 w 37794"/>
                <a:gd name="connsiteY12" fmla="*/ 64251 h 176375"/>
                <a:gd name="connsiteX13" fmla="*/ 8819 w 37794"/>
                <a:gd name="connsiteY13" fmla="*/ 64251 h 176375"/>
                <a:gd name="connsiteX14" fmla="*/ 8819 w 37794"/>
                <a:gd name="connsiteY14" fmla="*/ 66771 h 176375"/>
                <a:gd name="connsiteX15" fmla="*/ 8819 w 37794"/>
                <a:gd name="connsiteY15" fmla="*/ 68031 h 176375"/>
                <a:gd name="connsiteX16" fmla="*/ 8819 w 37794"/>
                <a:gd name="connsiteY16" fmla="*/ 71810 h 176375"/>
                <a:gd name="connsiteX17" fmla="*/ 8819 w 37794"/>
                <a:gd name="connsiteY17" fmla="*/ 73070 h 176375"/>
                <a:gd name="connsiteX18" fmla="*/ 8819 w 37794"/>
                <a:gd name="connsiteY18" fmla="*/ 76849 h 176375"/>
                <a:gd name="connsiteX19" fmla="*/ 8819 w 37794"/>
                <a:gd name="connsiteY19" fmla="*/ 84408 h 176375"/>
                <a:gd name="connsiteX20" fmla="*/ 8819 w 37794"/>
                <a:gd name="connsiteY20" fmla="*/ 88188 h 176375"/>
                <a:gd name="connsiteX21" fmla="*/ 8819 w 37794"/>
                <a:gd name="connsiteY21" fmla="*/ 90707 h 176375"/>
                <a:gd name="connsiteX22" fmla="*/ 8819 w 37794"/>
                <a:gd name="connsiteY22" fmla="*/ 93227 h 176375"/>
                <a:gd name="connsiteX23" fmla="*/ 8819 w 37794"/>
                <a:gd name="connsiteY23" fmla="*/ 95747 h 176375"/>
                <a:gd name="connsiteX24" fmla="*/ 10079 w 37794"/>
                <a:gd name="connsiteY24" fmla="*/ 105825 h 176375"/>
                <a:gd name="connsiteX25" fmla="*/ 10079 w 37794"/>
                <a:gd name="connsiteY25" fmla="*/ 108345 h 176375"/>
                <a:gd name="connsiteX26" fmla="*/ 10079 w 37794"/>
                <a:gd name="connsiteY26" fmla="*/ 118424 h 176375"/>
                <a:gd name="connsiteX27" fmla="*/ 10079 w 37794"/>
                <a:gd name="connsiteY27" fmla="*/ 120943 h 176375"/>
                <a:gd name="connsiteX28" fmla="*/ 10079 w 37794"/>
                <a:gd name="connsiteY28" fmla="*/ 123463 h 176375"/>
                <a:gd name="connsiteX29" fmla="*/ 10079 w 37794"/>
                <a:gd name="connsiteY29" fmla="*/ 127242 h 176375"/>
                <a:gd name="connsiteX30" fmla="*/ 10079 w 37794"/>
                <a:gd name="connsiteY30" fmla="*/ 128502 h 176375"/>
                <a:gd name="connsiteX31" fmla="*/ 10079 w 37794"/>
                <a:gd name="connsiteY31" fmla="*/ 129762 h 176375"/>
                <a:gd name="connsiteX32" fmla="*/ 10079 w 37794"/>
                <a:gd name="connsiteY32" fmla="*/ 131022 h 176375"/>
                <a:gd name="connsiteX33" fmla="*/ 10079 w 37794"/>
                <a:gd name="connsiteY33" fmla="*/ 132281 h 176375"/>
                <a:gd name="connsiteX34" fmla="*/ 10079 w 37794"/>
                <a:gd name="connsiteY34" fmla="*/ 136061 h 176375"/>
                <a:gd name="connsiteX35" fmla="*/ 10079 w 37794"/>
                <a:gd name="connsiteY35" fmla="*/ 136061 h 176375"/>
                <a:gd name="connsiteX36" fmla="*/ 10079 w 37794"/>
                <a:gd name="connsiteY36" fmla="*/ 148659 h 176375"/>
                <a:gd name="connsiteX37" fmla="*/ 10079 w 37794"/>
                <a:gd name="connsiteY37" fmla="*/ 149919 h 176375"/>
                <a:gd name="connsiteX38" fmla="*/ 11338 w 37794"/>
                <a:gd name="connsiteY38" fmla="*/ 166297 h 176375"/>
                <a:gd name="connsiteX39" fmla="*/ 11338 w 37794"/>
                <a:gd name="connsiteY39" fmla="*/ 173856 h 176375"/>
                <a:gd name="connsiteX40" fmla="*/ 11338 w 37794"/>
                <a:gd name="connsiteY40" fmla="*/ 183934 h 176375"/>
                <a:gd name="connsiteX41" fmla="*/ 11338 w 37794"/>
                <a:gd name="connsiteY41" fmla="*/ 183934 h 176375"/>
                <a:gd name="connsiteX42" fmla="*/ 11338 w 37794"/>
                <a:gd name="connsiteY42" fmla="*/ 183934 h 176375"/>
                <a:gd name="connsiteX43" fmla="*/ 11338 w 37794"/>
                <a:gd name="connsiteY43" fmla="*/ 183934 h 176375"/>
                <a:gd name="connsiteX44" fmla="*/ 11338 w 37794"/>
                <a:gd name="connsiteY44" fmla="*/ 183934 h 176375"/>
                <a:gd name="connsiteX45" fmla="*/ 12598 w 37794"/>
                <a:gd name="connsiteY45" fmla="*/ 185194 h 176375"/>
                <a:gd name="connsiteX46" fmla="*/ 12598 w 37794"/>
                <a:gd name="connsiteY46" fmla="*/ 185194 h 176375"/>
                <a:gd name="connsiteX47" fmla="*/ 13858 w 37794"/>
                <a:gd name="connsiteY47" fmla="*/ 185194 h 176375"/>
                <a:gd name="connsiteX48" fmla="*/ 15118 w 37794"/>
                <a:gd name="connsiteY48" fmla="*/ 185194 h 176375"/>
                <a:gd name="connsiteX49" fmla="*/ 16378 w 37794"/>
                <a:gd name="connsiteY49" fmla="*/ 185194 h 176375"/>
                <a:gd name="connsiteX50" fmla="*/ 17637 w 37794"/>
                <a:gd name="connsiteY50" fmla="*/ 183934 h 176375"/>
                <a:gd name="connsiteX51" fmla="*/ 17637 w 37794"/>
                <a:gd name="connsiteY51" fmla="*/ 183934 h 176375"/>
                <a:gd name="connsiteX52" fmla="*/ 18897 w 37794"/>
                <a:gd name="connsiteY52" fmla="*/ 178895 h 176375"/>
                <a:gd name="connsiteX53" fmla="*/ 18897 w 37794"/>
                <a:gd name="connsiteY53" fmla="*/ 178895 h 176375"/>
                <a:gd name="connsiteX54" fmla="*/ 18897 w 37794"/>
                <a:gd name="connsiteY54" fmla="*/ 177635 h 176375"/>
                <a:gd name="connsiteX55" fmla="*/ 20157 w 37794"/>
                <a:gd name="connsiteY55" fmla="*/ 173856 h 176375"/>
                <a:gd name="connsiteX56" fmla="*/ 20157 w 37794"/>
                <a:gd name="connsiteY56" fmla="*/ 173856 h 176375"/>
                <a:gd name="connsiteX57" fmla="*/ 20157 w 37794"/>
                <a:gd name="connsiteY57" fmla="*/ 173856 h 176375"/>
                <a:gd name="connsiteX58" fmla="*/ 21417 w 37794"/>
                <a:gd name="connsiteY58" fmla="*/ 165037 h 176375"/>
                <a:gd name="connsiteX59" fmla="*/ 21417 w 37794"/>
                <a:gd name="connsiteY59" fmla="*/ 163777 h 176375"/>
                <a:gd name="connsiteX60" fmla="*/ 21417 w 37794"/>
                <a:gd name="connsiteY60" fmla="*/ 161257 h 176375"/>
                <a:gd name="connsiteX61" fmla="*/ 21417 w 37794"/>
                <a:gd name="connsiteY61" fmla="*/ 158738 h 176375"/>
                <a:gd name="connsiteX62" fmla="*/ 21417 w 37794"/>
                <a:gd name="connsiteY62" fmla="*/ 158738 h 176375"/>
                <a:gd name="connsiteX63" fmla="*/ 21417 w 37794"/>
                <a:gd name="connsiteY63" fmla="*/ 158738 h 176375"/>
                <a:gd name="connsiteX64" fmla="*/ 21417 w 37794"/>
                <a:gd name="connsiteY64" fmla="*/ 158738 h 176375"/>
                <a:gd name="connsiteX65" fmla="*/ 21417 w 37794"/>
                <a:gd name="connsiteY65" fmla="*/ 154958 h 176375"/>
                <a:gd name="connsiteX66" fmla="*/ 22677 w 37794"/>
                <a:gd name="connsiteY66" fmla="*/ 143620 h 176375"/>
                <a:gd name="connsiteX67" fmla="*/ 23937 w 37794"/>
                <a:gd name="connsiteY67" fmla="*/ 133541 h 176375"/>
                <a:gd name="connsiteX68" fmla="*/ 25196 w 37794"/>
                <a:gd name="connsiteY68" fmla="*/ 128502 h 176375"/>
                <a:gd name="connsiteX69" fmla="*/ 25196 w 37794"/>
                <a:gd name="connsiteY69" fmla="*/ 127242 h 176375"/>
                <a:gd name="connsiteX70" fmla="*/ 26456 w 37794"/>
                <a:gd name="connsiteY70" fmla="*/ 122203 h 176375"/>
                <a:gd name="connsiteX71" fmla="*/ 26456 w 37794"/>
                <a:gd name="connsiteY71" fmla="*/ 119683 h 176375"/>
                <a:gd name="connsiteX72" fmla="*/ 26456 w 37794"/>
                <a:gd name="connsiteY72" fmla="*/ 119683 h 176375"/>
                <a:gd name="connsiteX73" fmla="*/ 26456 w 37794"/>
                <a:gd name="connsiteY73" fmla="*/ 119683 h 176375"/>
                <a:gd name="connsiteX74" fmla="*/ 26456 w 37794"/>
                <a:gd name="connsiteY74" fmla="*/ 118424 h 176375"/>
                <a:gd name="connsiteX75" fmla="*/ 26456 w 37794"/>
                <a:gd name="connsiteY75" fmla="*/ 117164 h 176375"/>
                <a:gd name="connsiteX76" fmla="*/ 26456 w 37794"/>
                <a:gd name="connsiteY76" fmla="*/ 117164 h 176375"/>
                <a:gd name="connsiteX77" fmla="*/ 26456 w 37794"/>
                <a:gd name="connsiteY77" fmla="*/ 117164 h 176375"/>
                <a:gd name="connsiteX78" fmla="*/ 27716 w 37794"/>
                <a:gd name="connsiteY78" fmla="*/ 112124 h 176375"/>
                <a:gd name="connsiteX79" fmla="*/ 28976 w 37794"/>
                <a:gd name="connsiteY79" fmla="*/ 102046 h 176375"/>
                <a:gd name="connsiteX80" fmla="*/ 31496 w 37794"/>
                <a:gd name="connsiteY80" fmla="*/ 86928 h 176375"/>
                <a:gd name="connsiteX81" fmla="*/ 31496 w 37794"/>
                <a:gd name="connsiteY81" fmla="*/ 85668 h 176375"/>
                <a:gd name="connsiteX82" fmla="*/ 32755 w 37794"/>
                <a:gd name="connsiteY82" fmla="*/ 79369 h 176375"/>
                <a:gd name="connsiteX83" fmla="*/ 32755 w 37794"/>
                <a:gd name="connsiteY83" fmla="*/ 75589 h 176375"/>
                <a:gd name="connsiteX84" fmla="*/ 32755 w 37794"/>
                <a:gd name="connsiteY84" fmla="*/ 74330 h 176375"/>
                <a:gd name="connsiteX85" fmla="*/ 32755 w 37794"/>
                <a:gd name="connsiteY85" fmla="*/ 73070 h 176375"/>
                <a:gd name="connsiteX86" fmla="*/ 32755 w 37794"/>
                <a:gd name="connsiteY86" fmla="*/ 73070 h 176375"/>
                <a:gd name="connsiteX87" fmla="*/ 34015 w 37794"/>
                <a:gd name="connsiteY87" fmla="*/ 69290 h 176375"/>
                <a:gd name="connsiteX88" fmla="*/ 34015 w 37794"/>
                <a:gd name="connsiteY88" fmla="*/ 68031 h 176375"/>
                <a:gd name="connsiteX89" fmla="*/ 34015 w 37794"/>
                <a:gd name="connsiteY89" fmla="*/ 66771 h 176375"/>
                <a:gd name="connsiteX90" fmla="*/ 35275 w 37794"/>
                <a:gd name="connsiteY90" fmla="*/ 64251 h 176375"/>
                <a:gd name="connsiteX91" fmla="*/ 35275 w 37794"/>
                <a:gd name="connsiteY91" fmla="*/ 61731 h 176375"/>
                <a:gd name="connsiteX92" fmla="*/ 35275 w 37794"/>
                <a:gd name="connsiteY92" fmla="*/ 59212 h 176375"/>
                <a:gd name="connsiteX93" fmla="*/ 36535 w 37794"/>
                <a:gd name="connsiteY93" fmla="*/ 55432 h 176375"/>
                <a:gd name="connsiteX94" fmla="*/ 36535 w 37794"/>
                <a:gd name="connsiteY94" fmla="*/ 54172 h 176375"/>
                <a:gd name="connsiteX95" fmla="*/ 37795 w 37794"/>
                <a:gd name="connsiteY95" fmla="*/ 50393 h 176375"/>
                <a:gd name="connsiteX96" fmla="*/ 40314 w 37794"/>
                <a:gd name="connsiteY96" fmla="*/ 39055 h 176375"/>
                <a:gd name="connsiteX97" fmla="*/ 40314 w 37794"/>
                <a:gd name="connsiteY97" fmla="*/ 36535 h 176375"/>
                <a:gd name="connsiteX98" fmla="*/ 41574 w 37794"/>
                <a:gd name="connsiteY98" fmla="*/ 34015 h 176375"/>
                <a:gd name="connsiteX99" fmla="*/ 41574 w 37794"/>
                <a:gd name="connsiteY99" fmla="*/ 34015 h 176375"/>
                <a:gd name="connsiteX100" fmla="*/ 41574 w 37794"/>
                <a:gd name="connsiteY100" fmla="*/ 32755 h 176375"/>
                <a:gd name="connsiteX101" fmla="*/ 42834 w 37794"/>
                <a:gd name="connsiteY101" fmla="*/ 30236 h 176375"/>
                <a:gd name="connsiteX102" fmla="*/ 42834 w 37794"/>
                <a:gd name="connsiteY102" fmla="*/ 28976 h 176375"/>
                <a:gd name="connsiteX103" fmla="*/ 42834 w 37794"/>
                <a:gd name="connsiteY103" fmla="*/ 27716 h 176375"/>
                <a:gd name="connsiteX104" fmla="*/ 42834 w 37794"/>
                <a:gd name="connsiteY104" fmla="*/ 26456 h 176375"/>
                <a:gd name="connsiteX105" fmla="*/ 42834 w 37794"/>
                <a:gd name="connsiteY105" fmla="*/ 26456 h 176375"/>
                <a:gd name="connsiteX106" fmla="*/ 42834 w 37794"/>
                <a:gd name="connsiteY106" fmla="*/ 25196 h 176375"/>
                <a:gd name="connsiteX107" fmla="*/ 42834 w 37794"/>
                <a:gd name="connsiteY107" fmla="*/ 25196 h 176375"/>
                <a:gd name="connsiteX108" fmla="*/ 42834 w 37794"/>
                <a:gd name="connsiteY108" fmla="*/ 25196 h 176375"/>
                <a:gd name="connsiteX109" fmla="*/ 42834 w 37794"/>
                <a:gd name="connsiteY109" fmla="*/ 22677 h 176375"/>
                <a:gd name="connsiteX110" fmla="*/ 42834 w 37794"/>
                <a:gd name="connsiteY110" fmla="*/ 21417 h 176375"/>
                <a:gd name="connsiteX111" fmla="*/ 44094 w 37794"/>
                <a:gd name="connsiteY111" fmla="*/ 17638 h 176375"/>
                <a:gd name="connsiteX112" fmla="*/ 44094 w 37794"/>
                <a:gd name="connsiteY112" fmla="*/ 16378 h 176375"/>
                <a:gd name="connsiteX113" fmla="*/ 44094 w 37794"/>
                <a:gd name="connsiteY113" fmla="*/ 13858 h 176375"/>
                <a:gd name="connsiteX114" fmla="*/ 44094 w 37794"/>
                <a:gd name="connsiteY114" fmla="*/ 10079 h 176375"/>
                <a:gd name="connsiteX115" fmla="*/ 44094 w 37794"/>
                <a:gd name="connsiteY115" fmla="*/ 8819 h 176375"/>
                <a:gd name="connsiteX116" fmla="*/ 44094 w 37794"/>
                <a:gd name="connsiteY116" fmla="*/ 7559 h 176375"/>
                <a:gd name="connsiteX117" fmla="*/ 44094 w 37794"/>
                <a:gd name="connsiteY117" fmla="*/ 5039 h 176375"/>
                <a:gd name="connsiteX118" fmla="*/ 44094 w 37794"/>
                <a:gd name="connsiteY118" fmla="*/ 2520 h 176375"/>
                <a:gd name="connsiteX119" fmla="*/ 44094 w 37794"/>
                <a:gd name="connsiteY119" fmla="*/ 2520 h 176375"/>
                <a:gd name="connsiteX120" fmla="*/ 44094 w 37794"/>
                <a:gd name="connsiteY120" fmla="*/ 1260 h 176375"/>
                <a:gd name="connsiteX121" fmla="*/ 44094 w 37794"/>
                <a:gd name="connsiteY121" fmla="*/ 1260 h 176375"/>
                <a:gd name="connsiteX122" fmla="*/ 44094 w 37794"/>
                <a:gd name="connsiteY122" fmla="*/ 1260 h 176375"/>
                <a:gd name="connsiteX123" fmla="*/ 44094 w 37794"/>
                <a:gd name="connsiteY123" fmla="*/ 0 h 176375"/>
                <a:gd name="connsiteX124" fmla="*/ 44094 w 37794"/>
                <a:gd name="connsiteY124" fmla="*/ 0 h 176375"/>
                <a:gd name="connsiteX125" fmla="*/ 44094 w 37794"/>
                <a:gd name="connsiteY125" fmla="*/ 0 h 176375"/>
                <a:gd name="connsiteX126" fmla="*/ 44094 w 37794"/>
                <a:gd name="connsiteY126" fmla="*/ 0 h 176375"/>
                <a:gd name="connsiteX127" fmla="*/ 44094 w 37794"/>
                <a:gd name="connsiteY127" fmla="*/ 0 h 176375"/>
                <a:gd name="connsiteX128" fmla="*/ 42834 w 37794"/>
                <a:gd name="connsiteY128" fmla="*/ 0 h 176375"/>
                <a:gd name="connsiteX129" fmla="*/ 42834 w 37794"/>
                <a:gd name="connsiteY129" fmla="*/ 0 h 176375"/>
                <a:gd name="connsiteX130" fmla="*/ 42834 w 37794"/>
                <a:gd name="connsiteY130" fmla="*/ 0 h 176375"/>
                <a:gd name="connsiteX131" fmla="*/ 42834 w 37794"/>
                <a:gd name="connsiteY131" fmla="*/ 0 h 176375"/>
                <a:gd name="connsiteX132" fmla="*/ 41574 w 37794"/>
                <a:gd name="connsiteY132" fmla="*/ 1260 h 176375"/>
                <a:gd name="connsiteX133" fmla="*/ 41574 w 37794"/>
                <a:gd name="connsiteY133" fmla="*/ 1260 h 176375"/>
                <a:gd name="connsiteX134" fmla="*/ 41574 w 37794"/>
                <a:gd name="connsiteY134" fmla="*/ 1260 h 176375"/>
                <a:gd name="connsiteX135" fmla="*/ 39054 w 37794"/>
                <a:gd name="connsiteY135" fmla="*/ 2520 h 176375"/>
                <a:gd name="connsiteX136" fmla="*/ 39054 w 37794"/>
                <a:gd name="connsiteY136" fmla="*/ 2520 h 176375"/>
                <a:gd name="connsiteX137" fmla="*/ 36535 w 37794"/>
                <a:gd name="connsiteY137" fmla="*/ 5039 h 176375"/>
                <a:gd name="connsiteX138" fmla="*/ 36535 w 37794"/>
                <a:gd name="connsiteY138" fmla="*/ 5039 h 176375"/>
                <a:gd name="connsiteX139" fmla="*/ 35275 w 37794"/>
                <a:gd name="connsiteY139" fmla="*/ 6299 h 176375"/>
                <a:gd name="connsiteX140" fmla="*/ 34015 w 37794"/>
                <a:gd name="connsiteY140" fmla="*/ 7559 h 176375"/>
                <a:gd name="connsiteX141" fmla="*/ 34015 w 37794"/>
                <a:gd name="connsiteY141" fmla="*/ 7559 h 176375"/>
                <a:gd name="connsiteX142" fmla="*/ 34015 w 37794"/>
                <a:gd name="connsiteY142" fmla="*/ 7559 h 176375"/>
                <a:gd name="connsiteX143" fmla="*/ 34015 w 37794"/>
                <a:gd name="connsiteY143" fmla="*/ 7559 h 176375"/>
                <a:gd name="connsiteX144" fmla="*/ 34015 w 37794"/>
                <a:gd name="connsiteY144" fmla="*/ 7559 h 176375"/>
                <a:gd name="connsiteX145" fmla="*/ 34015 w 37794"/>
                <a:gd name="connsiteY145" fmla="*/ 7559 h 176375"/>
                <a:gd name="connsiteX146" fmla="*/ 34015 w 37794"/>
                <a:gd name="connsiteY146" fmla="*/ 7559 h 176375"/>
                <a:gd name="connsiteX147" fmla="*/ 34015 w 37794"/>
                <a:gd name="connsiteY147" fmla="*/ 7559 h 176375"/>
                <a:gd name="connsiteX148" fmla="*/ 34015 w 37794"/>
                <a:gd name="connsiteY148" fmla="*/ 7559 h 176375"/>
                <a:gd name="connsiteX149" fmla="*/ 31496 w 37794"/>
                <a:gd name="connsiteY149" fmla="*/ 10079 h 176375"/>
                <a:gd name="connsiteX150" fmla="*/ 28976 w 37794"/>
                <a:gd name="connsiteY150" fmla="*/ 12598 h 176375"/>
                <a:gd name="connsiteX151" fmla="*/ 27716 w 37794"/>
                <a:gd name="connsiteY151" fmla="*/ 13858 h 176375"/>
                <a:gd name="connsiteX152" fmla="*/ 27716 w 37794"/>
                <a:gd name="connsiteY152" fmla="*/ 13858 h 176375"/>
                <a:gd name="connsiteX153" fmla="*/ 25196 w 37794"/>
                <a:gd name="connsiteY153" fmla="*/ 16378 h 176375"/>
                <a:gd name="connsiteX154" fmla="*/ 22677 w 37794"/>
                <a:gd name="connsiteY154" fmla="*/ 17638 h 176375"/>
                <a:gd name="connsiteX155" fmla="*/ 21417 w 37794"/>
                <a:gd name="connsiteY155" fmla="*/ 18897 h 176375"/>
                <a:gd name="connsiteX156" fmla="*/ 21417 w 37794"/>
                <a:gd name="connsiteY156" fmla="*/ 18897 h 176375"/>
                <a:gd name="connsiteX157" fmla="*/ 20157 w 37794"/>
                <a:gd name="connsiteY157" fmla="*/ 20157 h 176375"/>
                <a:gd name="connsiteX158" fmla="*/ 18897 w 37794"/>
                <a:gd name="connsiteY158" fmla="*/ 21417 h 176375"/>
                <a:gd name="connsiteX159" fmla="*/ 16378 w 37794"/>
                <a:gd name="connsiteY159" fmla="*/ 25196 h 176375"/>
                <a:gd name="connsiteX160" fmla="*/ 15118 w 37794"/>
                <a:gd name="connsiteY160" fmla="*/ 26456 h 176375"/>
                <a:gd name="connsiteX161" fmla="*/ 13858 w 37794"/>
                <a:gd name="connsiteY161" fmla="*/ 27716 h 176375"/>
                <a:gd name="connsiteX162" fmla="*/ 13858 w 37794"/>
                <a:gd name="connsiteY162" fmla="*/ 28976 h 176375"/>
                <a:gd name="connsiteX163" fmla="*/ 12598 w 37794"/>
                <a:gd name="connsiteY163" fmla="*/ 31496 h 176375"/>
                <a:gd name="connsiteX164" fmla="*/ 11338 w 37794"/>
                <a:gd name="connsiteY164" fmla="*/ 32755 h 176375"/>
                <a:gd name="connsiteX165" fmla="*/ 10079 w 37794"/>
                <a:gd name="connsiteY165" fmla="*/ 34015 h 176375"/>
                <a:gd name="connsiteX166" fmla="*/ 8819 w 37794"/>
                <a:gd name="connsiteY166" fmla="*/ 35275 h 176375"/>
                <a:gd name="connsiteX167" fmla="*/ 7559 w 37794"/>
                <a:gd name="connsiteY167" fmla="*/ 36535 h 176375"/>
                <a:gd name="connsiteX168" fmla="*/ 7559 w 37794"/>
                <a:gd name="connsiteY168" fmla="*/ 37795 h 176375"/>
                <a:gd name="connsiteX169" fmla="*/ 7559 w 37794"/>
                <a:gd name="connsiteY169" fmla="*/ 37795 h 176375"/>
                <a:gd name="connsiteX170" fmla="*/ 7559 w 37794"/>
                <a:gd name="connsiteY170" fmla="*/ 37795 h 176375"/>
                <a:gd name="connsiteX171" fmla="*/ 5039 w 37794"/>
                <a:gd name="connsiteY171" fmla="*/ 40315 h 176375"/>
                <a:gd name="connsiteX172" fmla="*/ 5039 w 37794"/>
                <a:gd name="connsiteY172" fmla="*/ 40315 h 176375"/>
                <a:gd name="connsiteX173" fmla="*/ 3780 w 37794"/>
                <a:gd name="connsiteY173" fmla="*/ 41574 h 176375"/>
                <a:gd name="connsiteX174" fmla="*/ 3780 w 37794"/>
                <a:gd name="connsiteY174" fmla="*/ 41574 h 176375"/>
                <a:gd name="connsiteX175" fmla="*/ 1260 w 37794"/>
                <a:gd name="connsiteY175" fmla="*/ 44094 h 176375"/>
                <a:gd name="connsiteX176" fmla="*/ 0 w 37794"/>
                <a:gd name="connsiteY176" fmla="*/ 46614 h 176375"/>
                <a:gd name="connsiteX177" fmla="*/ 0 w 37794"/>
                <a:gd name="connsiteY177" fmla="*/ 46614 h 176375"/>
                <a:gd name="connsiteX178" fmla="*/ 0 w 37794"/>
                <a:gd name="connsiteY178" fmla="*/ 46614 h 176375"/>
                <a:gd name="connsiteX179" fmla="*/ 0 w 37794"/>
                <a:gd name="connsiteY179" fmla="*/ 46614 h 176375"/>
                <a:gd name="connsiteX180" fmla="*/ 0 w 37794"/>
                <a:gd name="connsiteY180" fmla="*/ 46614 h 176375"/>
                <a:gd name="connsiteX181" fmla="*/ 0 w 37794"/>
                <a:gd name="connsiteY181" fmla="*/ 47873 h 176375"/>
                <a:gd name="connsiteX182" fmla="*/ 8819 w 37794"/>
                <a:gd name="connsiteY182" fmla="*/ 44094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37794" h="176375">
                  <a:moveTo>
                    <a:pt x="8819" y="44094"/>
                  </a:moveTo>
                  <a:cubicBezTo>
                    <a:pt x="8819" y="44094"/>
                    <a:pt x="8819" y="45354"/>
                    <a:pt x="8819" y="45354"/>
                  </a:cubicBezTo>
                  <a:cubicBezTo>
                    <a:pt x="8819" y="45354"/>
                    <a:pt x="8819" y="46614"/>
                    <a:pt x="8819" y="46614"/>
                  </a:cubicBezTo>
                  <a:cubicBezTo>
                    <a:pt x="8819" y="47873"/>
                    <a:pt x="8819" y="47873"/>
                    <a:pt x="8819" y="49133"/>
                  </a:cubicBezTo>
                  <a:lnTo>
                    <a:pt x="8819" y="50393"/>
                  </a:lnTo>
                  <a:cubicBezTo>
                    <a:pt x="8819" y="51653"/>
                    <a:pt x="8819" y="52913"/>
                    <a:pt x="8819" y="52913"/>
                  </a:cubicBezTo>
                  <a:cubicBezTo>
                    <a:pt x="8819" y="55432"/>
                    <a:pt x="8819" y="57952"/>
                    <a:pt x="8819" y="59212"/>
                  </a:cubicBezTo>
                  <a:cubicBezTo>
                    <a:pt x="8819" y="60472"/>
                    <a:pt x="8819" y="61731"/>
                    <a:pt x="8819" y="62991"/>
                  </a:cubicBezTo>
                  <a:cubicBezTo>
                    <a:pt x="8819" y="6299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lnTo>
                    <a:pt x="8819" y="64251"/>
                  </a:lnTo>
                  <a:lnTo>
                    <a:pt x="8819" y="64251"/>
                  </a:ln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5511"/>
                    <a:pt x="8819" y="65511"/>
                    <a:pt x="8819" y="66771"/>
                  </a:cubicBezTo>
                  <a:cubicBezTo>
                    <a:pt x="8819" y="66771"/>
                    <a:pt x="8819" y="68031"/>
                    <a:pt x="8819" y="68031"/>
                  </a:cubicBezTo>
                  <a:cubicBezTo>
                    <a:pt x="8819" y="69290"/>
                    <a:pt x="8819" y="70550"/>
                    <a:pt x="8819" y="71810"/>
                  </a:cubicBezTo>
                  <a:lnTo>
                    <a:pt x="8819" y="73070"/>
                  </a:lnTo>
                  <a:cubicBezTo>
                    <a:pt x="8819" y="74330"/>
                    <a:pt x="8819" y="75589"/>
                    <a:pt x="8819" y="76849"/>
                  </a:cubicBezTo>
                  <a:cubicBezTo>
                    <a:pt x="8819" y="79369"/>
                    <a:pt x="8819" y="81889"/>
                    <a:pt x="8819" y="84408"/>
                  </a:cubicBezTo>
                  <a:cubicBezTo>
                    <a:pt x="8819" y="85668"/>
                    <a:pt x="8819" y="86928"/>
                    <a:pt x="8819" y="88188"/>
                  </a:cubicBezTo>
                  <a:lnTo>
                    <a:pt x="8819" y="90707"/>
                  </a:lnTo>
                  <a:cubicBezTo>
                    <a:pt x="8819" y="91967"/>
                    <a:pt x="8819" y="91967"/>
                    <a:pt x="8819" y="93227"/>
                  </a:cubicBezTo>
                  <a:cubicBezTo>
                    <a:pt x="8819" y="94487"/>
                    <a:pt x="8819" y="95747"/>
                    <a:pt x="8819" y="95747"/>
                  </a:cubicBezTo>
                  <a:cubicBezTo>
                    <a:pt x="8819" y="99526"/>
                    <a:pt x="8819" y="103306"/>
                    <a:pt x="10079" y="105825"/>
                  </a:cubicBezTo>
                  <a:cubicBezTo>
                    <a:pt x="10079" y="107085"/>
                    <a:pt x="10079" y="107085"/>
                    <a:pt x="10079" y="108345"/>
                  </a:cubicBezTo>
                  <a:cubicBezTo>
                    <a:pt x="10079" y="110864"/>
                    <a:pt x="10079" y="114644"/>
                    <a:pt x="10079" y="118424"/>
                  </a:cubicBezTo>
                  <a:cubicBezTo>
                    <a:pt x="10079" y="119683"/>
                    <a:pt x="10079" y="119683"/>
                    <a:pt x="10079" y="120943"/>
                  </a:cubicBezTo>
                  <a:cubicBezTo>
                    <a:pt x="10079" y="122203"/>
                    <a:pt x="10079" y="122203"/>
                    <a:pt x="10079" y="123463"/>
                  </a:cubicBezTo>
                  <a:cubicBezTo>
                    <a:pt x="10079" y="124723"/>
                    <a:pt x="10079" y="125982"/>
                    <a:pt x="10079" y="127242"/>
                  </a:cubicBezTo>
                  <a:lnTo>
                    <a:pt x="10079" y="128502"/>
                  </a:lnTo>
                  <a:lnTo>
                    <a:pt x="10079" y="129762"/>
                  </a:lnTo>
                  <a:lnTo>
                    <a:pt x="10079" y="131022"/>
                  </a:lnTo>
                  <a:cubicBezTo>
                    <a:pt x="10079" y="131022"/>
                    <a:pt x="10079" y="132281"/>
                    <a:pt x="10079" y="132281"/>
                  </a:cubicBezTo>
                  <a:cubicBezTo>
                    <a:pt x="10079" y="133541"/>
                    <a:pt x="10079" y="134801"/>
                    <a:pt x="10079" y="136061"/>
                  </a:cubicBezTo>
                  <a:cubicBezTo>
                    <a:pt x="10079" y="136061"/>
                    <a:pt x="10079" y="136061"/>
                    <a:pt x="10079" y="136061"/>
                  </a:cubicBezTo>
                  <a:cubicBezTo>
                    <a:pt x="10079" y="139840"/>
                    <a:pt x="10079" y="143620"/>
                    <a:pt x="10079" y="148659"/>
                  </a:cubicBezTo>
                  <a:cubicBezTo>
                    <a:pt x="10079" y="148659"/>
                    <a:pt x="10079" y="149919"/>
                    <a:pt x="10079" y="149919"/>
                  </a:cubicBezTo>
                  <a:cubicBezTo>
                    <a:pt x="11338" y="154958"/>
                    <a:pt x="11338" y="161257"/>
                    <a:pt x="11338" y="166297"/>
                  </a:cubicBezTo>
                  <a:cubicBezTo>
                    <a:pt x="11338" y="168816"/>
                    <a:pt x="11338" y="171336"/>
                    <a:pt x="11338" y="173856"/>
                  </a:cubicBezTo>
                  <a:cubicBezTo>
                    <a:pt x="11338" y="177635"/>
                    <a:pt x="11338" y="180155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lnTo>
                    <a:pt x="11338" y="183934"/>
                  </a:lnTo>
                  <a:lnTo>
                    <a:pt x="11338" y="183934"/>
                  </a:lnTo>
                  <a:cubicBezTo>
                    <a:pt x="11338" y="183934"/>
                    <a:pt x="11338" y="183934"/>
                    <a:pt x="12598" y="185194"/>
                  </a:cubicBezTo>
                  <a:cubicBezTo>
                    <a:pt x="12598" y="185194"/>
                    <a:pt x="12598" y="185194"/>
                    <a:pt x="12598" y="185194"/>
                  </a:cubicBezTo>
                  <a:cubicBezTo>
                    <a:pt x="12598" y="185194"/>
                    <a:pt x="12598" y="185194"/>
                    <a:pt x="13858" y="185194"/>
                  </a:cubicBezTo>
                  <a:cubicBezTo>
                    <a:pt x="13858" y="185194"/>
                    <a:pt x="15118" y="185194"/>
                    <a:pt x="15118" y="185194"/>
                  </a:cubicBezTo>
                  <a:cubicBezTo>
                    <a:pt x="15118" y="185194"/>
                    <a:pt x="16378" y="185194"/>
                    <a:pt x="16378" y="185194"/>
                  </a:cubicBezTo>
                  <a:cubicBezTo>
                    <a:pt x="16378" y="185194"/>
                    <a:pt x="17637" y="185194"/>
                    <a:pt x="17637" y="183934"/>
                  </a:cubicBezTo>
                  <a:cubicBezTo>
                    <a:pt x="17637" y="183934"/>
                    <a:pt x="17637" y="183934"/>
                    <a:pt x="17637" y="183934"/>
                  </a:cubicBezTo>
                  <a:cubicBezTo>
                    <a:pt x="17637" y="182674"/>
                    <a:pt x="18897" y="181415"/>
                    <a:pt x="18897" y="178895"/>
                  </a:cubicBezTo>
                  <a:lnTo>
                    <a:pt x="18897" y="178895"/>
                  </a:lnTo>
                  <a:cubicBezTo>
                    <a:pt x="18897" y="178895"/>
                    <a:pt x="18897" y="177635"/>
                    <a:pt x="18897" y="177635"/>
                  </a:cubicBezTo>
                  <a:cubicBezTo>
                    <a:pt x="18897" y="176375"/>
                    <a:pt x="20157" y="175116"/>
                    <a:pt x="20157" y="173856"/>
                  </a:cubicBezTo>
                  <a:lnTo>
                    <a:pt x="20157" y="173856"/>
                  </a:lnTo>
                  <a:lnTo>
                    <a:pt x="20157" y="173856"/>
                  </a:lnTo>
                  <a:cubicBezTo>
                    <a:pt x="21417" y="171336"/>
                    <a:pt x="21417" y="167557"/>
                    <a:pt x="21417" y="165037"/>
                  </a:cubicBezTo>
                  <a:cubicBezTo>
                    <a:pt x="21417" y="165037"/>
                    <a:pt x="21417" y="163777"/>
                    <a:pt x="21417" y="163777"/>
                  </a:cubicBezTo>
                  <a:cubicBezTo>
                    <a:pt x="21417" y="162517"/>
                    <a:pt x="21417" y="162517"/>
                    <a:pt x="21417" y="161257"/>
                  </a:cubicBezTo>
                  <a:cubicBezTo>
                    <a:pt x="21417" y="159998"/>
                    <a:pt x="21417" y="159998"/>
                    <a:pt x="21417" y="158738"/>
                  </a:cubicBez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4958"/>
                  </a:lnTo>
                  <a:cubicBezTo>
                    <a:pt x="22677" y="151179"/>
                    <a:pt x="22677" y="147399"/>
                    <a:pt x="22677" y="143620"/>
                  </a:cubicBezTo>
                  <a:cubicBezTo>
                    <a:pt x="22677" y="139840"/>
                    <a:pt x="23937" y="137321"/>
                    <a:pt x="23937" y="133541"/>
                  </a:cubicBezTo>
                  <a:cubicBezTo>
                    <a:pt x="23937" y="132281"/>
                    <a:pt x="23937" y="129762"/>
                    <a:pt x="25196" y="128502"/>
                  </a:cubicBezTo>
                  <a:lnTo>
                    <a:pt x="25196" y="127242"/>
                  </a:lnTo>
                  <a:cubicBezTo>
                    <a:pt x="25196" y="125982"/>
                    <a:pt x="25196" y="123463"/>
                    <a:pt x="26456" y="122203"/>
                  </a:cubicBezTo>
                  <a:cubicBezTo>
                    <a:pt x="26456" y="120943"/>
                    <a:pt x="26456" y="120943"/>
                    <a:pt x="26456" y="119683"/>
                  </a:cubicBezTo>
                  <a:cubicBezTo>
                    <a:pt x="26456" y="119683"/>
                    <a:pt x="26456" y="119683"/>
                    <a:pt x="26456" y="119683"/>
                  </a:cubicBezTo>
                  <a:lnTo>
                    <a:pt x="26456" y="119683"/>
                  </a:lnTo>
                  <a:lnTo>
                    <a:pt x="26456" y="118424"/>
                  </a:lnTo>
                  <a:lnTo>
                    <a:pt x="26456" y="117164"/>
                  </a:lnTo>
                  <a:lnTo>
                    <a:pt x="26456" y="117164"/>
                  </a:lnTo>
                  <a:cubicBezTo>
                    <a:pt x="26456" y="117164"/>
                    <a:pt x="26456" y="117164"/>
                    <a:pt x="26456" y="117164"/>
                  </a:cubicBezTo>
                  <a:cubicBezTo>
                    <a:pt x="26456" y="115904"/>
                    <a:pt x="26456" y="113384"/>
                    <a:pt x="27716" y="112124"/>
                  </a:cubicBezTo>
                  <a:cubicBezTo>
                    <a:pt x="27716" y="108345"/>
                    <a:pt x="28976" y="105825"/>
                    <a:pt x="28976" y="102046"/>
                  </a:cubicBezTo>
                  <a:cubicBezTo>
                    <a:pt x="30236" y="97007"/>
                    <a:pt x="31496" y="91967"/>
                    <a:pt x="31496" y="86928"/>
                  </a:cubicBezTo>
                  <a:lnTo>
                    <a:pt x="31496" y="85668"/>
                  </a:lnTo>
                  <a:cubicBezTo>
                    <a:pt x="31496" y="84408"/>
                    <a:pt x="32755" y="81889"/>
                    <a:pt x="32755" y="79369"/>
                  </a:cubicBezTo>
                  <a:cubicBezTo>
                    <a:pt x="32755" y="78109"/>
                    <a:pt x="32755" y="76849"/>
                    <a:pt x="32755" y="75589"/>
                  </a:cubicBezTo>
                  <a:cubicBezTo>
                    <a:pt x="32755" y="75589"/>
                    <a:pt x="32755" y="74330"/>
                    <a:pt x="32755" y="74330"/>
                  </a:cubicBezTo>
                  <a:cubicBezTo>
                    <a:pt x="32755" y="74330"/>
                    <a:pt x="32755" y="73070"/>
                    <a:pt x="32755" y="73070"/>
                  </a:cubicBezTo>
                  <a:cubicBezTo>
                    <a:pt x="32755" y="73070"/>
                    <a:pt x="32755" y="73070"/>
                    <a:pt x="32755" y="73070"/>
                  </a:cubicBezTo>
                  <a:lnTo>
                    <a:pt x="34015" y="69290"/>
                  </a:lnTo>
                  <a:lnTo>
                    <a:pt x="34015" y="68031"/>
                  </a:lnTo>
                  <a:lnTo>
                    <a:pt x="34015" y="66771"/>
                  </a:lnTo>
                  <a:cubicBezTo>
                    <a:pt x="34015" y="65511"/>
                    <a:pt x="34015" y="65511"/>
                    <a:pt x="35275" y="64251"/>
                  </a:cubicBezTo>
                  <a:cubicBezTo>
                    <a:pt x="35275" y="62991"/>
                    <a:pt x="35275" y="62991"/>
                    <a:pt x="35275" y="61731"/>
                  </a:cubicBezTo>
                  <a:cubicBezTo>
                    <a:pt x="35275" y="60472"/>
                    <a:pt x="35275" y="60472"/>
                    <a:pt x="35275" y="59212"/>
                  </a:cubicBezTo>
                  <a:cubicBezTo>
                    <a:pt x="35275" y="57952"/>
                    <a:pt x="36535" y="56692"/>
                    <a:pt x="36535" y="55432"/>
                  </a:cubicBezTo>
                  <a:lnTo>
                    <a:pt x="36535" y="54172"/>
                  </a:lnTo>
                  <a:cubicBezTo>
                    <a:pt x="36535" y="52913"/>
                    <a:pt x="37795" y="51653"/>
                    <a:pt x="37795" y="50393"/>
                  </a:cubicBezTo>
                  <a:cubicBezTo>
                    <a:pt x="39054" y="46614"/>
                    <a:pt x="40314" y="42834"/>
                    <a:pt x="40314" y="39055"/>
                  </a:cubicBezTo>
                  <a:lnTo>
                    <a:pt x="40314" y="36535"/>
                  </a:lnTo>
                  <a:cubicBezTo>
                    <a:pt x="40314" y="35275"/>
                    <a:pt x="40314" y="34015"/>
                    <a:pt x="41574" y="34015"/>
                  </a:cubicBezTo>
                  <a:cubicBezTo>
                    <a:pt x="41574" y="34015"/>
                    <a:pt x="41574" y="34015"/>
                    <a:pt x="41574" y="34015"/>
                  </a:cubicBezTo>
                  <a:lnTo>
                    <a:pt x="41574" y="32755"/>
                  </a:lnTo>
                  <a:cubicBezTo>
                    <a:pt x="41574" y="31496"/>
                    <a:pt x="41574" y="30236"/>
                    <a:pt x="42834" y="30236"/>
                  </a:cubicBezTo>
                  <a:cubicBezTo>
                    <a:pt x="42834" y="30236"/>
                    <a:pt x="42834" y="28976"/>
                    <a:pt x="42834" y="28976"/>
                  </a:cubicBezTo>
                  <a:lnTo>
                    <a:pt x="42834" y="27716"/>
                  </a:lnTo>
                  <a:lnTo>
                    <a:pt x="42834" y="26456"/>
                  </a:lnTo>
                  <a:lnTo>
                    <a:pt x="42834" y="26456"/>
                  </a:lnTo>
                  <a:lnTo>
                    <a:pt x="42834" y="25196"/>
                  </a:lnTo>
                  <a:lnTo>
                    <a:pt x="42834" y="25196"/>
                  </a:lnTo>
                  <a:cubicBezTo>
                    <a:pt x="42834" y="25196"/>
                    <a:pt x="42834" y="25196"/>
                    <a:pt x="42834" y="25196"/>
                  </a:cubicBezTo>
                  <a:cubicBezTo>
                    <a:pt x="42834" y="23937"/>
                    <a:pt x="42834" y="23937"/>
                    <a:pt x="42834" y="22677"/>
                  </a:cubicBezTo>
                  <a:lnTo>
                    <a:pt x="42834" y="21417"/>
                  </a:lnTo>
                  <a:cubicBezTo>
                    <a:pt x="42834" y="20157"/>
                    <a:pt x="42834" y="18897"/>
                    <a:pt x="44094" y="17638"/>
                  </a:cubicBezTo>
                  <a:lnTo>
                    <a:pt x="44094" y="16378"/>
                  </a:lnTo>
                  <a:lnTo>
                    <a:pt x="44094" y="13858"/>
                  </a:lnTo>
                  <a:cubicBezTo>
                    <a:pt x="44094" y="12598"/>
                    <a:pt x="44094" y="11339"/>
                    <a:pt x="44094" y="10079"/>
                  </a:cubicBezTo>
                  <a:lnTo>
                    <a:pt x="44094" y="8819"/>
                  </a:lnTo>
                  <a:lnTo>
                    <a:pt x="44094" y="7559"/>
                  </a:lnTo>
                  <a:cubicBezTo>
                    <a:pt x="44094" y="6299"/>
                    <a:pt x="44094" y="6299"/>
                    <a:pt x="44094" y="5039"/>
                  </a:cubicBezTo>
                  <a:cubicBezTo>
                    <a:pt x="44094" y="3780"/>
                    <a:pt x="44094" y="3780"/>
                    <a:pt x="44094" y="2520"/>
                  </a:cubicBezTo>
                  <a:lnTo>
                    <a:pt x="44094" y="2520"/>
                  </a:lnTo>
                  <a:cubicBezTo>
                    <a:pt x="44094" y="2520"/>
                    <a:pt x="44094" y="1260"/>
                    <a:pt x="44094" y="1260"/>
                  </a:cubicBezTo>
                  <a:cubicBezTo>
                    <a:pt x="44094" y="1260"/>
                    <a:pt x="44094" y="1260"/>
                    <a:pt x="44094" y="1260"/>
                  </a:cubicBezTo>
                  <a:lnTo>
                    <a:pt x="44094" y="1260"/>
                  </a:lnTo>
                  <a:cubicBezTo>
                    <a:pt x="44094" y="1260"/>
                    <a:pt x="44094" y="0"/>
                    <a:pt x="44094" y="0"/>
                  </a:cubicBezTo>
                  <a:cubicBezTo>
                    <a:pt x="44094" y="0"/>
                    <a:pt x="44094" y="0"/>
                    <a:pt x="44094" y="0"/>
                  </a:cubicBezTo>
                  <a:lnTo>
                    <a:pt x="44094" y="0"/>
                  </a:lnTo>
                  <a:lnTo>
                    <a:pt x="44094" y="0"/>
                  </a:lnTo>
                  <a:lnTo>
                    <a:pt x="44094" y="0"/>
                  </a:lnTo>
                  <a:cubicBezTo>
                    <a:pt x="4409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1574" y="0"/>
                    <a:pt x="41574" y="1260"/>
                  </a:cubicBezTo>
                  <a:cubicBezTo>
                    <a:pt x="41574" y="1260"/>
                    <a:pt x="41574" y="1260"/>
                    <a:pt x="41574" y="1260"/>
                  </a:cubicBezTo>
                  <a:lnTo>
                    <a:pt x="41574" y="1260"/>
                  </a:lnTo>
                  <a:cubicBezTo>
                    <a:pt x="40314" y="1260"/>
                    <a:pt x="40314" y="2520"/>
                    <a:pt x="39054" y="2520"/>
                  </a:cubicBezTo>
                  <a:lnTo>
                    <a:pt x="39054" y="2520"/>
                  </a:lnTo>
                  <a:cubicBezTo>
                    <a:pt x="37795" y="2520"/>
                    <a:pt x="36535" y="3780"/>
                    <a:pt x="36535" y="5039"/>
                  </a:cubicBezTo>
                  <a:cubicBezTo>
                    <a:pt x="36535" y="5039"/>
                    <a:pt x="36535" y="5039"/>
                    <a:pt x="36535" y="5039"/>
                  </a:cubicBezTo>
                  <a:cubicBezTo>
                    <a:pt x="36535" y="5039"/>
                    <a:pt x="35275" y="6299"/>
                    <a:pt x="35275" y="6299"/>
                  </a:cubicBezTo>
                  <a:cubicBezTo>
                    <a:pt x="35275" y="6299"/>
                    <a:pt x="34015" y="7559"/>
                    <a:pt x="34015" y="7559"/>
                  </a:cubicBez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cubicBezTo>
                    <a:pt x="32755" y="8819"/>
                    <a:pt x="32755" y="8819"/>
                    <a:pt x="31496" y="10079"/>
                  </a:cubicBezTo>
                  <a:cubicBezTo>
                    <a:pt x="30236" y="11339"/>
                    <a:pt x="30236" y="11339"/>
                    <a:pt x="28976" y="12598"/>
                  </a:cubicBezTo>
                  <a:lnTo>
                    <a:pt x="27716" y="13858"/>
                  </a:lnTo>
                  <a:cubicBezTo>
                    <a:pt x="27716" y="13858"/>
                    <a:pt x="27716" y="13858"/>
                    <a:pt x="27716" y="13858"/>
                  </a:cubicBezTo>
                  <a:cubicBezTo>
                    <a:pt x="26456" y="15118"/>
                    <a:pt x="26456" y="15118"/>
                    <a:pt x="25196" y="16378"/>
                  </a:cubicBezTo>
                  <a:cubicBezTo>
                    <a:pt x="23937" y="16378"/>
                    <a:pt x="23937" y="17638"/>
                    <a:pt x="22677" y="17638"/>
                  </a:cubicBezTo>
                  <a:cubicBezTo>
                    <a:pt x="22677" y="17638"/>
                    <a:pt x="22677" y="17638"/>
                    <a:pt x="21417" y="18897"/>
                  </a:cubicBezTo>
                  <a:lnTo>
                    <a:pt x="21417" y="18897"/>
                  </a:lnTo>
                  <a:lnTo>
                    <a:pt x="20157" y="20157"/>
                  </a:lnTo>
                  <a:cubicBezTo>
                    <a:pt x="20157" y="20157"/>
                    <a:pt x="18897" y="21417"/>
                    <a:pt x="18897" y="21417"/>
                  </a:cubicBezTo>
                  <a:cubicBezTo>
                    <a:pt x="17637" y="22677"/>
                    <a:pt x="16378" y="23937"/>
                    <a:pt x="16378" y="25196"/>
                  </a:cubicBezTo>
                  <a:lnTo>
                    <a:pt x="15118" y="26456"/>
                  </a:lnTo>
                  <a:lnTo>
                    <a:pt x="13858" y="27716"/>
                  </a:lnTo>
                  <a:lnTo>
                    <a:pt x="13858" y="28976"/>
                  </a:lnTo>
                  <a:cubicBezTo>
                    <a:pt x="13858" y="30236"/>
                    <a:pt x="12598" y="30236"/>
                    <a:pt x="12598" y="31496"/>
                  </a:cubicBezTo>
                  <a:cubicBezTo>
                    <a:pt x="12598" y="31496"/>
                    <a:pt x="11338" y="32755"/>
                    <a:pt x="11338" y="32755"/>
                  </a:cubicBezTo>
                  <a:cubicBezTo>
                    <a:pt x="11338" y="32755"/>
                    <a:pt x="10079" y="34015"/>
                    <a:pt x="10079" y="34015"/>
                  </a:cubicBezTo>
                  <a:cubicBezTo>
                    <a:pt x="10079" y="34015"/>
                    <a:pt x="8819" y="35275"/>
                    <a:pt x="8819" y="35275"/>
                  </a:cubicBezTo>
                  <a:lnTo>
                    <a:pt x="7559" y="36535"/>
                  </a:lnTo>
                  <a:lnTo>
                    <a:pt x="7559" y="37795"/>
                  </a:lnTo>
                  <a:lnTo>
                    <a:pt x="7559" y="37795"/>
                  </a:lnTo>
                  <a:lnTo>
                    <a:pt x="7559" y="37795"/>
                  </a:lnTo>
                  <a:cubicBezTo>
                    <a:pt x="6299" y="39055"/>
                    <a:pt x="6299" y="39055"/>
                    <a:pt x="5039" y="40315"/>
                  </a:cubicBezTo>
                  <a:cubicBezTo>
                    <a:pt x="5039" y="40315"/>
                    <a:pt x="5039" y="40315"/>
                    <a:pt x="5039" y="40315"/>
                  </a:cubicBezTo>
                  <a:cubicBezTo>
                    <a:pt x="5039" y="40315"/>
                    <a:pt x="3780" y="41574"/>
                    <a:pt x="3780" y="41574"/>
                  </a:cubicBezTo>
                  <a:cubicBezTo>
                    <a:pt x="3780" y="41574"/>
                    <a:pt x="3780" y="41574"/>
                    <a:pt x="3780" y="41574"/>
                  </a:cubicBezTo>
                  <a:cubicBezTo>
                    <a:pt x="2520" y="42834"/>
                    <a:pt x="2520" y="42834"/>
                    <a:pt x="1260" y="4409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7873"/>
                    <a:pt x="0" y="47873"/>
                  </a:cubicBezTo>
                  <a:cubicBezTo>
                    <a:pt x="8819" y="42834"/>
                    <a:pt x="8819" y="44094"/>
                    <a:pt x="8819" y="44094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/>
            <p:cNvSpPr/>
            <p:nvPr/>
          </p:nvSpPr>
          <p:spPr>
            <a:xfrm>
              <a:off x="2529181" y="3486951"/>
              <a:ext cx="365349" cy="377947"/>
            </a:xfrm>
            <a:custGeom>
              <a:avLst/>
              <a:gdLst>
                <a:gd name="connsiteX0" fmla="*/ 287240 w 365348"/>
                <a:gd name="connsiteY0" fmla="*/ 371648 h 377946"/>
                <a:gd name="connsiteX1" fmla="*/ 289759 w 365348"/>
                <a:gd name="connsiteY1" fmla="*/ 374167 h 377946"/>
                <a:gd name="connsiteX2" fmla="*/ 289759 w 365348"/>
                <a:gd name="connsiteY2" fmla="*/ 374167 h 377946"/>
                <a:gd name="connsiteX3" fmla="*/ 294799 w 365348"/>
                <a:gd name="connsiteY3" fmla="*/ 376687 h 377946"/>
                <a:gd name="connsiteX4" fmla="*/ 299838 w 365348"/>
                <a:gd name="connsiteY4" fmla="*/ 379207 h 377946"/>
                <a:gd name="connsiteX5" fmla="*/ 304877 w 365348"/>
                <a:gd name="connsiteY5" fmla="*/ 380467 h 377946"/>
                <a:gd name="connsiteX6" fmla="*/ 306137 w 365348"/>
                <a:gd name="connsiteY6" fmla="*/ 380467 h 377946"/>
                <a:gd name="connsiteX7" fmla="*/ 311176 w 365348"/>
                <a:gd name="connsiteY7" fmla="*/ 381726 h 377946"/>
                <a:gd name="connsiteX8" fmla="*/ 312436 w 365348"/>
                <a:gd name="connsiteY8" fmla="*/ 381726 h 377946"/>
                <a:gd name="connsiteX9" fmla="*/ 314956 w 365348"/>
                <a:gd name="connsiteY9" fmla="*/ 381726 h 377946"/>
                <a:gd name="connsiteX10" fmla="*/ 314956 w 365348"/>
                <a:gd name="connsiteY10" fmla="*/ 381726 h 377946"/>
                <a:gd name="connsiteX11" fmla="*/ 314956 w 365348"/>
                <a:gd name="connsiteY11" fmla="*/ 381726 h 377946"/>
                <a:gd name="connsiteX12" fmla="*/ 314956 w 365348"/>
                <a:gd name="connsiteY12" fmla="*/ 381726 h 377946"/>
                <a:gd name="connsiteX13" fmla="*/ 314956 w 365348"/>
                <a:gd name="connsiteY13" fmla="*/ 381726 h 377946"/>
                <a:gd name="connsiteX14" fmla="*/ 314956 w 365348"/>
                <a:gd name="connsiteY14" fmla="*/ 381726 h 377946"/>
                <a:gd name="connsiteX15" fmla="*/ 314956 w 365348"/>
                <a:gd name="connsiteY15" fmla="*/ 381726 h 377946"/>
                <a:gd name="connsiteX16" fmla="*/ 314956 w 365348"/>
                <a:gd name="connsiteY16" fmla="*/ 381726 h 377946"/>
                <a:gd name="connsiteX17" fmla="*/ 314956 w 365348"/>
                <a:gd name="connsiteY17" fmla="*/ 381726 h 377946"/>
                <a:gd name="connsiteX18" fmla="*/ 314956 w 365348"/>
                <a:gd name="connsiteY18" fmla="*/ 381726 h 377946"/>
                <a:gd name="connsiteX19" fmla="*/ 322515 w 365348"/>
                <a:gd name="connsiteY19" fmla="*/ 379207 h 377946"/>
                <a:gd name="connsiteX20" fmla="*/ 325034 w 365348"/>
                <a:gd name="connsiteY20" fmla="*/ 377947 h 377946"/>
                <a:gd name="connsiteX21" fmla="*/ 325034 w 365348"/>
                <a:gd name="connsiteY21" fmla="*/ 377947 h 377946"/>
                <a:gd name="connsiteX22" fmla="*/ 325034 w 365348"/>
                <a:gd name="connsiteY22" fmla="*/ 377947 h 377946"/>
                <a:gd name="connsiteX23" fmla="*/ 326294 w 365348"/>
                <a:gd name="connsiteY23" fmla="*/ 377947 h 377946"/>
                <a:gd name="connsiteX24" fmla="*/ 333853 w 365348"/>
                <a:gd name="connsiteY24" fmla="*/ 375427 h 377946"/>
                <a:gd name="connsiteX25" fmla="*/ 335113 w 365348"/>
                <a:gd name="connsiteY25" fmla="*/ 375427 h 377946"/>
                <a:gd name="connsiteX26" fmla="*/ 337633 w 365348"/>
                <a:gd name="connsiteY26" fmla="*/ 374167 h 377946"/>
                <a:gd name="connsiteX27" fmla="*/ 337633 w 365348"/>
                <a:gd name="connsiteY27" fmla="*/ 374167 h 377946"/>
                <a:gd name="connsiteX28" fmla="*/ 338892 w 365348"/>
                <a:gd name="connsiteY28" fmla="*/ 374167 h 377946"/>
                <a:gd name="connsiteX29" fmla="*/ 343932 w 365348"/>
                <a:gd name="connsiteY29" fmla="*/ 371648 h 377946"/>
                <a:gd name="connsiteX30" fmla="*/ 346452 w 365348"/>
                <a:gd name="connsiteY30" fmla="*/ 370388 h 377946"/>
                <a:gd name="connsiteX31" fmla="*/ 347711 w 365348"/>
                <a:gd name="connsiteY31" fmla="*/ 369128 h 377946"/>
                <a:gd name="connsiteX32" fmla="*/ 347711 w 365348"/>
                <a:gd name="connsiteY32" fmla="*/ 369128 h 377946"/>
                <a:gd name="connsiteX33" fmla="*/ 347711 w 365348"/>
                <a:gd name="connsiteY33" fmla="*/ 369128 h 377946"/>
                <a:gd name="connsiteX34" fmla="*/ 348971 w 365348"/>
                <a:gd name="connsiteY34" fmla="*/ 367868 h 377946"/>
                <a:gd name="connsiteX35" fmla="*/ 354010 w 365348"/>
                <a:gd name="connsiteY35" fmla="*/ 362829 h 377946"/>
                <a:gd name="connsiteX36" fmla="*/ 354010 w 365348"/>
                <a:gd name="connsiteY36" fmla="*/ 362829 h 377946"/>
                <a:gd name="connsiteX37" fmla="*/ 354010 w 365348"/>
                <a:gd name="connsiteY37" fmla="*/ 362829 h 377946"/>
                <a:gd name="connsiteX38" fmla="*/ 354010 w 365348"/>
                <a:gd name="connsiteY38" fmla="*/ 362829 h 377946"/>
                <a:gd name="connsiteX39" fmla="*/ 354010 w 365348"/>
                <a:gd name="connsiteY39" fmla="*/ 362829 h 377946"/>
                <a:gd name="connsiteX40" fmla="*/ 355270 w 365348"/>
                <a:gd name="connsiteY40" fmla="*/ 361569 h 377946"/>
                <a:gd name="connsiteX41" fmla="*/ 355270 w 365348"/>
                <a:gd name="connsiteY41" fmla="*/ 361569 h 377946"/>
                <a:gd name="connsiteX42" fmla="*/ 355270 w 365348"/>
                <a:gd name="connsiteY42" fmla="*/ 361569 h 377946"/>
                <a:gd name="connsiteX43" fmla="*/ 355270 w 365348"/>
                <a:gd name="connsiteY43" fmla="*/ 361569 h 377946"/>
                <a:gd name="connsiteX44" fmla="*/ 356530 w 365348"/>
                <a:gd name="connsiteY44" fmla="*/ 359050 h 377946"/>
                <a:gd name="connsiteX45" fmla="*/ 357790 w 365348"/>
                <a:gd name="connsiteY45" fmla="*/ 356530 h 377946"/>
                <a:gd name="connsiteX46" fmla="*/ 360309 w 365348"/>
                <a:gd name="connsiteY46" fmla="*/ 351491 h 377946"/>
                <a:gd name="connsiteX47" fmla="*/ 361569 w 365348"/>
                <a:gd name="connsiteY47" fmla="*/ 348971 h 377946"/>
                <a:gd name="connsiteX48" fmla="*/ 364089 w 365348"/>
                <a:gd name="connsiteY48" fmla="*/ 342672 h 377946"/>
                <a:gd name="connsiteX49" fmla="*/ 365349 w 365348"/>
                <a:gd name="connsiteY49" fmla="*/ 338892 h 377946"/>
                <a:gd name="connsiteX50" fmla="*/ 365349 w 365348"/>
                <a:gd name="connsiteY50" fmla="*/ 338892 h 377946"/>
                <a:gd name="connsiteX51" fmla="*/ 365349 w 365348"/>
                <a:gd name="connsiteY51" fmla="*/ 337633 h 377946"/>
                <a:gd name="connsiteX52" fmla="*/ 365349 w 365348"/>
                <a:gd name="connsiteY52" fmla="*/ 337633 h 377946"/>
                <a:gd name="connsiteX53" fmla="*/ 369128 w 365348"/>
                <a:gd name="connsiteY53" fmla="*/ 322515 h 377946"/>
                <a:gd name="connsiteX54" fmla="*/ 369128 w 365348"/>
                <a:gd name="connsiteY54" fmla="*/ 319995 h 377946"/>
                <a:gd name="connsiteX55" fmla="*/ 369128 w 365348"/>
                <a:gd name="connsiteY55" fmla="*/ 317475 h 377946"/>
                <a:gd name="connsiteX56" fmla="*/ 369128 w 365348"/>
                <a:gd name="connsiteY56" fmla="*/ 311176 h 377946"/>
                <a:gd name="connsiteX57" fmla="*/ 369128 w 365348"/>
                <a:gd name="connsiteY57" fmla="*/ 309916 h 377946"/>
                <a:gd name="connsiteX58" fmla="*/ 369128 w 365348"/>
                <a:gd name="connsiteY58" fmla="*/ 309916 h 377946"/>
                <a:gd name="connsiteX59" fmla="*/ 369128 w 365348"/>
                <a:gd name="connsiteY59" fmla="*/ 309916 h 377946"/>
                <a:gd name="connsiteX60" fmla="*/ 369128 w 365348"/>
                <a:gd name="connsiteY60" fmla="*/ 303617 h 377946"/>
                <a:gd name="connsiteX61" fmla="*/ 369128 w 365348"/>
                <a:gd name="connsiteY61" fmla="*/ 302358 h 377946"/>
                <a:gd name="connsiteX62" fmla="*/ 369128 w 365348"/>
                <a:gd name="connsiteY62" fmla="*/ 302358 h 377946"/>
                <a:gd name="connsiteX63" fmla="*/ 369128 w 365348"/>
                <a:gd name="connsiteY63" fmla="*/ 301098 h 377946"/>
                <a:gd name="connsiteX64" fmla="*/ 369128 w 365348"/>
                <a:gd name="connsiteY64" fmla="*/ 301098 h 377946"/>
                <a:gd name="connsiteX65" fmla="*/ 369128 w 365348"/>
                <a:gd name="connsiteY65" fmla="*/ 301098 h 377946"/>
                <a:gd name="connsiteX66" fmla="*/ 369128 w 365348"/>
                <a:gd name="connsiteY66" fmla="*/ 301098 h 377946"/>
                <a:gd name="connsiteX67" fmla="*/ 369128 w 365348"/>
                <a:gd name="connsiteY67" fmla="*/ 301098 h 377946"/>
                <a:gd name="connsiteX68" fmla="*/ 369128 w 365348"/>
                <a:gd name="connsiteY68" fmla="*/ 296058 h 377946"/>
                <a:gd name="connsiteX69" fmla="*/ 369128 w 365348"/>
                <a:gd name="connsiteY69" fmla="*/ 293539 h 377946"/>
                <a:gd name="connsiteX70" fmla="*/ 369128 w 365348"/>
                <a:gd name="connsiteY70" fmla="*/ 291019 h 377946"/>
                <a:gd name="connsiteX71" fmla="*/ 369128 w 365348"/>
                <a:gd name="connsiteY71" fmla="*/ 288499 h 377946"/>
                <a:gd name="connsiteX72" fmla="*/ 369128 w 365348"/>
                <a:gd name="connsiteY72" fmla="*/ 288499 h 377946"/>
                <a:gd name="connsiteX73" fmla="*/ 369128 w 365348"/>
                <a:gd name="connsiteY73" fmla="*/ 287240 h 377946"/>
                <a:gd name="connsiteX74" fmla="*/ 367868 w 365348"/>
                <a:gd name="connsiteY74" fmla="*/ 280940 h 377946"/>
                <a:gd name="connsiteX75" fmla="*/ 367868 w 365348"/>
                <a:gd name="connsiteY75" fmla="*/ 280940 h 377946"/>
                <a:gd name="connsiteX76" fmla="*/ 367868 w 365348"/>
                <a:gd name="connsiteY76" fmla="*/ 279681 h 377946"/>
                <a:gd name="connsiteX77" fmla="*/ 365349 w 365348"/>
                <a:gd name="connsiteY77" fmla="*/ 274641 h 377946"/>
                <a:gd name="connsiteX78" fmla="*/ 364089 w 365348"/>
                <a:gd name="connsiteY78" fmla="*/ 270862 h 377946"/>
                <a:gd name="connsiteX79" fmla="*/ 364089 w 365348"/>
                <a:gd name="connsiteY79" fmla="*/ 270862 h 377946"/>
                <a:gd name="connsiteX80" fmla="*/ 364089 w 365348"/>
                <a:gd name="connsiteY80" fmla="*/ 270862 h 377946"/>
                <a:gd name="connsiteX81" fmla="*/ 364089 w 365348"/>
                <a:gd name="connsiteY81" fmla="*/ 269602 h 377946"/>
                <a:gd name="connsiteX82" fmla="*/ 357790 w 365348"/>
                <a:gd name="connsiteY82" fmla="*/ 255744 h 377946"/>
                <a:gd name="connsiteX83" fmla="*/ 356530 w 365348"/>
                <a:gd name="connsiteY83" fmla="*/ 253224 h 377946"/>
                <a:gd name="connsiteX84" fmla="*/ 356530 w 365348"/>
                <a:gd name="connsiteY84" fmla="*/ 253224 h 377946"/>
                <a:gd name="connsiteX85" fmla="*/ 356530 w 365348"/>
                <a:gd name="connsiteY85" fmla="*/ 253224 h 377946"/>
                <a:gd name="connsiteX86" fmla="*/ 356530 w 365348"/>
                <a:gd name="connsiteY86" fmla="*/ 253224 h 377946"/>
                <a:gd name="connsiteX87" fmla="*/ 356530 w 365348"/>
                <a:gd name="connsiteY87" fmla="*/ 253224 h 377946"/>
                <a:gd name="connsiteX88" fmla="*/ 355270 w 365348"/>
                <a:gd name="connsiteY88" fmla="*/ 249445 h 377946"/>
                <a:gd name="connsiteX89" fmla="*/ 355270 w 365348"/>
                <a:gd name="connsiteY89" fmla="*/ 248185 h 377946"/>
                <a:gd name="connsiteX90" fmla="*/ 354010 w 365348"/>
                <a:gd name="connsiteY90" fmla="*/ 246925 h 377946"/>
                <a:gd name="connsiteX91" fmla="*/ 354010 w 365348"/>
                <a:gd name="connsiteY91" fmla="*/ 246925 h 377946"/>
                <a:gd name="connsiteX92" fmla="*/ 348971 w 365348"/>
                <a:gd name="connsiteY92" fmla="*/ 238107 h 377946"/>
                <a:gd name="connsiteX93" fmla="*/ 347711 w 365348"/>
                <a:gd name="connsiteY93" fmla="*/ 236847 h 377946"/>
                <a:gd name="connsiteX94" fmla="*/ 345192 w 365348"/>
                <a:gd name="connsiteY94" fmla="*/ 233067 h 377946"/>
                <a:gd name="connsiteX95" fmla="*/ 345192 w 365348"/>
                <a:gd name="connsiteY95" fmla="*/ 233067 h 377946"/>
                <a:gd name="connsiteX96" fmla="*/ 343932 w 365348"/>
                <a:gd name="connsiteY96" fmla="*/ 231807 h 377946"/>
                <a:gd name="connsiteX97" fmla="*/ 340152 w 365348"/>
                <a:gd name="connsiteY97" fmla="*/ 225508 h 377946"/>
                <a:gd name="connsiteX98" fmla="*/ 340152 w 365348"/>
                <a:gd name="connsiteY98" fmla="*/ 225508 h 377946"/>
                <a:gd name="connsiteX99" fmla="*/ 337633 w 365348"/>
                <a:gd name="connsiteY99" fmla="*/ 221729 h 377946"/>
                <a:gd name="connsiteX100" fmla="*/ 330074 w 365348"/>
                <a:gd name="connsiteY100" fmla="*/ 210390 h 377946"/>
                <a:gd name="connsiteX101" fmla="*/ 330074 w 365348"/>
                <a:gd name="connsiteY101" fmla="*/ 210390 h 377946"/>
                <a:gd name="connsiteX102" fmla="*/ 326294 w 365348"/>
                <a:gd name="connsiteY102" fmla="*/ 205351 h 377946"/>
                <a:gd name="connsiteX103" fmla="*/ 323775 w 365348"/>
                <a:gd name="connsiteY103" fmla="*/ 201572 h 377946"/>
                <a:gd name="connsiteX104" fmla="*/ 318735 w 365348"/>
                <a:gd name="connsiteY104" fmla="*/ 195273 h 377946"/>
                <a:gd name="connsiteX105" fmla="*/ 303617 w 365348"/>
                <a:gd name="connsiteY105" fmla="*/ 177635 h 377946"/>
                <a:gd name="connsiteX106" fmla="*/ 301098 w 365348"/>
                <a:gd name="connsiteY106" fmla="*/ 175115 h 377946"/>
                <a:gd name="connsiteX107" fmla="*/ 301098 w 365348"/>
                <a:gd name="connsiteY107" fmla="*/ 175115 h 377946"/>
                <a:gd name="connsiteX108" fmla="*/ 301098 w 365348"/>
                <a:gd name="connsiteY108" fmla="*/ 175115 h 377946"/>
                <a:gd name="connsiteX109" fmla="*/ 299838 w 365348"/>
                <a:gd name="connsiteY109" fmla="*/ 172596 h 377946"/>
                <a:gd name="connsiteX110" fmla="*/ 298578 w 365348"/>
                <a:gd name="connsiteY110" fmla="*/ 171336 h 377946"/>
                <a:gd name="connsiteX111" fmla="*/ 296059 w 365348"/>
                <a:gd name="connsiteY111" fmla="*/ 168816 h 377946"/>
                <a:gd name="connsiteX112" fmla="*/ 277161 w 365348"/>
                <a:gd name="connsiteY112" fmla="*/ 149919 h 377946"/>
                <a:gd name="connsiteX113" fmla="*/ 269602 w 365348"/>
                <a:gd name="connsiteY113" fmla="*/ 143620 h 377946"/>
                <a:gd name="connsiteX114" fmla="*/ 260783 w 365348"/>
                <a:gd name="connsiteY114" fmla="*/ 136061 h 377946"/>
                <a:gd name="connsiteX115" fmla="*/ 260783 w 365348"/>
                <a:gd name="connsiteY115" fmla="*/ 136061 h 377946"/>
                <a:gd name="connsiteX116" fmla="*/ 260783 w 365348"/>
                <a:gd name="connsiteY116" fmla="*/ 136061 h 377946"/>
                <a:gd name="connsiteX117" fmla="*/ 260783 w 365348"/>
                <a:gd name="connsiteY117" fmla="*/ 136061 h 377946"/>
                <a:gd name="connsiteX118" fmla="*/ 260783 w 365348"/>
                <a:gd name="connsiteY118" fmla="*/ 136061 h 377946"/>
                <a:gd name="connsiteX119" fmla="*/ 243146 w 365348"/>
                <a:gd name="connsiteY119" fmla="*/ 119683 h 377946"/>
                <a:gd name="connsiteX120" fmla="*/ 216690 w 365348"/>
                <a:gd name="connsiteY120" fmla="*/ 95746 h 377946"/>
                <a:gd name="connsiteX121" fmla="*/ 201572 w 365348"/>
                <a:gd name="connsiteY121" fmla="*/ 83148 h 377946"/>
                <a:gd name="connsiteX122" fmla="*/ 192753 w 365348"/>
                <a:gd name="connsiteY122" fmla="*/ 76849 h 377946"/>
                <a:gd name="connsiteX123" fmla="*/ 186454 w 365348"/>
                <a:gd name="connsiteY123" fmla="*/ 71810 h 377946"/>
                <a:gd name="connsiteX124" fmla="*/ 182674 w 365348"/>
                <a:gd name="connsiteY124" fmla="*/ 69290 h 377946"/>
                <a:gd name="connsiteX125" fmla="*/ 170076 w 365348"/>
                <a:gd name="connsiteY125" fmla="*/ 59212 h 377946"/>
                <a:gd name="connsiteX126" fmla="*/ 168816 w 365348"/>
                <a:gd name="connsiteY126" fmla="*/ 57952 h 377946"/>
                <a:gd name="connsiteX127" fmla="*/ 166297 w 365348"/>
                <a:gd name="connsiteY127" fmla="*/ 55432 h 377946"/>
                <a:gd name="connsiteX128" fmla="*/ 162517 w 365348"/>
                <a:gd name="connsiteY128" fmla="*/ 51653 h 377946"/>
                <a:gd name="connsiteX129" fmla="*/ 156218 w 365348"/>
                <a:gd name="connsiteY129" fmla="*/ 45354 h 377946"/>
                <a:gd name="connsiteX130" fmla="*/ 156218 w 365348"/>
                <a:gd name="connsiteY130" fmla="*/ 45354 h 377946"/>
                <a:gd name="connsiteX131" fmla="*/ 156218 w 365348"/>
                <a:gd name="connsiteY131" fmla="*/ 45354 h 377946"/>
                <a:gd name="connsiteX132" fmla="*/ 156218 w 365348"/>
                <a:gd name="connsiteY132" fmla="*/ 45354 h 377946"/>
                <a:gd name="connsiteX133" fmla="*/ 156218 w 365348"/>
                <a:gd name="connsiteY133" fmla="*/ 45354 h 377946"/>
                <a:gd name="connsiteX134" fmla="*/ 156218 w 365348"/>
                <a:gd name="connsiteY134" fmla="*/ 45354 h 377946"/>
                <a:gd name="connsiteX135" fmla="*/ 156218 w 365348"/>
                <a:gd name="connsiteY135" fmla="*/ 45354 h 377946"/>
                <a:gd name="connsiteX136" fmla="*/ 156218 w 365348"/>
                <a:gd name="connsiteY136" fmla="*/ 45354 h 377946"/>
                <a:gd name="connsiteX137" fmla="*/ 156218 w 365348"/>
                <a:gd name="connsiteY137" fmla="*/ 45354 h 377946"/>
                <a:gd name="connsiteX138" fmla="*/ 152439 w 365348"/>
                <a:gd name="connsiteY138" fmla="*/ 42834 h 377946"/>
                <a:gd name="connsiteX139" fmla="*/ 151179 w 365348"/>
                <a:gd name="connsiteY139" fmla="*/ 42834 h 377946"/>
                <a:gd name="connsiteX140" fmla="*/ 151179 w 365348"/>
                <a:gd name="connsiteY140" fmla="*/ 42834 h 377946"/>
                <a:gd name="connsiteX141" fmla="*/ 151179 w 365348"/>
                <a:gd name="connsiteY141" fmla="*/ 42834 h 377946"/>
                <a:gd name="connsiteX142" fmla="*/ 151179 w 365348"/>
                <a:gd name="connsiteY142" fmla="*/ 42834 h 377946"/>
                <a:gd name="connsiteX143" fmla="*/ 151179 w 365348"/>
                <a:gd name="connsiteY143" fmla="*/ 42834 h 377946"/>
                <a:gd name="connsiteX144" fmla="*/ 151179 w 365348"/>
                <a:gd name="connsiteY144" fmla="*/ 42834 h 377946"/>
                <a:gd name="connsiteX145" fmla="*/ 151179 w 365348"/>
                <a:gd name="connsiteY145" fmla="*/ 42834 h 377946"/>
                <a:gd name="connsiteX146" fmla="*/ 151179 w 365348"/>
                <a:gd name="connsiteY146" fmla="*/ 42834 h 377946"/>
                <a:gd name="connsiteX147" fmla="*/ 151179 w 365348"/>
                <a:gd name="connsiteY147" fmla="*/ 42834 h 377946"/>
                <a:gd name="connsiteX148" fmla="*/ 151179 w 365348"/>
                <a:gd name="connsiteY148" fmla="*/ 42834 h 377946"/>
                <a:gd name="connsiteX149" fmla="*/ 151179 w 365348"/>
                <a:gd name="connsiteY149" fmla="*/ 42834 h 377946"/>
                <a:gd name="connsiteX150" fmla="*/ 138581 w 365348"/>
                <a:gd name="connsiteY150" fmla="*/ 34015 h 377946"/>
                <a:gd name="connsiteX151" fmla="*/ 133541 w 365348"/>
                <a:gd name="connsiteY151" fmla="*/ 30236 h 377946"/>
                <a:gd name="connsiteX152" fmla="*/ 128502 w 365348"/>
                <a:gd name="connsiteY152" fmla="*/ 26456 h 377946"/>
                <a:gd name="connsiteX153" fmla="*/ 119683 w 365348"/>
                <a:gd name="connsiteY153" fmla="*/ 21417 h 377946"/>
                <a:gd name="connsiteX154" fmla="*/ 119683 w 365348"/>
                <a:gd name="connsiteY154" fmla="*/ 21417 h 377946"/>
                <a:gd name="connsiteX155" fmla="*/ 119683 w 365348"/>
                <a:gd name="connsiteY155" fmla="*/ 21417 h 377946"/>
                <a:gd name="connsiteX156" fmla="*/ 115904 w 365348"/>
                <a:gd name="connsiteY156" fmla="*/ 20157 h 377946"/>
                <a:gd name="connsiteX157" fmla="*/ 109605 w 365348"/>
                <a:gd name="connsiteY157" fmla="*/ 16378 h 377946"/>
                <a:gd name="connsiteX158" fmla="*/ 109605 w 365348"/>
                <a:gd name="connsiteY158" fmla="*/ 16378 h 377946"/>
                <a:gd name="connsiteX159" fmla="*/ 105825 w 365348"/>
                <a:gd name="connsiteY159" fmla="*/ 13858 h 377946"/>
                <a:gd name="connsiteX160" fmla="*/ 91967 w 365348"/>
                <a:gd name="connsiteY160" fmla="*/ 7559 h 377946"/>
                <a:gd name="connsiteX161" fmla="*/ 69290 w 365348"/>
                <a:gd name="connsiteY161" fmla="*/ 1260 h 377946"/>
                <a:gd name="connsiteX162" fmla="*/ 55432 w 365348"/>
                <a:gd name="connsiteY162" fmla="*/ 0 h 377946"/>
                <a:gd name="connsiteX163" fmla="*/ 42834 w 365348"/>
                <a:gd name="connsiteY163" fmla="*/ 0 h 377946"/>
                <a:gd name="connsiteX164" fmla="*/ 41574 w 365348"/>
                <a:gd name="connsiteY164" fmla="*/ 0 h 377946"/>
                <a:gd name="connsiteX165" fmla="*/ 35275 w 365348"/>
                <a:gd name="connsiteY165" fmla="*/ 1260 h 377946"/>
                <a:gd name="connsiteX166" fmla="*/ 26456 w 365348"/>
                <a:gd name="connsiteY166" fmla="*/ 5039 h 377946"/>
                <a:gd name="connsiteX167" fmla="*/ 25196 w 365348"/>
                <a:gd name="connsiteY167" fmla="*/ 6299 h 377946"/>
                <a:gd name="connsiteX168" fmla="*/ 21417 w 365348"/>
                <a:gd name="connsiteY168" fmla="*/ 7559 h 377946"/>
                <a:gd name="connsiteX169" fmla="*/ 20157 w 365348"/>
                <a:gd name="connsiteY169" fmla="*/ 8819 h 377946"/>
                <a:gd name="connsiteX170" fmla="*/ 17638 w 365348"/>
                <a:gd name="connsiteY170" fmla="*/ 10078 h 377946"/>
                <a:gd name="connsiteX171" fmla="*/ 13858 w 365348"/>
                <a:gd name="connsiteY171" fmla="*/ 13858 h 377946"/>
                <a:gd name="connsiteX172" fmla="*/ 7559 w 365348"/>
                <a:gd name="connsiteY172" fmla="*/ 25196 h 377946"/>
                <a:gd name="connsiteX173" fmla="*/ 3780 w 365348"/>
                <a:gd name="connsiteY173" fmla="*/ 35275 h 377946"/>
                <a:gd name="connsiteX174" fmla="*/ 3780 w 365348"/>
                <a:gd name="connsiteY174" fmla="*/ 35275 h 377946"/>
                <a:gd name="connsiteX175" fmla="*/ 1260 w 365348"/>
                <a:gd name="connsiteY175" fmla="*/ 42834 h 377946"/>
                <a:gd name="connsiteX176" fmla="*/ 0 w 365348"/>
                <a:gd name="connsiteY176" fmla="*/ 61731 h 377946"/>
                <a:gd name="connsiteX177" fmla="*/ 1260 w 365348"/>
                <a:gd name="connsiteY177" fmla="*/ 80629 h 377946"/>
                <a:gd name="connsiteX178" fmla="*/ 1260 w 365348"/>
                <a:gd name="connsiteY178" fmla="*/ 80629 h 377946"/>
                <a:gd name="connsiteX179" fmla="*/ 1260 w 365348"/>
                <a:gd name="connsiteY179" fmla="*/ 80629 h 377946"/>
                <a:gd name="connsiteX180" fmla="*/ 1260 w 365348"/>
                <a:gd name="connsiteY180" fmla="*/ 80629 h 377946"/>
                <a:gd name="connsiteX181" fmla="*/ 1260 w 365348"/>
                <a:gd name="connsiteY181" fmla="*/ 80629 h 377946"/>
                <a:gd name="connsiteX182" fmla="*/ 1260 w 365348"/>
                <a:gd name="connsiteY182" fmla="*/ 80629 h 377946"/>
                <a:gd name="connsiteX183" fmla="*/ 2520 w 365348"/>
                <a:gd name="connsiteY183" fmla="*/ 86928 h 377946"/>
                <a:gd name="connsiteX184" fmla="*/ 7559 w 365348"/>
                <a:gd name="connsiteY184" fmla="*/ 102046 h 377946"/>
                <a:gd name="connsiteX185" fmla="*/ 10079 w 365348"/>
                <a:gd name="connsiteY185" fmla="*/ 105825 h 377946"/>
                <a:gd name="connsiteX186" fmla="*/ 21417 w 365348"/>
                <a:gd name="connsiteY186" fmla="*/ 119683 h 377946"/>
                <a:gd name="connsiteX187" fmla="*/ 34015 w 365348"/>
                <a:gd name="connsiteY187" fmla="*/ 132281 h 377946"/>
                <a:gd name="connsiteX188" fmla="*/ 34015 w 365348"/>
                <a:gd name="connsiteY188" fmla="*/ 132281 h 377946"/>
                <a:gd name="connsiteX189" fmla="*/ 46614 w 365348"/>
                <a:gd name="connsiteY189" fmla="*/ 143620 h 377946"/>
                <a:gd name="connsiteX190" fmla="*/ 60472 w 365348"/>
                <a:gd name="connsiteY190" fmla="*/ 156218 h 377946"/>
                <a:gd name="connsiteX191" fmla="*/ 71810 w 365348"/>
                <a:gd name="connsiteY191" fmla="*/ 167556 h 377946"/>
                <a:gd name="connsiteX192" fmla="*/ 73070 w 365348"/>
                <a:gd name="connsiteY192" fmla="*/ 168816 h 377946"/>
                <a:gd name="connsiteX193" fmla="*/ 75589 w 365348"/>
                <a:gd name="connsiteY193" fmla="*/ 171336 h 377946"/>
                <a:gd name="connsiteX194" fmla="*/ 99526 w 365348"/>
                <a:gd name="connsiteY194" fmla="*/ 192753 h 377946"/>
                <a:gd name="connsiteX195" fmla="*/ 113384 w 365348"/>
                <a:gd name="connsiteY195" fmla="*/ 204091 h 377946"/>
                <a:gd name="connsiteX196" fmla="*/ 125982 w 365348"/>
                <a:gd name="connsiteY196" fmla="*/ 214170 h 377946"/>
                <a:gd name="connsiteX197" fmla="*/ 128502 w 365348"/>
                <a:gd name="connsiteY197" fmla="*/ 215430 h 377946"/>
                <a:gd name="connsiteX198" fmla="*/ 133541 w 365348"/>
                <a:gd name="connsiteY198" fmla="*/ 220469 h 377946"/>
                <a:gd name="connsiteX199" fmla="*/ 141100 w 365348"/>
                <a:gd name="connsiteY199" fmla="*/ 226768 h 377946"/>
                <a:gd name="connsiteX200" fmla="*/ 157478 w 365348"/>
                <a:gd name="connsiteY200" fmla="*/ 239366 h 377946"/>
                <a:gd name="connsiteX201" fmla="*/ 171336 w 365348"/>
                <a:gd name="connsiteY201" fmla="*/ 248185 h 377946"/>
                <a:gd name="connsiteX202" fmla="*/ 186454 w 365348"/>
                <a:gd name="connsiteY202" fmla="*/ 258264 h 377946"/>
                <a:gd name="connsiteX203" fmla="*/ 196532 w 365348"/>
                <a:gd name="connsiteY203" fmla="*/ 265823 h 377946"/>
                <a:gd name="connsiteX204" fmla="*/ 199052 w 365348"/>
                <a:gd name="connsiteY204" fmla="*/ 268342 h 377946"/>
                <a:gd name="connsiteX205" fmla="*/ 205351 w 365348"/>
                <a:gd name="connsiteY205" fmla="*/ 273382 h 377946"/>
                <a:gd name="connsiteX206" fmla="*/ 212910 w 365348"/>
                <a:gd name="connsiteY206" fmla="*/ 279681 h 377946"/>
                <a:gd name="connsiteX207" fmla="*/ 214170 w 365348"/>
                <a:gd name="connsiteY207" fmla="*/ 279681 h 377946"/>
                <a:gd name="connsiteX208" fmla="*/ 228028 w 365348"/>
                <a:gd name="connsiteY208" fmla="*/ 291019 h 377946"/>
                <a:gd name="connsiteX209" fmla="*/ 241886 w 365348"/>
                <a:gd name="connsiteY209" fmla="*/ 303617 h 377946"/>
                <a:gd name="connsiteX210" fmla="*/ 246925 w 365348"/>
                <a:gd name="connsiteY210" fmla="*/ 309916 h 377946"/>
                <a:gd name="connsiteX211" fmla="*/ 250705 w 365348"/>
                <a:gd name="connsiteY211" fmla="*/ 316216 h 377946"/>
                <a:gd name="connsiteX212" fmla="*/ 253224 w 365348"/>
                <a:gd name="connsiteY212" fmla="*/ 322515 h 377946"/>
                <a:gd name="connsiteX213" fmla="*/ 253224 w 365348"/>
                <a:gd name="connsiteY213" fmla="*/ 323775 h 377946"/>
                <a:gd name="connsiteX214" fmla="*/ 260783 w 365348"/>
                <a:gd name="connsiteY214" fmla="*/ 338892 h 377946"/>
                <a:gd name="connsiteX215" fmla="*/ 260783 w 365348"/>
                <a:gd name="connsiteY215" fmla="*/ 338892 h 377946"/>
                <a:gd name="connsiteX216" fmla="*/ 264563 w 365348"/>
                <a:gd name="connsiteY216" fmla="*/ 346451 h 377946"/>
                <a:gd name="connsiteX217" fmla="*/ 267083 w 365348"/>
                <a:gd name="connsiteY217" fmla="*/ 351491 h 377946"/>
                <a:gd name="connsiteX218" fmla="*/ 268342 w 365348"/>
                <a:gd name="connsiteY218" fmla="*/ 354010 h 377946"/>
                <a:gd name="connsiteX219" fmla="*/ 270862 w 365348"/>
                <a:gd name="connsiteY219" fmla="*/ 357790 h 377946"/>
                <a:gd name="connsiteX220" fmla="*/ 272122 w 365348"/>
                <a:gd name="connsiteY220" fmla="*/ 360309 h 377946"/>
                <a:gd name="connsiteX221" fmla="*/ 278421 w 365348"/>
                <a:gd name="connsiteY221" fmla="*/ 367868 h 377946"/>
                <a:gd name="connsiteX222" fmla="*/ 279681 w 365348"/>
                <a:gd name="connsiteY222" fmla="*/ 370388 h 377946"/>
                <a:gd name="connsiteX223" fmla="*/ 287240 w 365348"/>
                <a:gd name="connsiteY223" fmla="*/ 371648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65348" h="377946">
                  <a:moveTo>
                    <a:pt x="287240" y="371648"/>
                  </a:moveTo>
                  <a:cubicBezTo>
                    <a:pt x="288500" y="372908"/>
                    <a:pt x="289759" y="372908"/>
                    <a:pt x="289759" y="374167"/>
                  </a:cubicBezTo>
                  <a:lnTo>
                    <a:pt x="289759" y="374167"/>
                  </a:lnTo>
                  <a:cubicBezTo>
                    <a:pt x="291019" y="375427"/>
                    <a:pt x="292279" y="376687"/>
                    <a:pt x="294799" y="376687"/>
                  </a:cubicBezTo>
                  <a:cubicBezTo>
                    <a:pt x="296059" y="377947"/>
                    <a:pt x="298578" y="377947"/>
                    <a:pt x="299838" y="379207"/>
                  </a:cubicBezTo>
                  <a:cubicBezTo>
                    <a:pt x="301098" y="380467"/>
                    <a:pt x="303617" y="380467"/>
                    <a:pt x="304877" y="380467"/>
                  </a:cubicBezTo>
                  <a:cubicBezTo>
                    <a:pt x="304877" y="380467"/>
                    <a:pt x="306137" y="380467"/>
                    <a:pt x="306137" y="380467"/>
                  </a:cubicBezTo>
                  <a:cubicBezTo>
                    <a:pt x="308657" y="380467"/>
                    <a:pt x="309917" y="381726"/>
                    <a:pt x="311176" y="381726"/>
                  </a:cubicBezTo>
                  <a:cubicBezTo>
                    <a:pt x="311176" y="381726"/>
                    <a:pt x="312436" y="381726"/>
                    <a:pt x="312436" y="381726"/>
                  </a:cubicBezTo>
                  <a:cubicBezTo>
                    <a:pt x="313696" y="381726"/>
                    <a:pt x="31369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7476" y="381726"/>
                    <a:pt x="319995" y="380467"/>
                    <a:pt x="322515" y="379207"/>
                  </a:cubicBezTo>
                  <a:cubicBezTo>
                    <a:pt x="323775" y="379207"/>
                    <a:pt x="325034" y="377947"/>
                    <a:pt x="325034" y="377947"/>
                  </a:cubicBezTo>
                  <a:lnTo>
                    <a:pt x="325034" y="377947"/>
                  </a:lnTo>
                  <a:lnTo>
                    <a:pt x="325034" y="377947"/>
                  </a:lnTo>
                  <a:cubicBezTo>
                    <a:pt x="325034" y="377947"/>
                    <a:pt x="325034" y="377947"/>
                    <a:pt x="326294" y="377947"/>
                  </a:cubicBezTo>
                  <a:cubicBezTo>
                    <a:pt x="328814" y="376687"/>
                    <a:pt x="331333" y="375427"/>
                    <a:pt x="333853" y="375427"/>
                  </a:cubicBezTo>
                  <a:cubicBezTo>
                    <a:pt x="333853" y="375427"/>
                    <a:pt x="333853" y="375427"/>
                    <a:pt x="335113" y="375427"/>
                  </a:cubicBezTo>
                  <a:cubicBezTo>
                    <a:pt x="336373" y="375427"/>
                    <a:pt x="336373" y="374167"/>
                    <a:pt x="337633" y="374167"/>
                  </a:cubicBezTo>
                  <a:lnTo>
                    <a:pt x="337633" y="374167"/>
                  </a:lnTo>
                  <a:lnTo>
                    <a:pt x="338892" y="374167"/>
                  </a:lnTo>
                  <a:cubicBezTo>
                    <a:pt x="340152" y="372908"/>
                    <a:pt x="341412" y="372908"/>
                    <a:pt x="343932" y="371648"/>
                  </a:cubicBezTo>
                  <a:cubicBezTo>
                    <a:pt x="345192" y="371648"/>
                    <a:pt x="345192" y="370388"/>
                    <a:pt x="346452" y="370388"/>
                  </a:cubicBezTo>
                  <a:cubicBezTo>
                    <a:pt x="346452" y="370388"/>
                    <a:pt x="346452" y="370388"/>
                    <a:pt x="347711" y="369128"/>
                  </a:cubicBezTo>
                  <a:lnTo>
                    <a:pt x="347711" y="369128"/>
                  </a:lnTo>
                  <a:lnTo>
                    <a:pt x="347711" y="369128"/>
                  </a:lnTo>
                  <a:cubicBezTo>
                    <a:pt x="347711" y="369128"/>
                    <a:pt x="348971" y="367868"/>
                    <a:pt x="348971" y="367868"/>
                  </a:cubicBezTo>
                  <a:cubicBezTo>
                    <a:pt x="350231" y="366608"/>
                    <a:pt x="352751" y="364089"/>
                    <a:pt x="354010" y="362829"/>
                  </a:cubicBezTo>
                  <a:cubicBezTo>
                    <a:pt x="354010" y="362829"/>
                    <a:pt x="354010" y="362829"/>
                    <a:pt x="354010" y="362829"/>
                  </a:cubicBezTo>
                  <a:lnTo>
                    <a:pt x="354010" y="362829"/>
                  </a:lnTo>
                  <a:lnTo>
                    <a:pt x="354010" y="362829"/>
                  </a:lnTo>
                  <a:cubicBezTo>
                    <a:pt x="354010" y="362829"/>
                    <a:pt x="354010" y="362829"/>
                    <a:pt x="354010" y="362829"/>
                  </a:cubicBezTo>
                  <a:cubicBezTo>
                    <a:pt x="354010" y="36282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0309"/>
                    <a:pt x="356530" y="360309"/>
                    <a:pt x="356530" y="359050"/>
                  </a:cubicBezTo>
                  <a:cubicBezTo>
                    <a:pt x="356530" y="357790"/>
                    <a:pt x="357790" y="357790"/>
                    <a:pt x="357790" y="356530"/>
                  </a:cubicBezTo>
                  <a:cubicBezTo>
                    <a:pt x="359050" y="355270"/>
                    <a:pt x="359050" y="354010"/>
                    <a:pt x="360309" y="351491"/>
                  </a:cubicBezTo>
                  <a:cubicBezTo>
                    <a:pt x="360309" y="350231"/>
                    <a:pt x="361569" y="350231"/>
                    <a:pt x="361569" y="348971"/>
                  </a:cubicBezTo>
                  <a:cubicBezTo>
                    <a:pt x="362829" y="346451"/>
                    <a:pt x="362829" y="345192"/>
                    <a:pt x="364089" y="342672"/>
                  </a:cubicBezTo>
                  <a:cubicBezTo>
                    <a:pt x="364089" y="341412"/>
                    <a:pt x="365349" y="340152"/>
                    <a:pt x="365349" y="338892"/>
                  </a:cubicBezTo>
                  <a:cubicBezTo>
                    <a:pt x="365349" y="338892"/>
                    <a:pt x="365349" y="338892"/>
                    <a:pt x="365349" y="338892"/>
                  </a:cubicBezTo>
                  <a:lnTo>
                    <a:pt x="365349" y="337633"/>
                  </a:lnTo>
                  <a:cubicBezTo>
                    <a:pt x="365349" y="337633"/>
                    <a:pt x="365349" y="337633"/>
                    <a:pt x="365349" y="337633"/>
                  </a:cubicBezTo>
                  <a:cubicBezTo>
                    <a:pt x="366609" y="332593"/>
                    <a:pt x="367868" y="328814"/>
                    <a:pt x="369128" y="322515"/>
                  </a:cubicBezTo>
                  <a:cubicBezTo>
                    <a:pt x="369128" y="321255"/>
                    <a:pt x="369128" y="321255"/>
                    <a:pt x="369128" y="319995"/>
                  </a:cubicBezTo>
                  <a:cubicBezTo>
                    <a:pt x="369128" y="318735"/>
                    <a:pt x="369128" y="318735"/>
                    <a:pt x="369128" y="317475"/>
                  </a:cubicBezTo>
                  <a:cubicBezTo>
                    <a:pt x="369128" y="316216"/>
                    <a:pt x="369128" y="313696"/>
                    <a:pt x="369128" y="311176"/>
                  </a:cubicBezTo>
                  <a:lnTo>
                    <a:pt x="369128" y="309916"/>
                  </a:lnTo>
                  <a:lnTo>
                    <a:pt x="369128" y="309916"/>
                  </a:lnTo>
                  <a:cubicBezTo>
                    <a:pt x="369128" y="309916"/>
                    <a:pt x="369128" y="309916"/>
                    <a:pt x="369128" y="309916"/>
                  </a:cubicBezTo>
                  <a:cubicBezTo>
                    <a:pt x="369128" y="307397"/>
                    <a:pt x="369128" y="306137"/>
                    <a:pt x="369128" y="303617"/>
                  </a:cubicBezTo>
                  <a:lnTo>
                    <a:pt x="369128" y="302358"/>
                  </a:lnTo>
                  <a:lnTo>
                    <a:pt x="369128" y="30235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cubicBezTo>
                    <a:pt x="369128" y="301098"/>
                    <a:pt x="369128" y="301098"/>
                    <a:pt x="369128" y="301098"/>
                  </a:cubicBezTo>
                  <a:cubicBezTo>
                    <a:pt x="369128" y="299838"/>
                    <a:pt x="369128" y="297318"/>
                    <a:pt x="369128" y="296058"/>
                  </a:cubicBezTo>
                  <a:lnTo>
                    <a:pt x="369128" y="293539"/>
                  </a:lnTo>
                  <a:lnTo>
                    <a:pt x="369128" y="291019"/>
                  </a:lnTo>
                  <a:cubicBezTo>
                    <a:pt x="369128" y="289759"/>
                    <a:pt x="369128" y="289759"/>
                    <a:pt x="369128" y="288499"/>
                  </a:cubicBezTo>
                  <a:cubicBezTo>
                    <a:pt x="369128" y="288499"/>
                    <a:pt x="369128" y="288499"/>
                    <a:pt x="369128" y="288499"/>
                  </a:cubicBezTo>
                  <a:cubicBezTo>
                    <a:pt x="369128" y="288499"/>
                    <a:pt x="369128" y="287240"/>
                    <a:pt x="369128" y="287240"/>
                  </a:cubicBezTo>
                  <a:cubicBezTo>
                    <a:pt x="369128" y="284720"/>
                    <a:pt x="367868" y="282200"/>
                    <a:pt x="367868" y="280940"/>
                  </a:cubicBezTo>
                  <a:cubicBezTo>
                    <a:pt x="367868" y="280940"/>
                    <a:pt x="367868" y="280940"/>
                    <a:pt x="367868" y="280940"/>
                  </a:cubicBezTo>
                  <a:lnTo>
                    <a:pt x="367868" y="279681"/>
                  </a:lnTo>
                  <a:cubicBezTo>
                    <a:pt x="367868" y="278421"/>
                    <a:pt x="366609" y="275901"/>
                    <a:pt x="365349" y="274641"/>
                  </a:cubicBezTo>
                  <a:cubicBezTo>
                    <a:pt x="365349" y="273382"/>
                    <a:pt x="364089" y="272122"/>
                    <a:pt x="364089" y="270862"/>
                  </a:cubicBezTo>
                  <a:lnTo>
                    <a:pt x="364089" y="270862"/>
                  </a:lnTo>
                  <a:lnTo>
                    <a:pt x="364089" y="270862"/>
                  </a:lnTo>
                  <a:cubicBezTo>
                    <a:pt x="364089" y="270862"/>
                    <a:pt x="364089" y="269602"/>
                    <a:pt x="364089" y="269602"/>
                  </a:cubicBezTo>
                  <a:cubicBezTo>
                    <a:pt x="362829" y="265823"/>
                    <a:pt x="360309" y="260783"/>
                    <a:pt x="357790" y="255744"/>
                  </a:cubicBezTo>
                  <a:cubicBezTo>
                    <a:pt x="357790" y="254484"/>
                    <a:pt x="356530" y="254484"/>
                    <a:pt x="356530" y="253224"/>
                  </a:cubicBez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cubicBezTo>
                    <a:pt x="356530" y="251965"/>
                    <a:pt x="355270" y="250705"/>
                    <a:pt x="355270" y="249445"/>
                  </a:cubicBezTo>
                  <a:cubicBezTo>
                    <a:pt x="355270" y="249445"/>
                    <a:pt x="355270" y="249445"/>
                    <a:pt x="355270" y="248185"/>
                  </a:cubicBezTo>
                  <a:cubicBezTo>
                    <a:pt x="355270" y="248185"/>
                    <a:pt x="355270" y="246925"/>
                    <a:pt x="354010" y="246925"/>
                  </a:cubicBezTo>
                  <a:cubicBezTo>
                    <a:pt x="354010" y="246925"/>
                    <a:pt x="354010" y="246925"/>
                    <a:pt x="354010" y="246925"/>
                  </a:cubicBezTo>
                  <a:cubicBezTo>
                    <a:pt x="352751" y="244406"/>
                    <a:pt x="350231" y="240626"/>
                    <a:pt x="348971" y="238107"/>
                  </a:cubicBezTo>
                  <a:cubicBezTo>
                    <a:pt x="348971" y="238107"/>
                    <a:pt x="347711" y="236847"/>
                    <a:pt x="347711" y="236847"/>
                  </a:cubicBezTo>
                  <a:cubicBezTo>
                    <a:pt x="346452" y="235587"/>
                    <a:pt x="346452" y="234327"/>
                    <a:pt x="345192" y="233067"/>
                  </a:cubicBezTo>
                  <a:cubicBezTo>
                    <a:pt x="345192" y="233067"/>
                    <a:pt x="345192" y="233067"/>
                    <a:pt x="345192" y="233067"/>
                  </a:cubicBezTo>
                  <a:cubicBezTo>
                    <a:pt x="345192" y="233067"/>
                    <a:pt x="345192" y="231807"/>
                    <a:pt x="343932" y="231807"/>
                  </a:cubicBezTo>
                  <a:cubicBezTo>
                    <a:pt x="342672" y="229288"/>
                    <a:pt x="341412" y="228028"/>
                    <a:pt x="340152" y="225508"/>
                  </a:cubicBezTo>
                  <a:cubicBezTo>
                    <a:pt x="340152" y="225508"/>
                    <a:pt x="340152" y="225508"/>
                    <a:pt x="340152" y="225508"/>
                  </a:cubicBezTo>
                  <a:cubicBezTo>
                    <a:pt x="338892" y="224248"/>
                    <a:pt x="338892" y="222989"/>
                    <a:pt x="337633" y="221729"/>
                  </a:cubicBezTo>
                  <a:cubicBezTo>
                    <a:pt x="335113" y="217949"/>
                    <a:pt x="332593" y="214170"/>
                    <a:pt x="330074" y="210390"/>
                  </a:cubicBezTo>
                  <a:cubicBezTo>
                    <a:pt x="330074" y="210390"/>
                    <a:pt x="330074" y="210390"/>
                    <a:pt x="330074" y="210390"/>
                  </a:cubicBezTo>
                  <a:cubicBezTo>
                    <a:pt x="328814" y="209131"/>
                    <a:pt x="327554" y="206611"/>
                    <a:pt x="326294" y="205351"/>
                  </a:cubicBezTo>
                  <a:cubicBezTo>
                    <a:pt x="325034" y="204091"/>
                    <a:pt x="323775" y="202831"/>
                    <a:pt x="323775" y="201572"/>
                  </a:cubicBezTo>
                  <a:cubicBezTo>
                    <a:pt x="322515" y="199052"/>
                    <a:pt x="319995" y="197792"/>
                    <a:pt x="318735" y="195273"/>
                  </a:cubicBezTo>
                  <a:cubicBezTo>
                    <a:pt x="313696" y="188974"/>
                    <a:pt x="308657" y="183934"/>
                    <a:pt x="303617" y="177635"/>
                  </a:cubicBezTo>
                  <a:cubicBezTo>
                    <a:pt x="302358" y="176375"/>
                    <a:pt x="30235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3855"/>
                    <a:pt x="299838" y="173855"/>
                    <a:pt x="299838" y="172596"/>
                  </a:cubicBezTo>
                  <a:cubicBezTo>
                    <a:pt x="299838" y="172596"/>
                    <a:pt x="299838" y="171336"/>
                    <a:pt x="298578" y="171336"/>
                  </a:cubicBezTo>
                  <a:lnTo>
                    <a:pt x="296059" y="168816"/>
                  </a:lnTo>
                  <a:cubicBezTo>
                    <a:pt x="291019" y="162517"/>
                    <a:pt x="284720" y="157478"/>
                    <a:pt x="277161" y="149919"/>
                  </a:cubicBezTo>
                  <a:cubicBezTo>
                    <a:pt x="274641" y="147399"/>
                    <a:pt x="272122" y="144880"/>
                    <a:pt x="269602" y="143620"/>
                  </a:cubicBezTo>
                  <a:cubicBezTo>
                    <a:pt x="267083" y="141100"/>
                    <a:pt x="263303" y="138581"/>
                    <a:pt x="260783" y="136061"/>
                  </a:cubicBez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cubicBezTo>
                    <a:pt x="254484" y="131022"/>
                    <a:pt x="249445" y="125982"/>
                    <a:pt x="243146" y="119683"/>
                  </a:cubicBezTo>
                  <a:cubicBezTo>
                    <a:pt x="234327" y="110864"/>
                    <a:pt x="225508" y="103305"/>
                    <a:pt x="216690" y="95746"/>
                  </a:cubicBezTo>
                  <a:cubicBezTo>
                    <a:pt x="211650" y="91967"/>
                    <a:pt x="207871" y="88188"/>
                    <a:pt x="201572" y="83148"/>
                  </a:cubicBezTo>
                  <a:cubicBezTo>
                    <a:pt x="199052" y="80629"/>
                    <a:pt x="196532" y="78109"/>
                    <a:pt x="192753" y="76849"/>
                  </a:cubicBezTo>
                  <a:cubicBezTo>
                    <a:pt x="190233" y="75589"/>
                    <a:pt x="188973" y="74330"/>
                    <a:pt x="186454" y="71810"/>
                  </a:cubicBezTo>
                  <a:lnTo>
                    <a:pt x="182674" y="69290"/>
                  </a:lnTo>
                  <a:cubicBezTo>
                    <a:pt x="178895" y="65511"/>
                    <a:pt x="173856" y="62991"/>
                    <a:pt x="170076" y="59212"/>
                  </a:cubicBezTo>
                  <a:cubicBezTo>
                    <a:pt x="170076" y="59212"/>
                    <a:pt x="168816" y="57952"/>
                    <a:pt x="168816" y="57952"/>
                  </a:cubicBezTo>
                  <a:lnTo>
                    <a:pt x="166297" y="55432"/>
                  </a:lnTo>
                  <a:cubicBezTo>
                    <a:pt x="165037" y="54172"/>
                    <a:pt x="163777" y="52913"/>
                    <a:pt x="162517" y="51653"/>
                  </a:cubicBezTo>
                  <a:cubicBezTo>
                    <a:pt x="159998" y="49133"/>
                    <a:pt x="158738" y="47873"/>
                    <a:pt x="156218" y="45354"/>
                  </a:cubicBez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cubicBezTo>
                    <a:pt x="154958" y="44094"/>
                    <a:pt x="153699" y="44094"/>
                    <a:pt x="152439" y="42834"/>
                  </a:cubicBez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cubicBezTo>
                    <a:pt x="147399" y="40314"/>
                    <a:pt x="143620" y="37795"/>
                    <a:pt x="138581" y="34015"/>
                  </a:cubicBezTo>
                  <a:cubicBezTo>
                    <a:pt x="137321" y="32755"/>
                    <a:pt x="134801" y="31496"/>
                    <a:pt x="133541" y="30236"/>
                  </a:cubicBezTo>
                  <a:cubicBezTo>
                    <a:pt x="132281" y="28976"/>
                    <a:pt x="129762" y="27716"/>
                    <a:pt x="128502" y="26456"/>
                  </a:cubicBezTo>
                  <a:cubicBezTo>
                    <a:pt x="125982" y="25196"/>
                    <a:pt x="122203" y="2267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8423" y="21417"/>
                    <a:pt x="117164" y="20157"/>
                    <a:pt x="115904" y="20157"/>
                  </a:cubicBezTo>
                  <a:cubicBezTo>
                    <a:pt x="113384" y="18897"/>
                    <a:pt x="112124" y="17637"/>
                    <a:pt x="109605" y="16378"/>
                  </a:cubicBezTo>
                  <a:cubicBezTo>
                    <a:pt x="109605" y="16378"/>
                    <a:pt x="109605" y="16378"/>
                    <a:pt x="109605" y="16378"/>
                  </a:cubicBezTo>
                  <a:cubicBezTo>
                    <a:pt x="108345" y="15118"/>
                    <a:pt x="107085" y="15118"/>
                    <a:pt x="105825" y="13858"/>
                  </a:cubicBezTo>
                  <a:cubicBezTo>
                    <a:pt x="102046" y="11338"/>
                    <a:pt x="97006" y="8819"/>
                    <a:pt x="91967" y="7559"/>
                  </a:cubicBezTo>
                  <a:cubicBezTo>
                    <a:pt x="84408" y="5039"/>
                    <a:pt x="76849" y="2520"/>
                    <a:pt x="69290" y="1260"/>
                  </a:cubicBezTo>
                  <a:cubicBezTo>
                    <a:pt x="64251" y="1260"/>
                    <a:pt x="59212" y="0"/>
                    <a:pt x="55432" y="0"/>
                  </a:cubicBezTo>
                  <a:cubicBezTo>
                    <a:pt x="51653" y="0"/>
                    <a:pt x="46614" y="0"/>
                    <a:pt x="42834" y="0"/>
                  </a:cubicBezTo>
                  <a:cubicBezTo>
                    <a:pt x="42834" y="0"/>
                    <a:pt x="42834" y="0"/>
                    <a:pt x="41574" y="0"/>
                  </a:cubicBezTo>
                  <a:cubicBezTo>
                    <a:pt x="39055" y="0"/>
                    <a:pt x="37795" y="1260"/>
                    <a:pt x="35275" y="1260"/>
                  </a:cubicBezTo>
                  <a:cubicBezTo>
                    <a:pt x="32755" y="2520"/>
                    <a:pt x="28976" y="3779"/>
                    <a:pt x="26456" y="5039"/>
                  </a:cubicBezTo>
                  <a:lnTo>
                    <a:pt x="25196" y="6299"/>
                  </a:lnTo>
                  <a:cubicBezTo>
                    <a:pt x="23937" y="6299"/>
                    <a:pt x="22677" y="7559"/>
                    <a:pt x="21417" y="7559"/>
                  </a:cubicBezTo>
                  <a:cubicBezTo>
                    <a:pt x="21417" y="7559"/>
                    <a:pt x="20157" y="7559"/>
                    <a:pt x="20157" y="8819"/>
                  </a:cubicBezTo>
                  <a:cubicBezTo>
                    <a:pt x="18897" y="8819"/>
                    <a:pt x="17638" y="10078"/>
                    <a:pt x="17638" y="10078"/>
                  </a:cubicBezTo>
                  <a:cubicBezTo>
                    <a:pt x="16378" y="11338"/>
                    <a:pt x="15118" y="12598"/>
                    <a:pt x="13858" y="13858"/>
                  </a:cubicBezTo>
                  <a:cubicBezTo>
                    <a:pt x="11338" y="17637"/>
                    <a:pt x="8819" y="21417"/>
                    <a:pt x="7559" y="25196"/>
                  </a:cubicBezTo>
                  <a:cubicBezTo>
                    <a:pt x="6299" y="28976"/>
                    <a:pt x="5039" y="31496"/>
                    <a:pt x="3780" y="35275"/>
                  </a:cubicBezTo>
                  <a:lnTo>
                    <a:pt x="3780" y="35275"/>
                  </a:lnTo>
                  <a:cubicBezTo>
                    <a:pt x="2520" y="37795"/>
                    <a:pt x="2520" y="40314"/>
                    <a:pt x="1260" y="42834"/>
                  </a:cubicBezTo>
                  <a:cubicBezTo>
                    <a:pt x="0" y="49133"/>
                    <a:pt x="0" y="56692"/>
                    <a:pt x="0" y="61731"/>
                  </a:cubicBezTo>
                  <a:cubicBezTo>
                    <a:pt x="0" y="68030"/>
                    <a:pt x="0" y="74330"/>
                    <a:pt x="1260" y="80629"/>
                  </a:cubicBezTo>
                  <a:cubicBezTo>
                    <a:pt x="1260" y="80629"/>
                    <a:pt x="1260" y="80629"/>
                    <a:pt x="1260" y="80629"/>
                  </a:cubicBezTo>
                  <a:lnTo>
                    <a:pt x="1260" y="80629"/>
                  </a:lnTo>
                  <a:lnTo>
                    <a:pt x="1260" y="80629"/>
                  </a:lnTo>
                  <a:lnTo>
                    <a:pt x="1260" y="80629"/>
                  </a:lnTo>
                  <a:cubicBezTo>
                    <a:pt x="1260" y="80629"/>
                    <a:pt x="1260" y="80629"/>
                    <a:pt x="1260" y="80629"/>
                  </a:cubicBezTo>
                  <a:cubicBezTo>
                    <a:pt x="1260" y="83148"/>
                    <a:pt x="2520" y="84408"/>
                    <a:pt x="2520" y="86928"/>
                  </a:cubicBezTo>
                  <a:cubicBezTo>
                    <a:pt x="3780" y="91967"/>
                    <a:pt x="6299" y="97006"/>
                    <a:pt x="7559" y="102046"/>
                  </a:cubicBezTo>
                  <a:cubicBezTo>
                    <a:pt x="8819" y="103305"/>
                    <a:pt x="8819" y="104565"/>
                    <a:pt x="10079" y="105825"/>
                  </a:cubicBezTo>
                  <a:cubicBezTo>
                    <a:pt x="13858" y="110864"/>
                    <a:pt x="17638" y="115904"/>
                    <a:pt x="21417" y="119683"/>
                  </a:cubicBezTo>
                  <a:cubicBezTo>
                    <a:pt x="25196" y="123463"/>
                    <a:pt x="30236" y="128502"/>
                    <a:pt x="34015" y="132281"/>
                  </a:cubicBezTo>
                  <a:lnTo>
                    <a:pt x="34015" y="132281"/>
                  </a:lnTo>
                  <a:cubicBezTo>
                    <a:pt x="37795" y="136061"/>
                    <a:pt x="42834" y="139840"/>
                    <a:pt x="46614" y="143620"/>
                  </a:cubicBezTo>
                  <a:cubicBezTo>
                    <a:pt x="51653" y="147399"/>
                    <a:pt x="55432" y="152439"/>
                    <a:pt x="60472" y="156218"/>
                  </a:cubicBezTo>
                  <a:cubicBezTo>
                    <a:pt x="64251" y="159998"/>
                    <a:pt x="68030" y="163777"/>
                    <a:pt x="71810" y="167556"/>
                  </a:cubicBezTo>
                  <a:lnTo>
                    <a:pt x="73070" y="168816"/>
                  </a:lnTo>
                  <a:lnTo>
                    <a:pt x="75589" y="171336"/>
                  </a:lnTo>
                  <a:cubicBezTo>
                    <a:pt x="83148" y="178895"/>
                    <a:pt x="91967" y="186454"/>
                    <a:pt x="99526" y="192753"/>
                  </a:cubicBezTo>
                  <a:cubicBezTo>
                    <a:pt x="103306" y="196532"/>
                    <a:pt x="108345" y="200312"/>
                    <a:pt x="113384" y="204091"/>
                  </a:cubicBezTo>
                  <a:cubicBezTo>
                    <a:pt x="117164" y="207871"/>
                    <a:pt x="122203" y="210390"/>
                    <a:pt x="125982" y="214170"/>
                  </a:cubicBezTo>
                  <a:lnTo>
                    <a:pt x="128502" y="215430"/>
                  </a:lnTo>
                  <a:cubicBezTo>
                    <a:pt x="129762" y="216690"/>
                    <a:pt x="132281" y="217949"/>
                    <a:pt x="133541" y="220469"/>
                  </a:cubicBezTo>
                  <a:cubicBezTo>
                    <a:pt x="136061" y="222989"/>
                    <a:pt x="138581" y="224248"/>
                    <a:pt x="141100" y="226768"/>
                  </a:cubicBezTo>
                  <a:cubicBezTo>
                    <a:pt x="146139" y="230548"/>
                    <a:pt x="151179" y="234327"/>
                    <a:pt x="157478" y="239366"/>
                  </a:cubicBezTo>
                  <a:cubicBezTo>
                    <a:pt x="162517" y="243146"/>
                    <a:pt x="166297" y="245666"/>
                    <a:pt x="171336" y="248185"/>
                  </a:cubicBezTo>
                  <a:cubicBezTo>
                    <a:pt x="176375" y="251965"/>
                    <a:pt x="181415" y="255744"/>
                    <a:pt x="186454" y="258264"/>
                  </a:cubicBezTo>
                  <a:cubicBezTo>
                    <a:pt x="190233" y="260783"/>
                    <a:pt x="192753" y="263303"/>
                    <a:pt x="196532" y="265823"/>
                  </a:cubicBezTo>
                  <a:lnTo>
                    <a:pt x="199052" y="268342"/>
                  </a:lnTo>
                  <a:cubicBezTo>
                    <a:pt x="201572" y="269602"/>
                    <a:pt x="202832" y="272122"/>
                    <a:pt x="205351" y="273382"/>
                  </a:cubicBezTo>
                  <a:cubicBezTo>
                    <a:pt x="207871" y="275901"/>
                    <a:pt x="210391" y="277161"/>
                    <a:pt x="212910" y="279681"/>
                  </a:cubicBezTo>
                  <a:lnTo>
                    <a:pt x="214170" y="279681"/>
                  </a:lnTo>
                  <a:cubicBezTo>
                    <a:pt x="219209" y="283460"/>
                    <a:pt x="222989" y="287240"/>
                    <a:pt x="228028" y="291019"/>
                  </a:cubicBezTo>
                  <a:cubicBezTo>
                    <a:pt x="231808" y="294799"/>
                    <a:pt x="236847" y="298578"/>
                    <a:pt x="241886" y="303617"/>
                  </a:cubicBezTo>
                  <a:cubicBezTo>
                    <a:pt x="244406" y="304877"/>
                    <a:pt x="245666" y="307397"/>
                    <a:pt x="246925" y="309916"/>
                  </a:cubicBezTo>
                  <a:cubicBezTo>
                    <a:pt x="248185" y="311176"/>
                    <a:pt x="249445" y="313696"/>
                    <a:pt x="250705" y="316216"/>
                  </a:cubicBezTo>
                  <a:cubicBezTo>
                    <a:pt x="251965" y="318735"/>
                    <a:pt x="253224" y="319995"/>
                    <a:pt x="253224" y="322515"/>
                  </a:cubicBezTo>
                  <a:lnTo>
                    <a:pt x="253224" y="323775"/>
                  </a:lnTo>
                  <a:cubicBezTo>
                    <a:pt x="255744" y="328814"/>
                    <a:pt x="258264" y="333853"/>
                    <a:pt x="260783" y="338892"/>
                  </a:cubicBezTo>
                  <a:lnTo>
                    <a:pt x="260783" y="338892"/>
                  </a:lnTo>
                  <a:cubicBezTo>
                    <a:pt x="262043" y="341412"/>
                    <a:pt x="263303" y="343932"/>
                    <a:pt x="264563" y="346451"/>
                  </a:cubicBezTo>
                  <a:cubicBezTo>
                    <a:pt x="265823" y="347711"/>
                    <a:pt x="267083" y="350231"/>
                    <a:pt x="267083" y="351491"/>
                  </a:cubicBezTo>
                  <a:cubicBezTo>
                    <a:pt x="267083" y="352751"/>
                    <a:pt x="268342" y="352751"/>
                    <a:pt x="268342" y="354010"/>
                  </a:cubicBezTo>
                  <a:cubicBezTo>
                    <a:pt x="269602" y="355270"/>
                    <a:pt x="269602" y="356530"/>
                    <a:pt x="270862" y="357790"/>
                  </a:cubicBezTo>
                  <a:lnTo>
                    <a:pt x="272122" y="360309"/>
                  </a:lnTo>
                  <a:cubicBezTo>
                    <a:pt x="273382" y="362829"/>
                    <a:pt x="275901" y="365349"/>
                    <a:pt x="278421" y="367868"/>
                  </a:cubicBezTo>
                  <a:cubicBezTo>
                    <a:pt x="278421" y="369128"/>
                    <a:pt x="279681" y="369128"/>
                    <a:pt x="279681" y="370388"/>
                  </a:cubicBezTo>
                  <a:cubicBezTo>
                    <a:pt x="283460" y="367868"/>
                    <a:pt x="285980" y="370388"/>
                    <a:pt x="287240" y="371648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/>
            <p:cNvSpPr/>
            <p:nvPr/>
          </p:nvSpPr>
          <p:spPr>
            <a:xfrm>
              <a:off x="2904608" y="2768852"/>
              <a:ext cx="289759" cy="428340"/>
            </a:xfrm>
            <a:custGeom>
              <a:avLst/>
              <a:gdLst>
                <a:gd name="connsiteX0" fmla="*/ 277161 w 289759"/>
                <a:gd name="connsiteY0" fmla="*/ 47873 h 428339"/>
                <a:gd name="connsiteX1" fmla="*/ 277161 w 289759"/>
                <a:gd name="connsiteY1" fmla="*/ 47873 h 428339"/>
                <a:gd name="connsiteX2" fmla="*/ 277161 w 289759"/>
                <a:gd name="connsiteY2" fmla="*/ 47873 h 428339"/>
                <a:gd name="connsiteX3" fmla="*/ 277161 w 289759"/>
                <a:gd name="connsiteY3" fmla="*/ 47873 h 428339"/>
                <a:gd name="connsiteX4" fmla="*/ 260784 w 289759"/>
                <a:gd name="connsiteY4" fmla="*/ 50393 h 428339"/>
                <a:gd name="connsiteX5" fmla="*/ 259524 w 289759"/>
                <a:gd name="connsiteY5" fmla="*/ 50393 h 428339"/>
                <a:gd name="connsiteX6" fmla="*/ 246925 w 289759"/>
                <a:gd name="connsiteY6" fmla="*/ 50393 h 428339"/>
                <a:gd name="connsiteX7" fmla="*/ 245666 w 289759"/>
                <a:gd name="connsiteY7" fmla="*/ 50393 h 428339"/>
                <a:gd name="connsiteX8" fmla="*/ 243146 w 289759"/>
                <a:gd name="connsiteY8" fmla="*/ 50393 h 428339"/>
                <a:gd name="connsiteX9" fmla="*/ 243146 w 289759"/>
                <a:gd name="connsiteY9" fmla="*/ 50393 h 428339"/>
                <a:gd name="connsiteX10" fmla="*/ 241886 w 289759"/>
                <a:gd name="connsiteY10" fmla="*/ 50393 h 428339"/>
                <a:gd name="connsiteX11" fmla="*/ 233067 w 289759"/>
                <a:gd name="connsiteY11" fmla="*/ 50393 h 428339"/>
                <a:gd name="connsiteX12" fmla="*/ 220469 w 289759"/>
                <a:gd name="connsiteY12" fmla="*/ 49133 h 428339"/>
                <a:gd name="connsiteX13" fmla="*/ 219209 w 289759"/>
                <a:gd name="connsiteY13" fmla="*/ 49133 h 428339"/>
                <a:gd name="connsiteX14" fmla="*/ 215430 w 289759"/>
                <a:gd name="connsiteY14" fmla="*/ 49133 h 428339"/>
                <a:gd name="connsiteX15" fmla="*/ 215430 w 289759"/>
                <a:gd name="connsiteY15" fmla="*/ 49133 h 428339"/>
                <a:gd name="connsiteX16" fmla="*/ 212910 w 289759"/>
                <a:gd name="connsiteY16" fmla="*/ 49133 h 428339"/>
                <a:gd name="connsiteX17" fmla="*/ 209131 w 289759"/>
                <a:gd name="connsiteY17" fmla="*/ 49133 h 428339"/>
                <a:gd name="connsiteX18" fmla="*/ 209131 w 289759"/>
                <a:gd name="connsiteY18" fmla="*/ 49133 h 428339"/>
                <a:gd name="connsiteX19" fmla="*/ 207871 w 289759"/>
                <a:gd name="connsiteY19" fmla="*/ 49133 h 428339"/>
                <a:gd name="connsiteX20" fmla="*/ 199052 w 289759"/>
                <a:gd name="connsiteY20" fmla="*/ 47873 h 428339"/>
                <a:gd name="connsiteX21" fmla="*/ 197792 w 289759"/>
                <a:gd name="connsiteY21" fmla="*/ 47873 h 428339"/>
                <a:gd name="connsiteX22" fmla="*/ 195273 w 289759"/>
                <a:gd name="connsiteY22" fmla="*/ 47873 h 428339"/>
                <a:gd name="connsiteX23" fmla="*/ 173856 w 289759"/>
                <a:gd name="connsiteY23" fmla="*/ 41574 h 428339"/>
                <a:gd name="connsiteX24" fmla="*/ 149919 w 289759"/>
                <a:gd name="connsiteY24" fmla="*/ 32755 h 428339"/>
                <a:gd name="connsiteX25" fmla="*/ 138581 w 289759"/>
                <a:gd name="connsiteY25" fmla="*/ 27716 h 428339"/>
                <a:gd name="connsiteX26" fmla="*/ 138581 w 289759"/>
                <a:gd name="connsiteY26" fmla="*/ 27716 h 428339"/>
                <a:gd name="connsiteX27" fmla="*/ 138581 w 289759"/>
                <a:gd name="connsiteY27" fmla="*/ 27716 h 428339"/>
                <a:gd name="connsiteX28" fmla="*/ 138581 w 289759"/>
                <a:gd name="connsiteY28" fmla="*/ 27716 h 428339"/>
                <a:gd name="connsiteX29" fmla="*/ 131022 w 289759"/>
                <a:gd name="connsiteY29" fmla="*/ 22677 h 428339"/>
                <a:gd name="connsiteX30" fmla="*/ 128502 w 289759"/>
                <a:gd name="connsiteY30" fmla="*/ 21417 h 428339"/>
                <a:gd name="connsiteX31" fmla="*/ 127242 w 289759"/>
                <a:gd name="connsiteY31" fmla="*/ 20157 h 428339"/>
                <a:gd name="connsiteX32" fmla="*/ 123463 w 289759"/>
                <a:gd name="connsiteY32" fmla="*/ 16378 h 428339"/>
                <a:gd name="connsiteX33" fmla="*/ 120943 w 289759"/>
                <a:gd name="connsiteY33" fmla="*/ 13858 h 428339"/>
                <a:gd name="connsiteX34" fmla="*/ 115904 w 289759"/>
                <a:gd name="connsiteY34" fmla="*/ 8819 h 428339"/>
                <a:gd name="connsiteX35" fmla="*/ 115904 w 289759"/>
                <a:gd name="connsiteY35" fmla="*/ 8819 h 428339"/>
                <a:gd name="connsiteX36" fmla="*/ 115904 w 289759"/>
                <a:gd name="connsiteY36" fmla="*/ 8819 h 428339"/>
                <a:gd name="connsiteX37" fmla="*/ 115904 w 289759"/>
                <a:gd name="connsiteY37" fmla="*/ 8819 h 428339"/>
                <a:gd name="connsiteX38" fmla="*/ 115904 w 289759"/>
                <a:gd name="connsiteY38" fmla="*/ 8819 h 428339"/>
                <a:gd name="connsiteX39" fmla="*/ 114644 w 289759"/>
                <a:gd name="connsiteY39" fmla="*/ 7559 h 428339"/>
                <a:gd name="connsiteX40" fmla="*/ 112124 w 289759"/>
                <a:gd name="connsiteY40" fmla="*/ 5039 h 428339"/>
                <a:gd name="connsiteX41" fmla="*/ 107085 w 289759"/>
                <a:gd name="connsiteY41" fmla="*/ 0 h 428339"/>
                <a:gd name="connsiteX42" fmla="*/ 107085 w 289759"/>
                <a:gd name="connsiteY42" fmla="*/ 0 h 428339"/>
                <a:gd name="connsiteX43" fmla="*/ 104565 w 289759"/>
                <a:gd name="connsiteY43" fmla="*/ 5039 h 428339"/>
                <a:gd name="connsiteX44" fmla="*/ 103306 w 289759"/>
                <a:gd name="connsiteY44" fmla="*/ 6299 h 428339"/>
                <a:gd name="connsiteX45" fmla="*/ 102046 w 289759"/>
                <a:gd name="connsiteY45" fmla="*/ 8819 h 428339"/>
                <a:gd name="connsiteX46" fmla="*/ 97007 w 289759"/>
                <a:gd name="connsiteY46" fmla="*/ 20157 h 428339"/>
                <a:gd name="connsiteX47" fmla="*/ 94487 w 289759"/>
                <a:gd name="connsiteY47" fmla="*/ 25196 h 428339"/>
                <a:gd name="connsiteX48" fmla="*/ 91967 w 289759"/>
                <a:gd name="connsiteY48" fmla="*/ 28976 h 428339"/>
                <a:gd name="connsiteX49" fmla="*/ 79369 w 289759"/>
                <a:gd name="connsiteY49" fmla="*/ 39054 h 428339"/>
                <a:gd name="connsiteX50" fmla="*/ 60472 w 289759"/>
                <a:gd name="connsiteY50" fmla="*/ 51653 h 428339"/>
                <a:gd name="connsiteX51" fmla="*/ 35275 w 289759"/>
                <a:gd name="connsiteY51" fmla="*/ 60471 h 428339"/>
                <a:gd name="connsiteX52" fmla="*/ 18897 w 289759"/>
                <a:gd name="connsiteY52" fmla="*/ 66770 h 428339"/>
                <a:gd name="connsiteX53" fmla="*/ 11339 w 289759"/>
                <a:gd name="connsiteY53" fmla="*/ 69290 h 428339"/>
                <a:gd name="connsiteX54" fmla="*/ 3780 w 289759"/>
                <a:gd name="connsiteY54" fmla="*/ 71810 h 428339"/>
                <a:gd name="connsiteX55" fmla="*/ 0 w 289759"/>
                <a:gd name="connsiteY55" fmla="*/ 73070 h 428339"/>
                <a:gd name="connsiteX56" fmla="*/ 0 w 289759"/>
                <a:gd name="connsiteY56" fmla="*/ 76849 h 428339"/>
                <a:gd name="connsiteX57" fmla="*/ 0 w 289759"/>
                <a:gd name="connsiteY57" fmla="*/ 84408 h 428339"/>
                <a:gd name="connsiteX58" fmla="*/ 1260 w 289759"/>
                <a:gd name="connsiteY58" fmla="*/ 94487 h 428339"/>
                <a:gd name="connsiteX59" fmla="*/ 1260 w 289759"/>
                <a:gd name="connsiteY59" fmla="*/ 94487 h 428339"/>
                <a:gd name="connsiteX60" fmla="*/ 1260 w 289759"/>
                <a:gd name="connsiteY60" fmla="*/ 94487 h 428339"/>
                <a:gd name="connsiteX61" fmla="*/ 1260 w 289759"/>
                <a:gd name="connsiteY61" fmla="*/ 95746 h 428339"/>
                <a:gd name="connsiteX62" fmla="*/ 1260 w 289759"/>
                <a:gd name="connsiteY62" fmla="*/ 99526 h 428339"/>
                <a:gd name="connsiteX63" fmla="*/ 1260 w 289759"/>
                <a:gd name="connsiteY63" fmla="*/ 115904 h 428339"/>
                <a:gd name="connsiteX64" fmla="*/ 2520 w 289759"/>
                <a:gd name="connsiteY64" fmla="*/ 133541 h 428339"/>
                <a:gd name="connsiteX65" fmla="*/ 6299 w 289759"/>
                <a:gd name="connsiteY65" fmla="*/ 170076 h 428339"/>
                <a:gd name="connsiteX66" fmla="*/ 8819 w 289759"/>
                <a:gd name="connsiteY66" fmla="*/ 187714 h 428339"/>
                <a:gd name="connsiteX67" fmla="*/ 12598 w 289759"/>
                <a:gd name="connsiteY67" fmla="*/ 207871 h 428339"/>
                <a:gd name="connsiteX68" fmla="*/ 13858 w 289759"/>
                <a:gd name="connsiteY68" fmla="*/ 211650 h 428339"/>
                <a:gd name="connsiteX69" fmla="*/ 15118 w 289759"/>
                <a:gd name="connsiteY69" fmla="*/ 216690 h 428339"/>
                <a:gd name="connsiteX70" fmla="*/ 17638 w 289759"/>
                <a:gd name="connsiteY70" fmla="*/ 225508 h 428339"/>
                <a:gd name="connsiteX71" fmla="*/ 23937 w 289759"/>
                <a:gd name="connsiteY71" fmla="*/ 243146 h 428339"/>
                <a:gd name="connsiteX72" fmla="*/ 25196 w 289759"/>
                <a:gd name="connsiteY72" fmla="*/ 245666 h 428339"/>
                <a:gd name="connsiteX73" fmla="*/ 25196 w 289759"/>
                <a:gd name="connsiteY73" fmla="*/ 246925 h 428339"/>
                <a:gd name="connsiteX74" fmla="*/ 27716 w 289759"/>
                <a:gd name="connsiteY74" fmla="*/ 254484 h 428339"/>
                <a:gd name="connsiteX75" fmla="*/ 31496 w 289759"/>
                <a:gd name="connsiteY75" fmla="*/ 262043 h 428339"/>
                <a:gd name="connsiteX76" fmla="*/ 36535 w 289759"/>
                <a:gd name="connsiteY76" fmla="*/ 269602 h 428339"/>
                <a:gd name="connsiteX77" fmla="*/ 41574 w 289759"/>
                <a:gd name="connsiteY77" fmla="*/ 277161 h 428339"/>
                <a:gd name="connsiteX78" fmla="*/ 47873 w 289759"/>
                <a:gd name="connsiteY78" fmla="*/ 284720 h 428339"/>
                <a:gd name="connsiteX79" fmla="*/ 52913 w 289759"/>
                <a:gd name="connsiteY79" fmla="*/ 289759 h 428339"/>
                <a:gd name="connsiteX80" fmla="*/ 52913 w 289759"/>
                <a:gd name="connsiteY80" fmla="*/ 289759 h 428339"/>
                <a:gd name="connsiteX81" fmla="*/ 51653 w 289759"/>
                <a:gd name="connsiteY81" fmla="*/ 294799 h 428339"/>
                <a:gd name="connsiteX82" fmla="*/ 51653 w 289759"/>
                <a:gd name="connsiteY82" fmla="*/ 294799 h 428339"/>
                <a:gd name="connsiteX83" fmla="*/ 51653 w 289759"/>
                <a:gd name="connsiteY83" fmla="*/ 294799 h 428339"/>
                <a:gd name="connsiteX84" fmla="*/ 49133 w 289759"/>
                <a:gd name="connsiteY84" fmla="*/ 301098 h 428339"/>
                <a:gd name="connsiteX85" fmla="*/ 46614 w 289759"/>
                <a:gd name="connsiteY85" fmla="*/ 307397 h 428339"/>
                <a:gd name="connsiteX86" fmla="*/ 42834 w 289759"/>
                <a:gd name="connsiteY86" fmla="*/ 319995 h 428339"/>
                <a:gd name="connsiteX87" fmla="*/ 39055 w 289759"/>
                <a:gd name="connsiteY87" fmla="*/ 332593 h 428339"/>
                <a:gd name="connsiteX88" fmla="*/ 34015 w 289759"/>
                <a:gd name="connsiteY88" fmla="*/ 345192 h 428339"/>
                <a:gd name="connsiteX89" fmla="*/ 31496 w 289759"/>
                <a:gd name="connsiteY89" fmla="*/ 351491 h 428339"/>
                <a:gd name="connsiteX90" fmla="*/ 28976 w 289759"/>
                <a:gd name="connsiteY90" fmla="*/ 359050 h 428339"/>
                <a:gd name="connsiteX91" fmla="*/ 28976 w 289759"/>
                <a:gd name="connsiteY91" fmla="*/ 360309 h 428339"/>
                <a:gd name="connsiteX92" fmla="*/ 28976 w 289759"/>
                <a:gd name="connsiteY92" fmla="*/ 360309 h 428339"/>
                <a:gd name="connsiteX93" fmla="*/ 26456 w 289759"/>
                <a:gd name="connsiteY93" fmla="*/ 365349 h 428339"/>
                <a:gd name="connsiteX94" fmla="*/ 25196 w 289759"/>
                <a:gd name="connsiteY94" fmla="*/ 370388 h 428339"/>
                <a:gd name="connsiteX95" fmla="*/ 25196 w 289759"/>
                <a:gd name="connsiteY95" fmla="*/ 371648 h 428339"/>
                <a:gd name="connsiteX96" fmla="*/ 25196 w 289759"/>
                <a:gd name="connsiteY96" fmla="*/ 371648 h 428339"/>
                <a:gd name="connsiteX97" fmla="*/ 25196 w 289759"/>
                <a:gd name="connsiteY97" fmla="*/ 371648 h 428339"/>
                <a:gd name="connsiteX98" fmla="*/ 25196 w 289759"/>
                <a:gd name="connsiteY98" fmla="*/ 375427 h 428339"/>
                <a:gd name="connsiteX99" fmla="*/ 25196 w 289759"/>
                <a:gd name="connsiteY99" fmla="*/ 379207 h 428339"/>
                <a:gd name="connsiteX100" fmla="*/ 25196 w 289759"/>
                <a:gd name="connsiteY100" fmla="*/ 380467 h 428339"/>
                <a:gd name="connsiteX101" fmla="*/ 26456 w 289759"/>
                <a:gd name="connsiteY101" fmla="*/ 384246 h 428339"/>
                <a:gd name="connsiteX102" fmla="*/ 30236 w 289759"/>
                <a:gd name="connsiteY102" fmla="*/ 393065 h 428339"/>
                <a:gd name="connsiteX103" fmla="*/ 35275 w 289759"/>
                <a:gd name="connsiteY103" fmla="*/ 399364 h 428339"/>
                <a:gd name="connsiteX104" fmla="*/ 49133 w 289759"/>
                <a:gd name="connsiteY104" fmla="*/ 411962 h 428339"/>
                <a:gd name="connsiteX105" fmla="*/ 57952 w 289759"/>
                <a:gd name="connsiteY105" fmla="*/ 417001 h 428339"/>
                <a:gd name="connsiteX106" fmla="*/ 59212 w 289759"/>
                <a:gd name="connsiteY106" fmla="*/ 418261 h 428339"/>
                <a:gd name="connsiteX107" fmla="*/ 65511 w 289759"/>
                <a:gd name="connsiteY107" fmla="*/ 422041 h 428339"/>
                <a:gd name="connsiteX108" fmla="*/ 84408 w 289759"/>
                <a:gd name="connsiteY108" fmla="*/ 427080 h 428339"/>
                <a:gd name="connsiteX109" fmla="*/ 94487 w 289759"/>
                <a:gd name="connsiteY109" fmla="*/ 428340 h 428339"/>
                <a:gd name="connsiteX110" fmla="*/ 104565 w 289759"/>
                <a:gd name="connsiteY110" fmla="*/ 428340 h 428339"/>
                <a:gd name="connsiteX111" fmla="*/ 105825 w 289759"/>
                <a:gd name="connsiteY111" fmla="*/ 428340 h 428339"/>
                <a:gd name="connsiteX112" fmla="*/ 114644 w 289759"/>
                <a:gd name="connsiteY112" fmla="*/ 427080 h 428339"/>
                <a:gd name="connsiteX113" fmla="*/ 123463 w 289759"/>
                <a:gd name="connsiteY113" fmla="*/ 424560 h 428339"/>
                <a:gd name="connsiteX114" fmla="*/ 137321 w 289759"/>
                <a:gd name="connsiteY114" fmla="*/ 418261 h 428339"/>
                <a:gd name="connsiteX115" fmla="*/ 144880 w 289759"/>
                <a:gd name="connsiteY115" fmla="*/ 413222 h 428339"/>
                <a:gd name="connsiteX116" fmla="*/ 149919 w 289759"/>
                <a:gd name="connsiteY116" fmla="*/ 406923 h 428339"/>
                <a:gd name="connsiteX117" fmla="*/ 153699 w 289759"/>
                <a:gd name="connsiteY117" fmla="*/ 400624 h 428339"/>
                <a:gd name="connsiteX118" fmla="*/ 154958 w 289759"/>
                <a:gd name="connsiteY118" fmla="*/ 395584 h 428339"/>
                <a:gd name="connsiteX119" fmla="*/ 154958 w 289759"/>
                <a:gd name="connsiteY119" fmla="*/ 393065 h 428339"/>
                <a:gd name="connsiteX120" fmla="*/ 154958 w 289759"/>
                <a:gd name="connsiteY120" fmla="*/ 391805 h 428339"/>
                <a:gd name="connsiteX121" fmla="*/ 156218 w 289759"/>
                <a:gd name="connsiteY121" fmla="*/ 385506 h 428339"/>
                <a:gd name="connsiteX122" fmla="*/ 156218 w 289759"/>
                <a:gd name="connsiteY122" fmla="*/ 385506 h 428339"/>
                <a:gd name="connsiteX123" fmla="*/ 156218 w 289759"/>
                <a:gd name="connsiteY123" fmla="*/ 385506 h 428339"/>
                <a:gd name="connsiteX124" fmla="*/ 156218 w 289759"/>
                <a:gd name="connsiteY124" fmla="*/ 382986 h 428339"/>
                <a:gd name="connsiteX125" fmla="*/ 156218 w 289759"/>
                <a:gd name="connsiteY125" fmla="*/ 382986 h 428339"/>
                <a:gd name="connsiteX126" fmla="*/ 156218 w 289759"/>
                <a:gd name="connsiteY126" fmla="*/ 381726 h 428339"/>
                <a:gd name="connsiteX127" fmla="*/ 153699 w 289759"/>
                <a:gd name="connsiteY127" fmla="*/ 376687 h 428339"/>
                <a:gd name="connsiteX128" fmla="*/ 153699 w 289759"/>
                <a:gd name="connsiteY128" fmla="*/ 376687 h 428339"/>
                <a:gd name="connsiteX129" fmla="*/ 151179 w 289759"/>
                <a:gd name="connsiteY129" fmla="*/ 370388 h 428339"/>
                <a:gd name="connsiteX130" fmla="*/ 151179 w 289759"/>
                <a:gd name="connsiteY130" fmla="*/ 369128 h 428339"/>
                <a:gd name="connsiteX131" fmla="*/ 148659 w 289759"/>
                <a:gd name="connsiteY131" fmla="*/ 362829 h 428339"/>
                <a:gd name="connsiteX132" fmla="*/ 144880 w 289759"/>
                <a:gd name="connsiteY132" fmla="*/ 346451 h 428339"/>
                <a:gd name="connsiteX133" fmla="*/ 144880 w 289759"/>
                <a:gd name="connsiteY133" fmla="*/ 346451 h 428339"/>
                <a:gd name="connsiteX134" fmla="*/ 144880 w 289759"/>
                <a:gd name="connsiteY134" fmla="*/ 346451 h 428339"/>
                <a:gd name="connsiteX135" fmla="*/ 144880 w 289759"/>
                <a:gd name="connsiteY135" fmla="*/ 346451 h 428339"/>
                <a:gd name="connsiteX136" fmla="*/ 143620 w 289759"/>
                <a:gd name="connsiteY136" fmla="*/ 327554 h 428339"/>
                <a:gd name="connsiteX137" fmla="*/ 143620 w 289759"/>
                <a:gd name="connsiteY137" fmla="*/ 322515 h 428339"/>
                <a:gd name="connsiteX138" fmla="*/ 143620 w 289759"/>
                <a:gd name="connsiteY138" fmla="*/ 322515 h 428339"/>
                <a:gd name="connsiteX139" fmla="*/ 147399 w 289759"/>
                <a:gd name="connsiteY139" fmla="*/ 322515 h 428339"/>
                <a:gd name="connsiteX140" fmla="*/ 152439 w 289759"/>
                <a:gd name="connsiteY140" fmla="*/ 322515 h 428339"/>
                <a:gd name="connsiteX141" fmla="*/ 168816 w 289759"/>
                <a:gd name="connsiteY141" fmla="*/ 319995 h 428339"/>
                <a:gd name="connsiteX142" fmla="*/ 173856 w 289759"/>
                <a:gd name="connsiteY142" fmla="*/ 318735 h 428339"/>
                <a:gd name="connsiteX143" fmla="*/ 173856 w 289759"/>
                <a:gd name="connsiteY143" fmla="*/ 318735 h 428339"/>
                <a:gd name="connsiteX144" fmla="*/ 188973 w 289759"/>
                <a:gd name="connsiteY144" fmla="*/ 316216 h 428339"/>
                <a:gd name="connsiteX145" fmla="*/ 209131 w 289759"/>
                <a:gd name="connsiteY145" fmla="*/ 309916 h 428339"/>
                <a:gd name="connsiteX146" fmla="*/ 228028 w 289759"/>
                <a:gd name="connsiteY146" fmla="*/ 301098 h 428339"/>
                <a:gd name="connsiteX147" fmla="*/ 235587 w 289759"/>
                <a:gd name="connsiteY147" fmla="*/ 296058 h 428339"/>
                <a:gd name="connsiteX148" fmla="*/ 244406 w 289759"/>
                <a:gd name="connsiteY148" fmla="*/ 289759 h 428339"/>
                <a:gd name="connsiteX149" fmla="*/ 257004 w 289759"/>
                <a:gd name="connsiteY149" fmla="*/ 274641 h 428339"/>
                <a:gd name="connsiteX150" fmla="*/ 267083 w 289759"/>
                <a:gd name="connsiteY150" fmla="*/ 258264 h 428339"/>
                <a:gd name="connsiteX151" fmla="*/ 274642 w 289759"/>
                <a:gd name="connsiteY151" fmla="*/ 239366 h 428339"/>
                <a:gd name="connsiteX152" fmla="*/ 278421 w 289759"/>
                <a:gd name="connsiteY152" fmla="*/ 228028 h 428339"/>
                <a:gd name="connsiteX153" fmla="*/ 278421 w 289759"/>
                <a:gd name="connsiteY153" fmla="*/ 228028 h 428339"/>
                <a:gd name="connsiteX154" fmla="*/ 278421 w 289759"/>
                <a:gd name="connsiteY154" fmla="*/ 228028 h 428339"/>
                <a:gd name="connsiteX155" fmla="*/ 279681 w 289759"/>
                <a:gd name="connsiteY155" fmla="*/ 221729 h 428339"/>
                <a:gd name="connsiteX156" fmla="*/ 283460 w 289759"/>
                <a:gd name="connsiteY156" fmla="*/ 204091 h 428339"/>
                <a:gd name="connsiteX157" fmla="*/ 283460 w 289759"/>
                <a:gd name="connsiteY157" fmla="*/ 202831 h 428339"/>
                <a:gd name="connsiteX158" fmla="*/ 287240 w 289759"/>
                <a:gd name="connsiteY158" fmla="*/ 183934 h 428339"/>
                <a:gd name="connsiteX159" fmla="*/ 291019 w 289759"/>
                <a:gd name="connsiteY159" fmla="*/ 144880 h 428339"/>
                <a:gd name="connsiteX160" fmla="*/ 291019 w 289759"/>
                <a:gd name="connsiteY160" fmla="*/ 109605 h 428339"/>
                <a:gd name="connsiteX161" fmla="*/ 291019 w 289759"/>
                <a:gd name="connsiteY161" fmla="*/ 105825 h 428339"/>
                <a:gd name="connsiteX162" fmla="*/ 289759 w 289759"/>
                <a:gd name="connsiteY162" fmla="*/ 88188 h 428339"/>
                <a:gd name="connsiteX163" fmla="*/ 288500 w 289759"/>
                <a:gd name="connsiteY163" fmla="*/ 69290 h 428339"/>
                <a:gd name="connsiteX164" fmla="*/ 288500 w 289759"/>
                <a:gd name="connsiteY164" fmla="*/ 65511 h 428339"/>
                <a:gd name="connsiteX165" fmla="*/ 287240 w 289759"/>
                <a:gd name="connsiteY165" fmla="*/ 51653 h 428339"/>
                <a:gd name="connsiteX166" fmla="*/ 287240 w 289759"/>
                <a:gd name="connsiteY166" fmla="*/ 51653 h 428339"/>
                <a:gd name="connsiteX167" fmla="*/ 287240 w 289759"/>
                <a:gd name="connsiteY167" fmla="*/ 51653 h 428339"/>
                <a:gd name="connsiteX168" fmla="*/ 277161 w 289759"/>
                <a:gd name="connsiteY168" fmla="*/ 47873 h 42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89759" h="428339">
                  <a:moveTo>
                    <a:pt x="277161" y="47873"/>
                  </a:moveTo>
                  <a:lnTo>
                    <a:pt x="277161" y="47873"/>
                  </a:lnTo>
                  <a:lnTo>
                    <a:pt x="277161" y="47873"/>
                  </a:lnTo>
                  <a:cubicBezTo>
                    <a:pt x="277161" y="47873"/>
                    <a:pt x="277161" y="47873"/>
                    <a:pt x="277161" y="47873"/>
                  </a:cubicBezTo>
                  <a:cubicBezTo>
                    <a:pt x="270862" y="49133"/>
                    <a:pt x="265823" y="50393"/>
                    <a:pt x="260784" y="50393"/>
                  </a:cubicBezTo>
                  <a:lnTo>
                    <a:pt x="259524" y="50393"/>
                  </a:lnTo>
                  <a:cubicBezTo>
                    <a:pt x="255744" y="50393"/>
                    <a:pt x="250705" y="50393"/>
                    <a:pt x="246925" y="50393"/>
                  </a:cubicBezTo>
                  <a:cubicBezTo>
                    <a:pt x="246925" y="50393"/>
                    <a:pt x="245666" y="50393"/>
                    <a:pt x="245666" y="50393"/>
                  </a:cubicBezTo>
                  <a:cubicBezTo>
                    <a:pt x="244406" y="50393"/>
                    <a:pt x="244406" y="50393"/>
                    <a:pt x="243146" y="50393"/>
                  </a:cubicBezTo>
                  <a:cubicBezTo>
                    <a:pt x="243146" y="50393"/>
                    <a:pt x="243146" y="50393"/>
                    <a:pt x="243146" y="50393"/>
                  </a:cubicBezTo>
                  <a:lnTo>
                    <a:pt x="241886" y="50393"/>
                  </a:lnTo>
                  <a:cubicBezTo>
                    <a:pt x="239366" y="50393"/>
                    <a:pt x="235587" y="50393"/>
                    <a:pt x="233067" y="50393"/>
                  </a:cubicBezTo>
                  <a:cubicBezTo>
                    <a:pt x="228028" y="50393"/>
                    <a:pt x="224249" y="49133"/>
                    <a:pt x="220469" y="49133"/>
                  </a:cubicBezTo>
                  <a:cubicBezTo>
                    <a:pt x="220469" y="49133"/>
                    <a:pt x="219209" y="49133"/>
                    <a:pt x="219209" y="49133"/>
                  </a:cubicBezTo>
                  <a:lnTo>
                    <a:pt x="215430" y="49133"/>
                  </a:lnTo>
                  <a:lnTo>
                    <a:pt x="215430" y="49133"/>
                  </a:lnTo>
                  <a:lnTo>
                    <a:pt x="212910" y="49133"/>
                  </a:lnTo>
                  <a:cubicBezTo>
                    <a:pt x="211650" y="49133"/>
                    <a:pt x="210391" y="49133"/>
                    <a:pt x="209131" y="49133"/>
                  </a:cubicBezTo>
                  <a:lnTo>
                    <a:pt x="209131" y="49133"/>
                  </a:lnTo>
                  <a:cubicBezTo>
                    <a:pt x="209131" y="49133"/>
                    <a:pt x="207871" y="49133"/>
                    <a:pt x="207871" y="49133"/>
                  </a:cubicBezTo>
                  <a:cubicBezTo>
                    <a:pt x="205351" y="49133"/>
                    <a:pt x="201572" y="47873"/>
                    <a:pt x="199052" y="47873"/>
                  </a:cubicBezTo>
                  <a:lnTo>
                    <a:pt x="197792" y="47873"/>
                  </a:lnTo>
                  <a:lnTo>
                    <a:pt x="195273" y="47873"/>
                  </a:lnTo>
                  <a:cubicBezTo>
                    <a:pt x="187714" y="46613"/>
                    <a:pt x="181415" y="44094"/>
                    <a:pt x="173856" y="41574"/>
                  </a:cubicBezTo>
                  <a:cubicBezTo>
                    <a:pt x="165037" y="39054"/>
                    <a:pt x="157478" y="35275"/>
                    <a:pt x="149919" y="32755"/>
                  </a:cubicBezTo>
                  <a:cubicBezTo>
                    <a:pt x="146140" y="31496"/>
                    <a:pt x="142360" y="28976"/>
                    <a:pt x="138581" y="27716"/>
                  </a:cubicBezTo>
                  <a:cubicBezTo>
                    <a:pt x="138581" y="27716"/>
                    <a:pt x="138581" y="27716"/>
                    <a:pt x="138581" y="27716"/>
                  </a:cubicBezTo>
                  <a:lnTo>
                    <a:pt x="138581" y="27716"/>
                  </a:lnTo>
                  <a:cubicBezTo>
                    <a:pt x="138581" y="27716"/>
                    <a:pt x="138581" y="27716"/>
                    <a:pt x="138581" y="27716"/>
                  </a:cubicBezTo>
                  <a:cubicBezTo>
                    <a:pt x="136061" y="26456"/>
                    <a:pt x="133541" y="25196"/>
                    <a:pt x="131022" y="22677"/>
                  </a:cubicBezTo>
                  <a:cubicBezTo>
                    <a:pt x="129762" y="22677"/>
                    <a:pt x="129762" y="21417"/>
                    <a:pt x="128502" y="21417"/>
                  </a:cubicBezTo>
                  <a:cubicBezTo>
                    <a:pt x="128502" y="21417"/>
                    <a:pt x="127242" y="20157"/>
                    <a:pt x="127242" y="20157"/>
                  </a:cubicBezTo>
                  <a:cubicBezTo>
                    <a:pt x="125982" y="18897"/>
                    <a:pt x="124723" y="17637"/>
                    <a:pt x="123463" y="16378"/>
                  </a:cubicBezTo>
                  <a:cubicBezTo>
                    <a:pt x="122203" y="15118"/>
                    <a:pt x="120943" y="15118"/>
                    <a:pt x="120943" y="13858"/>
                  </a:cubicBezTo>
                  <a:cubicBezTo>
                    <a:pt x="119683" y="12598"/>
                    <a:pt x="117164" y="10078"/>
                    <a:pt x="115904" y="8819"/>
                  </a:cubicBezTo>
                  <a:lnTo>
                    <a:pt x="115904" y="8819"/>
                  </a:lnTo>
                  <a:lnTo>
                    <a:pt x="115904" y="8819"/>
                  </a:lnTo>
                  <a:lnTo>
                    <a:pt x="115904" y="8819"/>
                  </a:lnTo>
                  <a:cubicBezTo>
                    <a:pt x="115904" y="8819"/>
                    <a:pt x="115904" y="8819"/>
                    <a:pt x="115904" y="8819"/>
                  </a:cubicBezTo>
                  <a:cubicBezTo>
                    <a:pt x="115904" y="8819"/>
                    <a:pt x="114644" y="7559"/>
                    <a:pt x="114644" y="7559"/>
                  </a:cubicBezTo>
                  <a:cubicBezTo>
                    <a:pt x="113384" y="6299"/>
                    <a:pt x="112124" y="5039"/>
                    <a:pt x="112124" y="5039"/>
                  </a:cubicBezTo>
                  <a:cubicBezTo>
                    <a:pt x="110864" y="3779"/>
                    <a:pt x="108345" y="1260"/>
                    <a:pt x="107085" y="0"/>
                  </a:cubicBezTo>
                  <a:cubicBezTo>
                    <a:pt x="107085" y="0"/>
                    <a:pt x="107085" y="0"/>
                    <a:pt x="107085" y="0"/>
                  </a:cubicBezTo>
                  <a:cubicBezTo>
                    <a:pt x="105825" y="1260"/>
                    <a:pt x="104565" y="3779"/>
                    <a:pt x="104565" y="5039"/>
                  </a:cubicBezTo>
                  <a:cubicBezTo>
                    <a:pt x="104565" y="5039"/>
                    <a:pt x="103306" y="6299"/>
                    <a:pt x="103306" y="6299"/>
                  </a:cubicBezTo>
                  <a:cubicBezTo>
                    <a:pt x="103306" y="7559"/>
                    <a:pt x="103306" y="7559"/>
                    <a:pt x="102046" y="8819"/>
                  </a:cubicBezTo>
                  <a:cubicBezTo>
                    <a:pt x="100786" y="12598"/>
                    <a:pt x="98266" y="16378"/>
                    <a:pt x="97007" y="20157"/>
                  </a:cubicBezTo>
                  <a:cubicBezTo>
                    <a:pt x="95747" y="21417"/>
                    <a:pt x="95747" y="23937"/>
                    <a:pt x="94487" y="25196"/>
                  </a:cubicBezTo>
                  <a:cubicBezTo>
                    <a:pt x="93227" y="26456"/>
                    <a:pt x="91967" y="27716"/>
                    <a:pt x="91967" y="28976"/>
                  </a:cubicBezTo>
                  <a:cubicBezTo>
                    <a:pt x="88188" y="32755"/>
                    <a:pt x="84408" y="36535"/>
                    <a:pt x="79369" y="39054"/>
                  </a:cubicBezTo>
                  <a:cubicBezTo>
                    <a:pt x="73070" y="42834"/>
                    <a:pt x="66771" y="47873"/>
                    <a:pt x="60472" y="51653"/>
                  </a:cubicBezTo>
                  <a:cubicBezTo>
                    <a:pt x="52913" y="55432"/>
                    <a:pt x="44094" y="57952"/>
                    <a:pt x="35275" y="60471"/>
                  </a:cubicBezTo>
                  <a:cubicBezTo>
                    <a:pt x="30236" y="62991"/>
                    <a:pt x="25196" y="65511"/>
                    <a:pt x="18897" y="66770"/>
                  </a:cubicBezTo>
                  <a:cubicBezTo>
                    <a:pt x="16378" y="68030"/>
                    <a:pt x="13858" y="68030"/>
                    <a:pt x="11339" y="69290"/>
                  </a:cubicBezTo>
                  <a:cubicBezTo>
                    <a:pt x="8819" y="70550"/>
                    <a:pt x="6299" y="70550"/>
                    <a:pt x="3780" y="71810"/>
                  </a:cubicBezTo>
                  <a:cubicBezTo>
                    <a:pt x="2520" y="71810"/>
                    <a:pt x="1260" y="71810"/>
                    <a:pt x="0" y="73070"/>
                  </a:cubicBezTo>
                  <a:cubicBezTo>
                    <a:pt x="0" y="74330"/>
                    <a:pt x="0" y="75589"/>
                    <a:pt x="0" y="76849"/>
                  </a:cubicBezTo>
                  <a:cubicBezTo>
                    <a:pt x="0" y="79369"/>
                    <a:pt x="0" y="81889"/>
                    <a:pt x="0" y="84408"/>
                  </a:cubicBezTo>
                  <a:cubicBezTo>
                    <a:pt x="0" y="88188"/>
                    <a:pt x="0" y="9070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5746"/>
                    <a:pt x="1260" y="95746"/>
                  </a:cubicBezTo>
                  <a:cubicBezTo>
                    <a:pt x="1260" y="97006"/>
                    <a:pt x="1260" y="98266"/>
                    <a:pt x="1260" y="99526"/>
                  </a:cubicBezTo>
                  <a:cubicBezTo>
                    <a:pt x="1260" y="104565"/>
                    <a:pt x="1260" y="110864"/>
                    <a:pt x="1260" y="115904"/>
                  </a:cubicBezTo>
                  <a:cubicBezTo>
                    <a:pt x="1260" y="122203"/>
                    <a:pt x="2520" y="127242"/>
                    <a:pt x="2520" y="133541"/>
                  </a:cubicBezTo>
                  <a:cubicBezTo>
                    <a:pt x="3780" y="146139"/>
                    <a:pt x="5039" y="157478"/>
                    <a:pt x="6299" y="170076"/>
                  </a:cubicBezTo>
                  <a:cubicBezTo>
                    <a:pt x="6299" y="176375"/>
                    <a:pt x="7559" y="181414"/>
                    <a:pt x="8819" y="187714"/>
                  </a:cubicBezTo>
                  <a:cubicBezTo>
                    <a:pt x="10079" y="194013"/>
                    <a:pt x="10079" y="201572"/>
                    <a:pt x="12598" y="207871"/>
                  </a:cubicBezTo>
                  <a:cubicBezTo>
                    <a:pt x="12598" y="209131"/>
                    <a:pt x="12598" y="210390"/>
                    <a:pt x="13858" y="211650"/>
                  </a:cubicBezTo>
                  <a:cubicBezTo>
                    <a:pt x="13858" y="212910"/>
                    <a:pt x="15118" y="215430"/>
                    <a:pt x="15118" y="216690"/>
                  </a:cubicBezTo>
                  <a:cubicBezTo>
                    <a:pt x="16378" y="219209"/>
                    <a:pt x="16378" y="222989"/>
                    <a:pt x="17638" y="225508"/>
                  </a:cubicBezTo>
                  <a:cubicBezTo>
                    <a:pt x="18897" y="231807"/>
                    <a:pt x="21417" y="236847"/>
                    <a:pt x="23937" y="243146"/>
                  </a:cubicBezTo>
                  <a:cubicBezTo>
                    <a:pt x="23937" y="244406"/>
                    <a:pt x="25196" y="244406"/>
                    <a:pt x="25196" y="245666"/>
                  </a:cubicBezTo>
                  <a:cubicBezTo>
                    <a:pt x="25196" y="245666"/>
                    <a:pt x="25196" y="246925"/>
                    <a:pt x="25196" y="246925"/>
                  </a:cubicBezTo>
                  <a:cubicBezTo>
                    <a:pt x="26456" y="249445"/>
                    <a:pt x="26456" y="251965"/>
                    <a:pt x="27716" y="254484"/>
                  </a:cubicBezTo>
                  <a:cubicBezTo>
                    <a:pt x="28976" y="257004"/>
                    <a:pt x="30236" y="259523"/>
                    <a:pt x="31496" y="262043"/>
                  </a:cubicBezTo>
                  <a:cubicBezTo>
                    <a:pt x="32755" y="264563"/>
                    <a:pt x="34015" y="267083"/>
                    <a:pt x="36535" y="269602"/>
                  </a:cubicBezTo>
                  <a:cubicBezTo>
                    <a:pt x="37795" y="272122"/>
                    <a:pt x="39055" y="274641"/>
                    <a:pt x="41574" y="277161"/>
                  </a:cubicBezTo>
                  <a:cubicBezTo>
                    <a:pt x="42834" y="279681"/>
                    <a:pt x="45354" y="282200"/>
                    <a:pt x="47873" y="284720"/>
                  </a:cubicBezTo>
                  <a:cubicBezTo>
                    <a:pt x="49133" y="285980"/>
                    <a:pt x="50393" y="288499"/>
                    <a:pt x="52913" y="289759"/>
                  </a:cubicBezTo>
                  <a:cubicBezTo>
                    <a:pt x="52913" y="289759"/>
                    <a:pt x="52913" y="289759"/>
                    <a:pt x="52913" y="289759"/>
                  </a:cubicBezTo>
                  <a:cubicBezTo>
                    <a:pt x="52913" y="291019"/>
                    <a:pt x="51653" y="29353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0393" y="297318"/>
                    <a:pt x="49133" y="298578"/>
                    <a:pt x="49133" y="301098"/>
                  </a:cubicBezTo>
                  <a:cubicBezTo>
                    <a:pt x="47873" y="303617"/>
                    <a:pt x="47873" y="304877"/>
                    <a:pt x="46614" y="307397"/>
                  </a:cubicBezTo>
                  <a:cubicBezTo>
                    <a:pt x="45354" y="311176"/>
                    <a:pt x="44094" y="316216"/>
                    <a:pt x="42834" y="319995"/>
                  </a:cubicBezTo>
                  <a:cubicBezTo>
                    <a:pt x="41574" y="323775"/>
                    <a:pt x="40314" y="328814"/>
                    <a:pt x="39055" y="332593"/>
                  </a:cubicBezTo>
                  <a:cubicBezTo>
                    <a:pt x="37795" y="336373"/>
                    <a:pt x="36535" y="341412"/>
                    <a:pt x="34015" y="345192"/>
                  </a:cubicBezTo>
                  <a:cubicBezTo>
                    <a:pt x="32755" y="347711"/>
                    <a:pt x="31496" y="350231"/>
                    <a:pt x="31496" y="351491"/>
                  </a:cubicBezTo>
                  <a:cubicBezTo>
                    <a:pt x="30236" y="354010"/>
                    <a:pt x="30236" y="356530"/>
                    <a:pt x="28976" y="359050"/>
                  </a:cubicBezTo>
                  <a:cubicBezTo>
                    <a:pt x="28976" y="359050"/>
                    <a:pt x="28976" y="360309"/>
                    <a:pt x="28976" y="360309"/>
                  </a:cubicBezTo>
                  <a:lnTo>
                    <a:pt x="28976" y="360309"/>
                  </a:lnTo>
                  <a:cubicBezTo>
                    <a:pt x="27716" y="361569"/>
                    <a:pt x="27716" y="364089"/>
                    <a:pt x="26456" y="365349"/>
                  </a:cubicBezTo>
                  <a:cubicBezTo>
                    <a:pt x="25196" y="366608"/>
                    <a:pt x="25196" y="367868"/>
                    <a:pt x="25196" y="370388"/>
                  </a:cubicBezTo>
                  <a:cubicBezTo>
                    <a:pt x="25196" y="370388"/>
                    <a:pt x="25196" y="370388"/>
                    <a:pt x="25196" y="371648"/>
                  </a:cubicBezTo>
                  <a:lnTo>
                    <a:pt x="25196" y="371648"/>
                  </a:lnTo>
                  <a:lnTo>
                    <a:pt x="25196" y="371648"/>
                  </a:lnTo>
                  <a:cubicBezTo>
                    <a:pt x="25196" y="372908"/>
                    <a:pt x="25196" y="374167"/>
                    <a:pt x="25196" y="375427"/>
                  </a:cubicBezTo>
                  <a:cubicBezTo>
                    <a:pt x="25196" y="376687"/>
                    <a:pt x="25196" y="377947"/>
                    <a:pt x="25196" y="379207"/>
                  </a:cubicBezTo>
                  <a:lnTo>
                    <a:pt x="25196" y="380467"/>
                  </a:lnTo>
                  <a:cubicBezTo>
                    <a:pt x="25196" y="381726"/>
                    <a:pt x="25196" y="382986"/>
                    <a:pt x="26456" y="384246"/>
                  </a:cubicBezTo>
                  <a:cubicBezTo>
                    <a:pt x="27716" y="386766"/>
                    <a:pt x="28976" y="390545"/>
                    <a:pt x="30236" y="393065"/>
                  </a:cubicBezTo>
                  <a:cubicBezTo>
                    <a:pt x="31496" y="395584"/>
                    <a:pt x="32755" y="396844"/>
                    <a:pt x="35275" y="399364"/>
                  </a:cubicBezTo>
                  <a:cubicBezTo>
                    <a:pt x="39055" y="403143"/>
                    <a:pt x="42834" y="408183"/>
                    <a:pt x="49133" y="411962"/>
                  </a:cubicBezTo>
                  <a:cubicBezTo>
                    <a:pt x="51653" y="413222"/>
                    <a:pt x="54172" y="415742"/>
                    <a:pt x="57952" y="417001"/>
                  </a:cubicBezTo>
                  <a:lnTo>
                    <a:pt x="59212" y="418261"/>
                  </a:lnTo>
                  <a:cubicBezTo>
                    <a:pt x="61731" y="419521"/>
                    <a:pt x="64251" y="420781"/>
                    <a:pt x="65511" y="422041"/>
                  </a:cubicBezTo>
                  <a:cubicBezTo>
                    <a:pt x="70550" y="424560"/>
                    <a:pt x="76849" y="425820"/>
                    <a:pt x="84408" y="427080"/>
                  </a:cubicBezTo>
                  <a:cubicBezTo>
                    <a:pt x="88188" y="427080"/>
                    <a:pt x="91967" y="427080"/>
                    <a:pt x="94487" y="428340"/>
                  </a:cubicBezTo>
                  <a:cubicBezTo>
                    <a:pt x="97007" y="428340"/>
                    <a:pt x="100786" y="428340"/>
                    <a:pt x="104565" y="428340"/>
                  </a:cubicBezTo>
                  <a:cubicBezTo>
                    <a:pt x="104565" y="428340"/>
                    <a:pt x="105825" y="428340"/>
                    <a:pt x="105825" y="428340"/>
                  </a:cubicBezTo>
                  <a:cubicBezTo>
                    <a:pt x="108345" y="428340"/>
                    <a:pt x="110864" y="428340"/>
                    <a:pt x="114644" y="427080"/>
                  </a:cubicBezTo>
                  <a:cubicBezTo>
                    <a:pt x="117164" y="427080"/>
                    <a:pt x="119683" y="425820"/>
                    <a:pt x="123463" y="424560"/>
                  </a:cubicBezTo>
                  <a:cubicBezTo>
                    <a:pt x="127242" y="423301"/>
                    <a:pt x="132281" y="420781"/>
                    <a:pt x="137321" y="418261"/>
                  </a:cubicBezTo>
                  <a:cubicBezTo>
                    <a:pt x="139840" y="417001"/>
                    <a:pt x="142360" y="415742"/>
                    <a:pt x="144880" y="413222"/>
                  </a:cubicBezTo>
                  <a:cubicBezTo>
                    <a:pt x="147399" y="411962"/>
                    <a:pt x="148659" y="409443"/>
                    <a:pt x="149919" y="406923"/>
                  </a:cubicBezTo>
                  <a:cubicBezTo>
                    <a:pt x="151179" y="404403"/>
                    <a:pt x="152439" y="401884"/>
                    <a:pt x="153699" y="400624"/>
                  </a:cubicBezTo>
                  <a:cubicBezTo>
                    <a:pt x="154958" y="399364"/>
                    <a:pt x="154958" y="396844"/>
                    <a:pt x="154958" y="395584"/>
                  </a:cubicBezTo>
                  <a:cubicBezTo>
                    <a:pt x="154958" y="394325"/>
                    <a:pt x="154958" y="394325"/>
                    <a:pt x="154958" y="393065"/>
                  </a:cubicBezTo>
                  <a:cubicBezTo>
                    <a:pt x="154958" y="393065"/>
                    <a:pt x="154958" y="391805"/>
                    <a:pt x="154958" y="391805"/>
                  </a:cubicBezTo>
                  <a:cubicBezTo>
                    <a:pt x="154958" y="389285"/>
                    <a:pt x="156218" y="388025"/>
                    <a:pt x="156218" y="385506"/>
                  </a:cubicBezTo>
                  <a:lnTo>
                    <a:pt x="156218" y="385506"/>
                  </a:lnTo>
                  <a:cubicBezTo>
                    <a:pt x="156218" y="385506"/>
                    <a:pt x="156218" y="385506"/>
                    <a:pt x="156218" y="385506"/>
                  </a:cubicBezTo>
                  <a:cubicBezTo>
                    <a:pt x="156218" y="384246"/>
                    <a:pt x="156218" y="384246"/>
                    <a:pt x="156218" y="382986"/>
                  </a:cubicBezTo>
                  <a:cubicBezTo>
                    <a:pt x="156218" y="382986"/>
                    <a:pt x="156218" y="382986"/>
                    <a:pt x="156218" y="382986"/>
                  </a:cubicBezTo>
                  <a:cubicBezTo>
                    <a:pt x="156218" y="382986"/>
                    <a:pt x="156218" y="381726"/>
                    <a:pt x="156218" y="381726"/>
                  </a:cubicBezTo>
                  <a:cubicBezTo>
                    <a:pt x="156218" y="380467"/>
                    <a:pt x="154958" y="379207"/>
                    <a:pt x="153699" y="376687"/>
                  </a:cubicBezTo>
                  <a:lnTo>
                    <a:pt x="153699" y="376687"/>
                  </a:lnTo>
                  <a:cubicBezTo>
                    <a:pt x="152439" y="374167"/>
                    <a:pt x="152439" y="372908"/>
                    <a:pt x="151179" y="370388"/>
                  </a:cubicBezTo>
                  <a:lnTo>
                    <a:pt x="151179" y="369128"/>
                  </a:lnTo>
                  <a:cubicBezTo>
                    <a:pt x="149919" y="366608"/>
                    <a:pt x="148659" y="364089"/>
                    <a:pt x="148659" y="362829"/>
                  </a:cubicBezTo>
                  <a:cubicBezTo>
                    <a:pt x="147399" y="357790"/>
                    <a:pt x="146140" y="3527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lnTo>
                    <a:pt x="144880" y="346451"/>
                  </a:lnTo>
                  <a:cubicBezTo>
                    <a:pt x="143620" y="341412"/>
                    <a:pt x="143620" y="335113"/>
                    <a:pt x="143620" y="327554"/>
                  </a:cubicBezTo>
                  <a:cubicBezTo>
                    <a:pt x="143620" y="326294"/>
                    <a:pt x="143620" y="325034"/>
                    <a:pt x="143620" y="322515"/>
                  </a:cubicBezTo>
                  <a:lnTo>
                    <a:pt x="143620" y="322515"/>
                  </a:lnTo>
                  <a:cubicBezTo>
                    <a:pt x="144880" y="322515"/>
                    <a:pt x="146140" y="322515"/>
                    <a:pt x="147399" y="322515"/>
                  </a:cubicBezTo>
                  <a:cubicBezTo>
                    <a:pt x="148659" y="322515"/>
                    <a:pt x="151179" y="322515"/>
                    <a:pt x="152439" y="322515"/>
                  </a:cubicBezTo>
                  <a:cubicBezTo>
                    <a:pt x="158738" y="322515"/>
                    <a:pt x="165037" y="321255"/>
                    <a:pt x="168816" y="319995"/>
                  </a:cubicBezTo>
                  <a:cubicBezTo>
                    <a:pt x="170076" y="319995"/>
                    <a:pt x="172596" y="319995"/>
                    <a:pt x="173856" y="318735"/>
                  </a:cubicBezTo>
                  <a:lnTo>
                    <a:pt x="173856" y="318735"/>
                  </a:lnTo>
                  <a:cubicBezTo>
                    <a:pt x="178895" y="317475"/>
                    <a:pt x="183934" y="317475"/>
                    <a:pt x="188973" y="316216"/>
                  </a:cubicBezTo>
                  <a:cubicBezTo>
                    <a:pt x="196533" y="314956"/>
                    <a:pt x="202832" y="312436"/>
                    <a:pt x="209131" y="309916"/>
                  </a:cubicBezTo>
                  <a:cubicBezTo>
                    <a:pt x="216690" y="307397"/>
                    <a:pt x="222989" y="303617"/>
                    <a:pt x="228028" y="301098"/>
                  </a:cubicBezTo>
                  <a:cubicBezTo>
                    <a:pt x="230548" y="299838"/>
                    <a:pt x="233067" y="297318"/>
                    <a:pt x="235587" y="296058"/>
                  </a:cubicBezTo>
                  <a:cubicBezTo>
                    <a:pt x="238107" y="293539"/>
                    <a:pt x="241886" y="292279"/>
                    <a:pt x="244406" y="289759"/>
                  </a:cubicBezTo>
                  <a:cubicBezTo>
                    <a:pt x="249445" y="285980"/>
                    <a:pt x="253225" y="280940"/>
                    <a:pt x="257004" y="274641"/>
                  </a:cubicBezTo>
                  <a:cubicBezTo>
                    <a:pt x="260784" y="269602"/>
                    <a:pt x="264563" y="263303"/>
                    <a:pt x="267083" y="258264"/>
                  </a:cubicBezTo>
                  <a:cubicBezTo>
                    <a:pt x="270862" y="251965"/>
                    <a:pt x="273382" y="244406"/>
                    <a:pt x="274642" y="239366"/>
                  </a:cubicBezTo>
                  <a:cubicBezTo>
                    <a:pt x="275901" y="235587"/>
                    <a:pt x="277161" y="233067"/>
                    <a:pt x="278421" y="228028"/>
                  </a:cubicBezTo>
                  <a:cubicBezTo>
                    <a:pt x="278421" y="228028"/>
                    <a:pt x="278421" y="228028"/>
                    <a:pt x="278421" y="228028"/>
                  </a:cubicBezTo>
                  <a:lnTo>
                    <a:pt x="278421" y="228028"/>
                  </a:lnTo>
                  <a:cubicBezTo>
                    <a:pt x="279681" y="225508"/>
                    <a:pt x="279681" y="224248"/>
                    <a:pt x="279681" y="221729"/>
                  </a:cubicBezTo>
                  <a:cubicBezTo>
                    <a:pt x="280941" y="215430"/>
                    <a:pt x="282201" y="210390"/>
                    <a:pt x="283460" y="204091"/>
                  </a:cubicBezTo>
                  <a:lnTo>
                    <a:pt x="283460" y="202831"/>
                  </a:lnTo>
                  <a:cubicBezTo>
                    <a:pt x="284720" y="196532"/>
                    <a:pt x="285980" y="190233"/>
                    <a:pt x="287240" y="183934"/>
                  </a:cubicBezTo>
                  <a:cubicBezTo>
                    <a:pt x="288500" y="172596"/>
                    <a:pt x="289759" y="158738"/>
                    <a:pt x="291019" y="144880"/>
                  </a:cubicBezTo>
                  <a:cubicBezTo>
                    <a:pt x="292279" y="133541"/>
                    <a:pt x="291019" y="120943"/>
                    <a:pt x="291019" y="109605"/>
                  </a:cubicBezTo>
                  <a:lnTo>
                    <a:pt x="291019" y="105825"/>
                  </a:lnTo>
                  <a:cubicBezTo>
                    <a:pt x="291019" y="99526"/>
                    <a:pt x="291019" y="94487"/>
                    <a:pt x="289759" y="88188"/>
                  </a:cubicBezTo>
                  <a:cubicBezTo>
                    <a:pt x="289759" y="81889"/>
                    <a:pt x="288500" y="75589"/>
                    <a:pt x="288500" y="69290"/>
                  </a:cubicBezTo>
                  <a:lnTo>
                    <a:pt x="288500" y="65511"/>
                  </a:lnTo>
                  <a:cubicBezTo>
                    <a:pt x="288500" y="61731"/>
                    <a:pt x="287240" y="56692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79681" y="47873"/>
                    <a:pt x="278421" y="47873"/>
                    <a:pt x="277161" y="47873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/>
            <p:cNvSpPr/>
            <p:nvPr/>
          </p:nvSpPr>
          <p:spPr>
            <a:xfrm>
              <a:off x="3282555" y="3466794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/>
            <p:cNvSpPr/>
            <p:nvPr/>
          </p:nvSpPr>
          <p:spPr>
            <a:xfrm>
              <a:off x="2517842" y="3134201"/>
              <a:ext cx="768492" cy="718099"/>
            </a:xfrm>
            <a:custGeom>
              <a:avLst/>
              <a:gdLst>
                <a:gd name="connsiteX0" fmla="*/ 537945 w 768492"/>
                <a:gd name="connsiteY0" fmla="*/ 16378 h 718099"/>
                <a:gd name="connsiteX1" fmla="*/ 537945 w 768492"/>
                <a:gd name="connsiteY1" fmla="*/ 16378 h 718099"/>
                <a:gd name="connsiteX2" fmla="*/ 537945 w 768492"/>
                <a:gd name="connsiteY2" fmla="*/ 16378 h 718099"/>
                <a:gd name="connsiteX3" fmla="*/ 536685 w 768492"/>
                <a:gd name="connsiteY3" fmla="*/ 22677 h 718099"/>
                <a:gd name="connsiteX4" fmla="*/ 537945 w 768492"/>
                <a:gd name="connsiteY4" fmla="*/ 16378 h 718099"/>
                <a:gd name="connsiteX5" fmla="*/ 537945 w 768492"/>
                <a:gd name="connsiteY5" fmla="*/ 16378 h 718099"/>
                <a:gd name="connsiteX6" fmla="*/ 537945 w 768492"/>
                <a:gd name="connsiteY6" fmla="*/ 16378 h 718099"/>
                <a:gd name="connsiteX7" fmla="*/ 536685 w 768492"/>
                <a:gd name="connsiteY7" fmla="*/ 23937 h 718099"/>
                <a:gd name="connsiteX8" fmla="*/ 536685 w 768492"/>
                <a:gd name="connsiteY8" fmla="*/ 26456 h 718099"/>
                <a:gd name="connsiteX9" fmla="*/ 535425 w 768492"/>
                <a:gd name="connsiteY9" fmla="*/ 31496 h 718099"/>
                <a:gd name="connsiteX10" fmla="*/ 531645 w 768492"/>
                <a:gd name="connsiteY10" fmla="*/ 37795 h 718099"/>
                <a:gd name="connsiteX11" fmla="*/ 526606 w 768492"/>
                <a:gd name="connsiteY11" fmla="*/ 44094 h 718099"/>
                <a:gd name="connsiteX12" fmla="*/ 519047 w 768492"/>
                <a:gd name="connsiteY12" fmla="*/ 49133 h 718099"/>
                <a:gd name="connsiteX13" fmla="*/ 505189 w 768492"/>
                <a:gd name="connsiteY13" fmla="*/ 55432 h 718099"/>
                <a:gd name="connsiteX14" fmla="*/ 496370 w 768492"/>
                <a:gd name="connsiteY14" fmla="*/ 57952 h 718099"/>
                <a:gd name="connsiteX15" fmla="*/ 487552 w 768492"/>
                <a:gd name="connsiteY15" fmla="*/ 59212 h 718099"/>
                <a:gd name="connsiteX16" fmla="*/ 486292 w 768492"/>
                <a:gd name="connsiteY16" fmla="*/ 59212 h 718099"/>
                <a:gd name="connsiteX17" fmla="*/ 476213 w 768492"/>
                <a:gd name="connsiteY17" fmla="*/ 59212 h 718099"/>
                <a:gd name="connsiteX18" fmla="*/ 466135 w 768492"/>
                <a:gd name="connsiteY18" fmla="*/ 57952 h 718099"/>
                <a:gd name="connsiteX19" fmla="*/ 447237 w 768492"/>
                <a:gd name="connsiteY19" fmla="*/ 52913 h 718099"/>
                <a:gd name="connsiteX20" fmla="*/ 440938 w 768492"/>
                <a:gd name="connsiteY20" fmla="*/ 49133 h 718099"/>
                <a:gd name="connsiteX21" fmla="*/ 439678 w 768492"/>
                <a:gd name="connsiteY21" fmla="*/ 47873 h 718099"/>
                <a:gd name="connsiteX22" fmla="*/ 430860 w 768492"/>
                <a:gd name="connsiteY22" fmla="*/ 42834 h 718099"/>
                <a:gd name="connsiteX23" fmla="*/ 417002 w 768492"/>
                <a:gd name="connsiteY23" fmla="*/ 30236 h 718099"/>
                <a:gd name="connsiteX24" fmla="*/ 411962 w 768492"/>
                <a:gd name="connsiteY24" fmla="*/ 23937 h 718099"/>
                <a:gd name="connsiteX25" fmla="*/ 408183 w 768492"/>
                <a:gd name="connsiteY25" fmla="*/ 15118 h 718099"/>
                <a:gd name="connsiteX26" fmla="*/ 406923 w 768492"/>
                <a:gd name="connsiteY26" fmla="*/ 11338 h 718099"/>
                <a:gd name="connsiteX27" fmla="*/ 406923 w 768492"/>
                <a:gd name="connsiteY27" fmla="*/ 10078 h 718099"/>
                <a:gd name="connsiteX28" fmla="*/ 406923 w 768492"/>
                <a:gd name="connsiteY28" fmla="*/ 6299 h 718099"/>
                <a:gd name="connsiteX29" fmla="*/ 406923 w 768492"/>
                <a:gd name="connsiteY29" fmla="*/ 2520 h 718099"/>
                <a:gd name="connsiteX30" fmla="*/ 406923 w 768492"/>
                <a:gd name="connsiteY30" fmla="*/ 2520 h 718099"/>
                <a:gd name="connsiteX31" fmla="*/ 406923 w 768492"/>
                <a:gd name="connsiteY31" fmla="*/ 2520 h 718099"/>
                <a:gd name="connsiteX32" fmla="*/ 406923 w 768492"/>
                <a:gd name="connsiteY32" fmla="*/ 2520 h 718099"/>
                <a:gd name="connsiteX33" fmla="*/ 406923 w 768492"/>
                <a:gd name="connsiteY33" fmla="*/ 2520 h 718099"/>
                <a:gd name="connsiteX34" fmla="*/ 406923 w 768492"/>
                <a:gd name="connsiteY34" fmla="*/ 2520 h 718099"/>
                <a:gd name="connsiteX35" fmla="*/ 406923 w 768492"/>
                <a:gd name="connsiteY35" fmla="*/ 2520 h 718099"/>
                <a:gd name="connsiteX36" fmla="*/ 406923 w 768492"/>
                <a:gd name="connsiteY36" fmla="*/ 2520 h 718099"/>
                <a:gd name="connsiteX37" fmla="*/ 403143 w 768492"/>
                <a:gd name="connsiteY37" fmla="*/ 3779 h 718099"/>
                <a:gd name="connsiteX38" fmla="*/ 403143 w 768492"/>
                <a:gd name="connsiteY38" fmla="*/ 3779 h 718099"/>
                <a:gd name="connsiteX39" fmla="*/ 401884 w 768492"/>
                <a:gd name="connsiteY39" fmla="*/ 3779 h 718099"/>
                <a:gd name="connsiteX40" fmla="*/ 399364 w 768492"/>
                <a:gd name="connsiteY40" fmla="*/ 3779 h 718099"/>
                <a:gd name="connsiteX41" fmla="*/ 388026 w 768492"/>
                <a:gd name="connsiteY41" fmla="*/ 6299 h 718099"/>
                <a:gd name="connsiteX42" fmla="*/ 382986 w 768492"/>
                <a:gd name="connsiteY42" fmla="*/ 7559 h 718099"/>
                <a:gd name="connsiteX43" fmla="*/ 381726 w 768492"/>
                <a:gd name="connsiteY43" fmla="*/ 7559 h 718099"/>
                <a:gd name="connsiteX44" fmla="*/ 380467 w 768492"/>
                <a:gd name="connsiteY44" fmla="*/ 7559 h 718099"/>
                <a:gd name="connsiteX45" fmla="*/ 379207 w 768492"/>
                <a:gd name="connsiteY45" fmla="*/ 7559 h 718099"/>
                <a:gd name="connsiteX46" fmla="*/ 371648 w 768492"/>
                <a:gd name="connsiteY46" fmla="*/ 8819 h 718099"/>
                <a:gd name="connsiteX47" fmla="*/ 367868 w 768492"/>
                <a:gd name="connsiteY47" fmla="*/ 8819 h 718099"/>
                <a:gd name="connsiteX48" fmla="*/ 354010 w 768492"/>
                <a:gd name="connsiteY48" fmla="*/ 11338 h 718099"/>
                <a:gd name="connsiteX49" fmla="*/ 340152 w 768492"/>
                <a:gd name="connsiteY49" fmla="*/ 15118 h 718099"/>
                <a:gd name="connsiteX50" fmla="*/ 337633 w 768492"/>
                <a:gd name="connsiteY50" fmla="*/ 15118 h 718099"/>
                <a:gd name="connsiteX51" fmla="*/ 326294 w 768492"/>
                <a:gd name="connsiteY51" fmla="*/ 17637 h 718099"/>
                <a:gd name="connsiteX52" fmla="*/ 302358 w 768492"/>
                <a:gd name="connsiteY52" fmla="*/ 26456 h 718099"/>
                <a:gd name="connsiteX53" fmla="*/ 289759 w 768492"/>
                <a:gd name="connsiteY53" fmla="*/ 32755 h 718099"/>
                <a:gd name="connsiteX54" fmla="*/ 289759 w 768492"/>
                <a:gd name="connsiteY54" fmla="*/ 32755 h 718099"/>
                <a:gd name="connsiteX55" fmla="*/ 282201 w 768492"/>
                <a:gd name="connsiteY55" fmla="*/ 36535 h 718099"/>
                <a:gd name="connsiteX56" fmla="*/ 262043 w 768492"/>
                <a:gd name="connsiteY56" fmla="*/ 46613 h 718099"/>
                <a:gd name="connsiteX57" fmla="*/ 250705 w 768492"/>
                <a:gd name="connsiteY57" fmla="*/ 54172 h 718099"/>
                <a:gd name="connsiteX58" fmla="*/ 241886 w 768492"/>
                <a:gd name="connsiteY58" fmla="*/ 61731 h 718099"/>
                <a:gd name="connsiteX59" fmla="*/ 225508 w 768492"/>
                <a:gd name="connsiteY59" fmla="*/ 76849 h 718099"/>
                <a:gd name="connsiteX60" fmla="*/ 220469 w 768492"/>
                <a:gd name="connsiteY60" fmla="*/ 83148 h 718099"/>
                <a:gd name="connsiteX61" fmla="*/ 212910 w 768492"/>
                <a:gd name="connsiteY61" fmla="*/ 88188 h 718099"/>
                <a:gd name="connsiteX62" fmla="*/ 204091 w 768492"/>
                <a:gd name="connsiteY62" fmla="*/ 95746 h 718099"/>
                <a:gd name="connsiteX63" fmla="*/ 197792 w 768492"/>
                <a:gd name="connsiteY63" fmla="*/ 103305 h 718099"/>
                <a:gd name="connsiteX64" fmla="*/ 183934 w 768492"/>
                <a:gd name="connsiteY64" fmla="*/ 117163 h 718099"/>
                <a:gd name="connsiteX65" fmla="*/ 178895 w 768492"/>
                <a:gd name="connsiteY65" fmla="*/ 122203 h 718099"/>
                <a:gd name="connsiteX66" fmla="*/ 177635 w 768492"/>
                <a:gd name="connsiteY66" fmla="*/ 123463 h 718099"/>
                <a:gd name="connsiteX67" fmla="*/ 176375 w 768492"/>
                <a:gd name="connsiteY67" fmla="*/ 124722 h 718099"/>
                <a:gd name="connsiteX68" fmla="*/ 167557 w 768492"/>
                <a:gd name="connsiteY68" fmla="*/ 133541 h 718099"/>
                <a:gd name="connsiteX69" fmla="*/ 154958 w 768492"/>
                <a:gd name="connsiteY69" fmla="*/ 146139 h 718099"/>
                <a:gd name="connsiteX70" fmla="*/ 151179 w 768492"/>
                <a:gd name="connsiteY70" fmla="*/ 149919 h 718099"/>
                <a:gd name="connsiteX71" fmla="*/ 141100 w 768492"/>
                <a:gd name="connsiteY71" fmla="*/ 159998 h 718099"/>
                <a:gd name="connsiteX72" fmla="*/ 136061 w 768492"/>
                <a:gd name="connsiteY72" fmla="*/ 165037 h 718099"/>
                <a:gd name="connsiteX73" fmla="*/ 124723 w 768492"/>
                <a:gd name="connsiteY73" fmla="*/ 177635 h 718099"/>
                <a:gd name="connsiteX74" fmla="*/ 120943 w 768492"/>
                <a:gd name="connsiteY74" fmla="*/ 181414 h 718099"/>
                <a:gd name="connsiteX75" fmla="*/ 115904 w 768492"/>
                <a:gd name="connsiteY75" fmla="*/ 186454 h 718099"/>
                <a:gd name="connsiteX76" fmla="*/ 115904 w 768492"/>
                <a:gd name="connsiteY76" fmla="*/ 186454 h 718099"/>
                <a:gd name="connsiteX77" fmla="*/ 105825 w 768492"/>
                <a:gd name="connsiteY77" fmla="*/ 197792 h 718099"/>
                <a:gd name="connsiteX78" fmla="*/ 94487 w 768492"/>
                <a:gd name="connsiteY78" fmla="*/ 212910 h 718099"/>
                <a:gd name="connsiteX79" fmla="*/ 93227 w 768492"/>
                <a:gd name="connsiteY79" fmla="*/ 214170 h 718099"/>
                <a:gd name="connsiteX80" fmla="*/ 90707 w 768492"/>
                <a:gd name="connsiteY80" fmla="*/ 216690 h 718099"/>
                <a:gd name="connsiteX81" fmla="*/ 78109 w 768492"/>
                <a:gd name="connsiteY81" fmla="*/ 234327 h 718099"/>
                <a:gd name="connsiteX82" fmla="*/ 76849 w 768492"/>
                <a:gd name="connsiteY82" fmla="*/ 235587 h 718099"/>
                <a:gd name="connsiteX83" fmla="*/ 70550 w 768492"/>
                <a:gd name="connsiteY83" fmla="*/ 244406 h 718099"/>
                <a:gd name="connsiteX84" fmla="*/ 66771 w 768492"/>
                <a:gd name="connsiteY84" fmla="*/ 249445 h 718099"/>
                <a:gd name="connsiteX85" fmla="*/ 66771 w 768492"/>
                <a:gd name="connsiteY85" fmla="*/ 249445 h 718099"/>
                <a:gd name="connsiteX86" fmla="*/ 64251 w 768492"/>
                <a:gd name="connsiteY86" fmla="*/ 253224 h 718099"/>
                <a:gd name="connsiteX87" fmla="*/ 51653 w 768492"/>
                <a:gd name="connsiteY87" fmla="*/ 270862 h 718099"/>
                <a:gd name="connsiteX88" fmla="*/ 31496 w 768492"/>
                <a:gd name="connsiteY88" fmla="*/ 301098 h 718099"/>
                <a:gd name="connsiteX89" fmla="*/ 27716 w 768492"/>
                <a:gd name="connsiteY89" fmla="*/ 307397 h 718099"/>
                <a:gd name="connsiteX90" fmla="*/ 25196 w 768492"/>
                <a:gd name="connsiteY90" fmla="*/ 311176 h 718099"/>
                <a:gd name="connsiteX91" fmla="*/ 17638 w 768492"/>
                <a:gd name="connsiteY91" fmla="*/ 325034 h 718099"/>
                <a:gd name="connsiteX92" fmla="*/ 16378 w 768492"/>
                <a:gd name="connsiteY92" fmla="*/ 327554 h 718099"/>
                <a:gd name="connsiteX93" fmla="*/ 16378 w 768492"/>
                <a:gd name="connsiteY93" fmla="*/ 327554 h 718099"/>
                <a:gd name="connsiteX94" fmla="*/ 13858 w 768492"/>
                <a:gd name="connsiteY94" fmla="*/ 332593 h 718099"/>
                <a:gd name="connsiteX95" fmla="*/ 10079 w 768492"/>
                <a:gd name="connsiteY95" fmla="*/ 342672 h 718099"/>
                <a:gd name="connsiteX96" fmla="*/ 10079 w 768492"/>
                <a:gd name="connsiteY96" fmla="*/ 342672 h 718099"/>
                <a:gd name="connsiteX97" fmla="*/ 6299 w 768492"/>
                <a:gd name="connsiteY97" fmla="*/ 351491 h 718099"/>
                <a:gd name="connsiteX98" fmla="*/ 3780 w 768492"/>
                <a:gd name="connsiteY98" fmla="*/ 360309 h 718099"/>
                <a:gd name="connsiteX99" fmla="*/ 0 w 768492"/>
                <a:gd name="connsiteY99" fmla="*/ 381726 h 718099"/>
                <a:gd name="connsiteX100" fmla="*/ 1260 w 768492"/>
                <a:gd name="connsiteY100" fmla="*/ 401884 h 718099"/>
                <a:gd name="connsiteX101" fmla="*/ 3780 w 768492"/>
                <a:gd name="connsiteY101" fmla="*/ 413222 h 718099"/>
                <a:gd name="connsiteX102" fmla="*/ 8819 w 768492"/>
                <a:gd name="connsiteY102" fmla="*/ 423301 h 718099"/>
                <a:gd name="connsiteX103" fmla="*/ 11338 w 768492"/>
                <a:gd name="connsiteY103" fmla="*/ 425820 h 718099"/>
                <a:gd name="connsiteX104" fmla="*/ 11338 w 768492"/>
                <a:gd name="connsiteY104" fmla="*/ 425820 h 718099"/>
                <a:gd name="connsiteX105" fmla="*/ 11338 w 768492"/>
                <a:gd name="connsiteY105" fmla="*/ 425820 h 718099"/>
                <a:gd name="connsiteX106" fmla="*/ 11338 w 768492"/>
                <a:gd name="connsiteY106" fmla="*/ 425820 h 718099"/>
                <a:gd name="connsiteX107" fmla="*/ 11338 w 768492"/>
                <a:gd name="connsiteY107" fmla="*/ 425820 h 718099"/>
                <a:gd name="connsiteX108" fmla="*/ 11338 w 768492"/>
                <a:gd name="connsiteY108" fmla="*/ 425820 h 718099"/>
                <a:gd name="connsiteX109" fmla="*/ 11338 w 768492"/>
                <a:gd name="connsiteY109" fmla="*/ 425820 h 718099"/>
                <a:gd name="connsiteX110" fmla="*/ 10079 w 768492"/>
                <a:gd name="connsiteY110" fmla="*/ 406923 h 718099"/>
                <a:gd name="connsiteX111" fmla="*/ 11338 w 768492"/>
                <a:gd name="connsiteY111" fmla="*/ 388025 h 718099"/>
                <a:gd name="connsiteX112" fmla="*/ 13858 w 768492"/>
                <a:gd name="connsiteY112" fmla="*/ 380467 h 718099"/>
                <a:gd name="connsiteX113" fmla="*/ 13858 w 768492"/>
                <a:gd name="connsiteY113" fmla="*/ 380467 h 718099"/>
                <a:gd name="connsiteX114" fmla="*/ 17638 w 768492"/>
                <a:gd name="connsiteY114" fmla="*/ 370388 h 718099"/>
                <a:gd name="connsiteX115" fmla="*/ 23937 w 768492"/>
                <a:gd name="connsiteY115" fmla="*/ 359050 h 718099"/>
                <a:gd name="connsiteX116" fmla="*/ 27716 w 768492"/>
                <a:gd name="connsiteY116" fmla="*/ 355270 h 718099"/>
                <a:gd name="connsiteX117" fmla="*/ 30236 w 768492"/>
                <a:gd name="connsiteY117" fmla="*/ 354010 h 718099"/>
                <a:gd name="connsiteX118" fmla="*/ 31496 w 768492"/>
                <a:gd name="connsiteY118" fmla="*/ 352751 h 718099"/>
                <a:gd name="connsiteX119" fmla="*/ 35275 w 768492"/>
                <a:gd name="connsiteY119" fmla="*/ 351491 h 718099"/>
                <a:gd name="connsiteX120" fmla="*/ 36535 w 768492"/>
                <a:gd name="connsiteY120" fmla="*/ 350231 h 718099"/>
                <a:gd name="connsiteX121" fmla="*/ 45354 w 768492"/>
                <a:gd name="connsiteY121" fmla="*/ 346451 h 718099"/>
                <a:gd name="connsiteX122" fmla="*/ 51653 w 768492"/>
                <a:gd name="connsiteY122" fmla="*/ 345192 h 718099"/>
                <a:gd name="connsiteX123" fmla="*/ 52913 w 768492"/>
                <a:gd name="connsiteY123" fmla="*/ 345192 h 718099"/>
                <a:gd name="connsiteX124" fmla="*/ 65511 w 768492"/>
                <a:gd name="connsiteY124" fmla="*/ 345192 h 718099"/>
                <a:gd name="connsiteX125" fmla="*/ 79369 w 768492"/>
                <a:gd name="connsiteY125" fmla="*/ 346451 h 718099"/>
                <a:gd name="connsiteX126" fmla="*/ 102046 w 768492"/>
                <a:gd name="connsiteY126" fmla="*/ 352751 h 718099"/>
                <a:gd name="connsiteX127" fmla="*/ 115904 w 768492"/>
                <a:gd name="connsiteY127" fmla="*/ 359050 h 718099"/>
                <a:gd name="connsiteX128" fmla="*/ 119683 w 768492"/>
                <a:gd name="connsiteY128" fmla="*/ 361569 h 718099"/>
                <a:gd name="connsiteX129" fmla="*/ 119683 w 768492"/>
                <a:gd name="connsiteY129" fmla="*/ 361569 h 718099"/>
                <a:gd name="connsiteX130" fmla="*/ 125982 w 768492"/>
                <a:gd name="connsiteY130" fmla="*/ 365349 h 718099"/>
                <a:gd name="connsiteX131" fmla="*/ 129762 w 768492"/>
                <a:gd name="connsiteY131" fmla="*/ 366608 h 718099"/>
                <a:gd name="connsiteX132" fmla="*/ 129762 w 768492"/>
                <a:gd name="connsiteY132" fmla="*/ 366608 h 718099"/>
                <a:gd name="connsiteX133" fmla="*/ 129762 w 768492"/>
                <a:gd name="connsiteY133" fmla="*/ 366608 h 718099"/>
                <a:gd name="connsiteX134" fmla="*/ 138581 w 768492"/>
                <a:gd name="connsiteY134" fmla="*/ 371648 h 718099"/>
                <a:gd name="connsiteX135" fmla="*/ 143620 w 768492"/>
                <a:gd name="connsiteY135" fmla="*/ 375427 h 718099"/>
                <a:gd name="connsiteX136" fmla="*/ 148659 w 768492"/>
                <a:gd name="connsiteY136" fmla="*/ 379207 h 718099"/>
                <a:gd name="connsiteX137" fmla="*/ 161257 w 768492"/>
                <a:gd name="connsiteY137" fmla="*/ 388025 h 718099"/>
                <a:gd name="connsiteX138" fmla="*/ 161257 w 768492"/>
                <a:gd name="connsiteY138" fmla="*/ 388025 h 718099"/>
                <a:gd name="connsiteX139" fmla="*/ 161257 w 768492"/>
                <a:gd name="connsiteY139" fmla="*/ 388025 h 718099"/>
                <a:gd name="connsiteX140" fmla="*/ 161257 w 768492"/>
                <a:gd name="connsiteY140" fmla="*/ 388025 h 718099"/>
                <a:gd name="connsiteX141" fmla="*/ 161257 w 768492"/>
                <a:gd name="connsiteY141" fmla="*/ 388025 h 718099"/>
                <a:gd name="connsiteX142" fmla="*/ 161257 w 768492"/>
                <a:gd name="connsiteY142" fmla="*/ 388025 h 718099"/>
                <a:gd name="connsiteX143" fmla="*/ 161257 w 768492"/>
                <a:gd name="connsiteY143" fmla="*/ 388025 h 718099"/>
                <a:gd name="connsiteX144" fmla="*/ 161257 w 768492"/>
                <a:gd name="connsiteY144" fmla="*/ 388025 h 718099"/>
                <a:gd name="connsiteX145" fmla="*/ 161257 w 768492"/>
                <a:gd name="connsiteY145" fmla="*/ 388025 h 718099"/>
                <a:gd name="connsiteX146" fmla="*/ 161257 w 768492"/>
                <a:gd name="connsiteY146" fmla="*/ 388025 h 718099"/>
                <a:gd name="connsiteX147" fmla="*/ 161257 w 768492"/>
                <a:gd name="connsiteY147" fmla="*/ 388025 h 718099"/>
                <a:gd name="connsiteX148" fmla="*/ 162517 w 768492"/>
                <a:gd name="connsiteY148" fmla="*/ 388025 h 718099"/>
                <a:gd name="connsiteX149" fmla="*/ 166297 w 768492"/>
                <a:gd name="connsiteY149" fmla="*/ 390545 h 718099"/>
                <a:gd name="connsiteX150" fmla="*/ 162517 w 768492"/>
                <a:gd name="connsiteY150" fmla="*/ 388025 h 718099"/>
                <a:gd name="connsiteX151" fmla="*/ 166297 w 768492"/>
                <a:gd name="connsiteY151" fmla="*/ 390545 h 718099"/>
                <a:gd name="connsiteX152" fmla="*/ 166297 w 768492"/>
                <a:gd name="connsiteY152" fmla="*/ 390545 h 718099"/>
                <a:gd name="connsiteX153" fmla="*/ 166297 w 768492"/>
                <a:gd name="connsiteY153" fmla="*/ 390545 h 718099"/>
                <a:gd name="connsiteX154" fmla="*/ 166297 w 768492"/>
                <a:gd name="connsiteY154" fmla="*/ 390545 h 718099"/>
                <a:gd name="connsiteX155" fmla="*/ 166297 w 768492"/>
                <a:gd name="connsiteY155" fmla="*/ 390545 h 718099"/>
                <a:gd name="connsiteX156" fmla="*/ 166297 w 768492"/>
                <a:gd name="connsiteY156" fmla="*/ 390545 h 718099"/>
                <a:gd name="connsiteX157" fmla="*/ 166297 w 768492"/>
                <a:gd name="connsiteY157" fmla="*/ 390545 h 718099"/>
                <a:gd name="connsiteX158" fmla="*/ 166297 w 768492"/>
                <a:gd name="connsiteY158" fmla="*/ 390545 h 718099"/>
                <a:gd name="connsiteX159" fmla="*/ 166297 w 768492"/>
                <a:gd name="connsiteY159" fmla="*/ 390545 h 718099"/>
                <a:gd name="connsiteX160" fmla="*/ 166297 w 768492"/>
                <a:gd name="connsiteY160" fmla="*/ 390545 h 718099"/>
                <a:gd name="connsiteX161" fmla="*/ 167557 w 768492"/>
                <a:gd name="connsiteY161" fmla="*/ 388025 h 718099"/>
                <a:gd name="connsiteX162" fmla="*/ 168816 w 768492"/>
                <a:gd name="connsiteY162" fmla="*/ 386766 h 718099"/>
                <a:gd name="connsiteX163" fmla="*/ 173856 w 768492"/>
                <a:gd name="connsiteY163" fmla="*/ 380467 h 718099"/>
                <a:gd name="connsiteX164" fmla="*/ 186454 w 768492"/>
                <a:gd name="connsiteY164" fmla="*/ 362829 h 718099"/>
                <a:gd name="connsiteX165" fmla="*/ 196533 w 768492"/>
                <a:gd name="connsiteY165" fmla="*/ 347711 h 718099"/>
                <a:gd name="connsiteX166" fmla="*/ 196533 w 768492"/>
                <a:gd name="connsiteY166" fmla="*/ 346451 h 718099"/>
                <a:gd name="connsiteX167" fmla="*/ 210391 w 768492"/>
                <a:gd name="connsiteY167" fmla="*/ 326294 h 718099"/>
                <a:gd name="connsiteX168" fmla="*/ 219209 w 768492"/>
                <a:gd name="connsiteY168" fmla="*/ 313696 h 718099"/>
                <a:gd name="connsiteX169" fmla="*/ 219209 w 768492"/>
                <a:gd name="connsiteY169" fmla="*/ 313696 h 718099"/>
                <a:gd name="connsiteX170" fmla="*/ 220469 w 768492"/>
                <a:gd name="connsiteY170" fmla="*/ 312436 h 718099"/>
                <a:gd name="connsiteX171" fmla="*/ 222989 w 768492"/>
                <a:gd name="connsiteY171" fmla="*/ 308657 h 718099"/>
                <a:gd name="connsiteX172" fmla="*/ 222989 w 768492"/>
                <a:gd name="connsiteY172" fmla="*/ 307397 h 718099"/>
                <a:gd name="connsiteX173" fmla="*/ 228028 w 768492"/>
                <a:gd name="connsiteY173" fmla="*/ 299838 h 718099"/>
                <a:gd name="connsiteX174" fmla="*/ 235587 w 768492"/>
                <a:gd name="connsiteY174" fmla="*/ 291019 h 718099"/>
                <a:gd name="connsiteX175" fmla="*/ 240626 w 768492"/>
                <a:gd name="connsiteY175" fmla="*/ 284720 h 718099"/>
                <a:gd name="connsiteX176" fmla="*/ 248185 w 768492"/>
                <a:gd name="connsiteY176" fmla="*/ 275901 h 718099"/>
                <a:gd name="connsiteX177" fmla="*/ 255744 w 768492"/>
                <a:gd name="connsiteY177" fmla="*/ 265823 h 718099"/>
                <a:gd name="connsiteX178" fmla="*/ 257004 w 768492"/>
                <a:gd name="connsiteY178" fmla="*/ 264563 h 718099"/>
                <a:gd name="connsiteX179" fmla="*/ 257004 w 768492"/>
                <a:gd name="connsiteY179" fmla="*/ 264563 h 718099"/>
                <a:gd name="connsiteX180" fmla="*/ 257004 w 768492"/>
                <a:gd name="connsiteY180" fmla="*/ 264563 h 718099"/>
                <a:gd name="connsiteX181" fmla="*/ 257004 w 768492"/>
                <a:gd name="connsiteY181" fmla="*/ 264563 h 718099"/>
                <a:gd name="connsiteX182" fmla="*/ 257004 w 768492"/>
                <a:gd name="connsiteY182" fmla="*/ 264563 h 718099"/>
                <a:gd name="connsiteX183" fmla="*/ 258264 w 768492"/>
                <a:gd name="connsiteY183" fmla="*/ 262043 h 718099"/>
                <a:gd name="connsiteX184" fmla="*/ 260783 w 768492"/>
                <a:gd name="connsiteY184" fmla="*/ 259523 h 718099"/>
                <a:gd name="connsiteX185" fmla="*/ 260783 w 768492"/>
                <a:gd name="connsiteY185" fmla="*/ 259523 h 718099"/>
                <a:gd name="connsiteX186" fmla="*/ 262043 w 768492"/>
                <a:gd name="connsiteY186" fmla="*/ 258264 h 718099"/>
                <a:gd name="connsiteX187" fmla="*/ 262043 w 768492"/>
                <a:gd name="connsiteY187" fmla="*/ 258264 h 718099"/>
                <a:gd name="connsiteX188" fmla="*/ 264563 w 768492"/>
                <a:gd name="connsiteY188" fmla="*/ 255744 h 718099"/>
                <a:gd name="connsiteX189" fmla="*/ 264563 w 768492"/>
                <a:gd name="connsiteY189" fmla="*/ 255744 h 718099"/>
                <a:gd name="connsiteX190" fmla="*/ 264563 w 768492"/>
                <a:gd name="connsiteY190" fmla="*/ 255744 h 718099"/>
                <a:gd name="connsiteX191" fmla="*/ 264563 w 768492"/>
                <a:gd name="connsiteY191" fmla="*/ 254484 h 718099"/>
                <a:gd name="connsiteX192" fmla="*/ 265823 w 768492"/>
                <a:gd name="connsiteY192" fmla="*/ 253224 h 718099"/>
                <a:gd name="connsiteX193" fmla="*/ 267083 w 768492"/>
                <a:gd name="connsiteY193" fmla="*/ 251965 h 718099"/>
                <a:gd name="connsiteX194" fmla="*/ 268342 w 768492"/>
                <a:gd name="connsiteY194" fmla="*/ 250705 h 718099"/>
                <a:gd name="connsiteX195" fmla="*/ 269602 w 768492"/>
                <a:gd name="connsiteY195" fmla="*/ 249445 h 718099"/>
                <a:gd name="connsiteX196" fmla="*/ 270862 w 768492"/>
                <a:gd name="connsiteY196" fmla="*/ 246925 h 718099"/>
                <a:gd name="connsiteX197" fmla="*/ 270862 w 768492"/>
                <a:gd name="connsiteY197" fmla="*/ 245666 h 718099"/>
                <a:gd name="connsiteX198" fmla="*/ 272122 w 768492"/>
                <a:gd name="connsiteY198" fmla="*/ 244406 h 718099"/>
                <a:gd name="connsiteX199" fmla="*/ 273382 w 768492"/>
                <a:gd name="connsiteY199" fmla="*/ 243146 h 718099"/>
                <a:gd name="connsiteX200" fmla="*/ 275901 w 768492"/>
                <a:gd name="connsiteY200" fmla="*/ 239366 h 718099"/>
                <a:gd name="connsiteX201" fmla="*/ 277161 w 768492"/>
                <a:gd name="connsiteY201" fmla="*/ 238107 h 718099"/>
                <a:gd name="connsiteX202" fmla="*/ 278421 w 768492"/>
                <a:gd name="connsiteY202" fmla="*/ 236847 h 718099"/>
                <a:gd name="connsiteX203" fmla="*/ 278421 w 768492"/>
                <a:gd name="connsiteY203" fmla="*/ 236847 h 718099"/>
                <a:gd name="connsiteX204" fmla="*/ 279681 w 768492"/>
                <a:gd name="connsiteY204" fmla="*/ 235587 h 718099"/>
                <a:gd name="connsiteX205" fmla="*/ 282201 w 768492"/>
                <a:gd name="connsiteY205" fmla="*/ 234327 h 718099"/>
                <a:gd name="connsiteX206" fmla="*/ 284720 w 768492"/>
                <a:gd name="connsiteY206" fmla="*/ 231807 h 718099"/>
                <a:gd name="connsiteX207" fmla="*/ 284720 w 768492"/>
                <a:gd name="connsiteY207" fmla="*/ 231807 h 718099"/>
                <a:gd name="connsiteX208" fmla="*/ 285980 w 768492"/>
                <a:gd name="connsiteY208" fmla="*/ 230548 h 718099"/>
                <a:gd name="connsiteX209" fmla="*/ 288500 w 768492"/>
                <a:gd name="connsiteY209" fmla="*/ 228028 h 718099"/>
                <a:gd name="connsiteX210" fmla="*/ 291019 w 768492"/>
                <a:gd name="connsiteY210" fmla="*/ 225508 h 718099"/>
                <a:gd name="connsiteX211" fmla="*/ 291019 w 768492"/>
                <a:gd name="connsiteY211" fmla="*/ 225508 h 718099"/>
                <a:gd name="connsiteX212" fmla="*/ 291019 w 768492"/>
                <a:gd name="connsiteY212" fmla="*/ 225508 h 718099"/>
                <a:gd name="connsiteX213" fmla="*/ 291019 w 768492"/>
                <a:gd name="connsiteY213" fmla="*/ 225508 h 718099"/>
                <a:gd name="connsiteX214" fmla="*/ 291019 w 768492"/>
                <a:gd name="connsiteY214" fmla="*/ 225508 h 718099"/>
                <a:gd name="connsiteX215" fmla="*/ 291019 w 768492"/>
                <a:gd name="connsiteY215" fmla="*/ 225508 h 718099"/>
                <a:gd name="connsiteX216" fmla="*/ 292279 w 768492"/>
                <a:gd name="connsiteY216" fmla="*/ 224248 h 718099"/>
                <a:gd name="connsiteX217" fmla="*/ 293539 w 768492"/>
                <a:gd name="connsiteY217" fmla="*/ 222989 h 718099"/>
                <a:gd name="connsiteX218" fmla="*/ 293539 w 768492"/>
                <a:gd name="connsiteY218" fmla="*/ 222989 h 718099"/>
                <a:gd name="connsiteX219" fmla="*/ 296058 w 768492"/>
                <a:gd name="connsiteY219" fmla="*/ 220469 h 718099"/>
                <a:gd name="connsiteX220" fmla="*/ 296058 w 768492"/>
                <a:gd name="connsiteY220" fmla="*/ 220469 h 718099"/>
                <a:gd name="connsiteX221" fmla="*/ 298578 w 768492"/>
                <a:gd name="connsiteY221" fmla="*/ 219209 h 718099"/>
                <a:gd name="connsiteX222" fmla="*/ 298578 w 768492"/>
                <a:gd name="connsiteY222" fmla="*/ 219209 h 718099"/>
                <a:gd name="connsiteX223" fmla="*/ 298578 w 768492"/>
                <a:gd name="connsiteY223" fmla="*/ 219209 h 718099"/>
                <a:gd name="connsiteX224" fmla="*/ 299838 w 768492"/>
                <a:gd name="connsiteY224" fmla="*/ 217949 h 718099"/>
                <a:gd name="connsiteX225" fmla="*/ 299838 w 768492"/>
                <a:gd name="connsiteY225" fmla="*/ 217949 h 718099"/>
                <a:gd name="connsiteX226" fmla="*/ 299838 w 768492"/>
                <a:gd name="connsiteY226" fmla="*/ 217949 h 718099"/>
                <a:gd name="connsiteX227" fmla="*/ 299838 w 768492"/>
                <a:gd name="connsiteY227" fmla="*/ 217949 h 718099"/>
                <a:gd name="connsiteX228" fmla="*/ 299838 w 768492"/>
                <a:gd name="connsiteY228" fmla="*/ 217949 h 718099"/>
                <a:gd name="connsiteX229" fmla="*/ 301098 w 768492"/>
                <a:gd name="connsiteY229" fmla="*/ 217949 h 718099"/>
                <a:gd name="connsiteX230" fmla="*/ 301098 w 768492"/>
                <a:gd name="connsiteY230" fmla="*/ 217949 h 718099"/>
                <a:gd name="connsiteX231" fmla="*/ 301098 w 768492"/>
                <a:gd name="connsiteY231" fmla="*/ 217949 h 718099"/>
                <a:gd name="connsiteX232" fmla="*/ 301098 w 768492"/>
                <a:gd name="connsiteY232" fmla="*/ 217949 h 718099"/>
                <a:gd name="connsiteX233" fmla="*/ 301098 w 768492"/>
                <a:gd name="connsiteY233" fmla="*/ 217949 h 718099"/>
                <a:gd name="connsiteX234" fmla="*/ 301098 w 768492"/>
                <a:gd name="connsiteY234" fmla="*/ 219209 h 718099"/>
                <a:gd name="connsiteX235" fmla="*/ 301098 w 768492"/>
                <a:gd name="connsiteY235" fmla="*/ 219209 h 718099"/>
                <a:gd name="connsiteX236" fmla="*/ 301098 w 768492"/>
                <a:gd name="connsiteY236" fmla="*/ 219209 h 718099"/>
                <a:gd name="connsiteX237" fmla="*/ 301098 w 768492"/>
                <a:gd name="connsiteY237" fmla="*/ 220469 h 718099"/>
                <a:gd name="connsiteX238" fmla="*/ 301098 w 768492"/>
                <a:gd name="connsiteY238" fmla="*/ 220469 h 718099"/>
                <a:gd name="connsiteX239" fmla="*/ 301098 w 768492"/>
                <a:gd name="connsiteY239" fmla="*/ 222989 h 718099"/>
                <a:gd name="connsiteX240" fmla="*/ 301098 w 768492"/>
                <a:gd name="connsiteY240" fmla="*/ 225508 h 718099"/>
                <a:gd name="connsiteX241" fmla="*/ 301098 w 768492"/>
                <a:gd name="connsiteY241" fmla="*/ 226768 h 718099"/>
                <a:gd name="connsiteX242" fmla="*/ 301098 w 768492"/>
                <a:gd name="connsiteY242" fmla="*/ 228028 h 718099"/>
                <a:gd name="connsiteX243" fmla="*/ 301098 w 768492"/>
                <a:gd name="connsiteY243" fmla="*/ 231807 h 718099"/>
                <a:gd name="connsiteX244" fmla="*/ 301098 w 768492"/>
                <a:gd name="connsiteY244" fmla="*/ 234327 h 718099"/>
                <a:gd name="connsiteX245" fmla="*/ 301098 w 768492"/>
                <a:gd name="connsiteY245" fmla="*/ 235587 h 718099"/>
                <a:gd name="connsiteX246" fmla="*/ 299838 w 768492"/>
                <a:gd name="connsiteY246" fmla="*/ 239366 h 718099"/>
                <a:gd name="connsiteX247" fmla="*/ 299838 w 768492"/>
                <a:gd name="connsiteY247" fmla="*/ 240626 h 718099"/>
                <a:gd name="connsiteX248" fmla="*/ 299838 w 768492"/>
                <a:gd name="connsiteY248" fmla="*/ 243146 h 718099"/>
                <a:gd name="connsiteX249" fmla="*/ 299838 w 768492"/>
                <a:gd name="connsiteY249" fmla="*/ 243146 h 718099"/>
                <a:gd name="connsiteX250" fmla="*/ 299838 w 768492"/>
                <a:gd name="connsiteY250" fmla="*/ 243146 h 718099"/>
                <a:gd name="connsiteX251" fmla="*/ 299838 w 768492"/>
                <a:gd name="connsiteY251" fmla="*/ 244406 h 718099"/>
                <a:gd name="connsiteX252" fmla="*/ 299838 w 768492"/>
                <a:gd name="connsiteY252" fmla="*/ 244406 h 718099"/>
                <a:gd name="connsiteX253" fmla="*/ 299838 w 768492"/>
                <a:gd name="connsiteY253" fmla="*/ 245666 h 718099"/>
                <a:gd name="connsiteX254" fmla="*/ 299838 w 768492"/>
                <a:gd name="connsiteY254" fmla="*/ 246925 h 718099"/>
                <a:gd name="connsiteX255" fmla="*/ 299838 w 768492"/>
                <a:gd name="connsiteY255" fmla="*/ 248185 h 718099"/>
                <a:gd name="connsiteX256" fmla="*/ 298578 w 768492"/>
                <a:gd name="connsiteY256" fmla="*/ 250705 h 718099"/>
                <a:gd name="connsiteX257" fmla="*/ 298578 w 768492"/>
                <a:gd name="connsiteY257" fmla="*/ 251965 h 718099"/>
                <a:gd name="connsiteX258" fmla="*/ 298578 w 768492"/>
                <a:gd name="connsiteY258" fmla="*/ 251965 h 718099"/>
                <a:gd name="connsiteX259" fmla="*/ 297318 w 768492"/>
                <a:gd name="connsiteY259" fmla="*/ 254484 h 718099"/>
                <a:gd name="connsiteX260" fmla="*/ 297318 w 768492"/>
                <a:gd name="connsiteY260" fmla="*/ 257004 h 718099"/>
                <a:gd name="connsiteX261" fmla="*/ 294799 w 768492"/>
                <a:gd name="connsiteY261" fmla="*/ 268342 h 718099"/>
                <a:gd name="connsiteX262" fmla="*/ 293539 w 768492"/>
                <a:gd name="connsiteY262" fmla="*/ 272122 h 718099"/>
                <a:gd name="connsiteX263" fmla="*/ 293539 w 768492"/>
                <a:gd name="connsiteY263" fmla="*/ 273382 h 718099"/>
                <a:gd name="connsiteX264" fmla="*/ 292279 w 768492"/>
                <a:gd name="connsiteY264" fmla="*/ 277161 h 718099"/>
                <a:gd name="connsiteX265" fmla="*/ 292279 w 768492"/>
                <a:gd name="connsiteY265" fmla="*/ 279681 h 718099"/>
                <a:gd name="connsiteX266" fmla="*/ 292279 w 768492"/>
                <a:gd name="connsiteY266" fmla="*/ 282200 h 718099"/>
                <a:gd name="connsiteX267" fmla="*/ 291019 w 768492"/>
                <a:gd name="connsiteY267" fmla="*/ 284720 h 718099"/>
                <a:gd name="connsiteX268" fmla="*/ 291019 w 768492"/>
                <a:gd name="connsiteY268" fmla="*/ 285980 h 718099"/>
                <a:gd name="connsiteX269" fmla="*/ 291019 w 768492"/>
                <a:gd name="connsiteY269" fmla="*/ 287240 h 718099"/>
                <a:gd name="connsiteX270" fmla="*/ 289759 w 768492"/>
                <a:gd name="connsiteY270" fmla="*/ 291019 h 718099"/>
                <a:gd name="connsiteX271" fmla="*/ 289759 w 768492"/>
                <a:gd name="connsiteY271" fmla="*/ 291019 h 718099"/>
                <a:gd name="connsiteX272" fmla="*/ 289759 w 768492"/>
                <a:gd name="connsiteY272" fmla="*/ 292279 h 718099"/>
                <a:gd name="connsiteX273" fmla="*/ 289759 w 768492"/>
                <a:gd name="connsiteY273" fmla="*/ 293539 h 718099"/>
                <a:gd name="connsiteX274" fmla="*/ 289759 w 768492"/>
                <a:gd name="connsiteY274" fmla="*/ 297318 h 718099"/>
                <a:gd name="connsiteX275" fmla="*/ 288500 w 768492"/>
                <a:gd name="connsiteY275" fmla="*/ 303617 h 718099"/>
                <a:gd name="connsiteX276" fmla="*/ 288500 w 768492"/>
                <a:gd name="connsiteY276" fmla="*/ 304877 h 718099"/>
                <a:gd name="connsiteX277" fmla="*/ 285980 w 768492"/>
                <a:gd name="connsiteY277" fmla="*/ 319995 h 718099"/>
                <a:gd name="connsiteX278" fmla="*/ 284720 w 768492"/>
                <a:gd name="connsiteY278" fmla="*/ 330074 h 718099"/>
                <a:gd name="connsiteX279" fmla="*/ 283460 w 768492"/>
                <a:gd name="connsiteY279" fmla="*/ 335113 h 718099"/>
                <a:gd name="connsiteX280" fmla="*/ 283460 w 768492"/>
                <a:gd name="connsiteY280" fmla="*/ 335113 h 718099"/>
                <a:gd name="connsiteX281" fmla="*/ 283460 w 768492"/>
                <a:gd name="connsiteY281" fmla="*/ 335113 h 718099"/>
                <a:gd name="connsiteX282" fmla="*/ 283460 w 768492"/>
                <a:gd name="connsiteY282" fmla="*/ 336373 h 718099"/>
                <a:gd name="connsiteX283" fmla="*/ 283460 w 768492"/>
                <a:gd name="connsiteY283" fmla="*/ 337633 h 718099"/>
                <a:gd name="connsiteX284" fmla="*/ 283460 w 768492"/>
                <a:gd name="connsiteY284" fmla="*/ 337633 h 718099"/>
                <a:gd name="connsiteX285" fmla="*/ 283460 w 768492"/>
                <a:gd name="connsiteY285" fmla="*/ 337633 h 718099"/>
                <a:gd name="connsiteX286" fmla="*/ 283460 w 768492"/>
                <a:gd name="connsiteY286" fmla="*/ 340152 h 718099"/>
                <a:gd name="connsiteX287" fmla="*/ 282201 w 768492"/>
                <a:gd name="connsiteY287" fmla="*/ 345192 h 718099"/>
                <a:gd name="connsiteX288" fmla="*/ 282201 w 768492"/>
                <a:gd name="connsiteY288" fmla="*/ 346451 h 718099"/>
                <a:gd name="connsiteX289" fmla="*/ 280941 w 768492"/>
                <a:gd name="connsiteY289" fmla="*/ 351491 h 718099"/>
                <a:gd name="connsiteX290" fmla="*/ 279681 w 768492"/>
                <a:gd name="connsiteY290" fmla="*/ 361569 h 718099"/>
                <a:gd name="connsiteX291" fmla="*/ 278421 w 768492"/>
                <a:gd name="connsiteY291" fmla="*/ 372908 h 718099"/>
                <a:gd name="connsiteX292" fmla="*/ 277161 w 768492"/>
                <a:gd name="connsiteY292" fmla="*/ 376687 h 718099"/>
                <a:gd name="connsiteX293" fmla="*/ 277161 w 768492"/>
                <a:gd name="connsiteY293" fmla="*/ 376687 h 718099"/>
                <a:gd name="connsiteX294" fmla="*/ 277161 w 768492"/>
                <a:gd name="connsiteY294" fmla="*/ 376687 h 718099"/>
                <a:gd name="connsiteX295" fmla="*/ 277161 w 768492"/>
                <a:gd name="connsiteY295" fmla="*/ 376687 h 718099"/>
                <a:gd name="connsiteX296" fmla="*/ 277161 w 768492"/>
                <a:gd name="connsiteY296" fmla="*/ 379207 h 718099"/>
                <a:gd name="connsiteX297" fmla="*/ 277161 w 768492"/>
                <a:gd name="connsiteY297" fmla="*/ 381726 h 718099"/>
                <a:gd name="connsiteX298" fmla="*/ 277161 w 768492"/>
                <a:gd name="connsiteY298" fmla="*/ 382986 h 718099"/>
                <a:gd name="connsiteX299" fmla="*/ 275901 w 768492"/>
                <a:gd name="connsiteY299" fmla="*/ 391805 h 718099"/>
                <a:gd name="connsiteX300" fmla="*/ 275901 w 768492"/>
                <a:gd name="connsiteY300" fmla="*/ 391805 h 718099"/>
                <a:gd name="connsiteX301" fmla="*/ 275901 w 768492"/>
                <a:gd name="connsiteY301" fmla="*/ 391805 h 718099"/>
                <a:gd name="connsiteX302" fmla="*/ 274642 w 768492"/>
                <a:gd name="connsiteY302" fmla="*/ 395584 h 718099"/>
                <a:gd name="connsiteX303" fmla="*/ 274642 w 768492"/>
                <a:gd name="connsiteY303" fmla="*/ 396844 h 718099"/>
                <a:gd name="connsiteX304" fmla="*/ 274642 w 768492"/>
                <a:gd name="connsiteY304" fmla="*/ 396844 h 718099"/>
                <a:gd name="connsiteX305" fmla="*/ 273382 w 768492"/>
                <a:gd name="connsiteY305" fmla="*/ 401884 h 718099"/>
                <a:gd name="connsiteX306" fmla="*/ 273382 w 768492"/>
                <a:gd name="connsiteY306" fmla="*/ 401884 h 718099"/>
                <a:gd name="connsiteX307" fmla="*/ 272122 w 768492"/>
                <a:gd name="connsiteY307" fmla="*/ 403143 h 718099"/>
                <a:gd name="connsiteX308" fmla="*/ 270862 w 768492"/>
                <a:gd name="connsiteY308" fmla="*/ 403143 h 718099"/>
                <a:gd name="connsiteX309" fmla="*/ 269602 w 768492"/>
                <a:gd name="connsiteY309" fmla="*/ 403143 h 718099"/>
                <a:gd name="connsiteX310" fmla="*/ 268342 w 768492"/>
                <a:gd name="connsiteY310" fmla="*/ 403143 h 718099"/>
                <a:gd name="connsiteX311" fmla="*/ 268342 w 768492"/>
                <a:gd name="connsiteY311" fmla="*/ 403143 h 718099"/>
                <a:gd name="connsiteX312" fmla="*/ 267083 w 768492"/>
                <a:gd name="connsiteY312" fmla="*/ 401884 h 718099"/>
                <a:gd name="connsiteX313" fmla="*/ 267083 w 768492"/>
                <a:gd name="connsiteY313" fmla="*/ 401884 h 718099"/>
                <a:gd name="connsiteX314" fmla="*/ 267083 w 768492"/>
                <a:gd name="connsiteY314" fmla="*/ 410702 h 718099"/>
                <a:gd name="connsiteX315" fmla="*/ 267083 w 768492"/>
                <a:gd name="connsiteY315" fmla="*/ 415742 h 718099"/>
                <a:gd name="connsiteX316" fmla="*/ 267083 w 768492"/>
                <a:gd name="connsiteY316" fmla="*/ 417001 h 718099"/>
                <a:gd name="connsiteX317" fmla="*/ 267083 w 768492"/>
                <a:gd name="connsiteY317" fmla="*/ 418261 h 718099"/>
                <a:gd name="connsiteX318" fmla="*/ 267083 w 768492"/>
                <a:gd name="connsiteY318" fmla="*/ 419521 h 718099"/>
                <a:gd name="connsiteX319" fmla="*/ 267083 w 768492"/>
                <a:gd name="connsiteY319" fmla="*/ 420781 h 718099"/>
                <a:gd name="connsiteX320" fmla="*/ 267083 w 768492"/>
                <a:gd name="connsiteY320" fmla="*/ 427080 h 718099"/>
                <a:gd name="connsiteX321" fmla="*/ 267083 w 768492"/>
                <a:gd name="connsiteY321" fmla="*/ 429600 h 718099"/>
                <a:gd name="connsiteX322" fmla="*/ 267083 w 768492"/>
                <a:gd name="connsiteY322" fmla="*/ 432119 h 718099"/>
                <a:gd name="connsiteX323" fmla="*/ 267083 w 768492"/>
                <a:gd name="connsiteY323" fmla="*/ 434639 h 718099"/>
                <a:gd name="connsiteX324" fmla="*/ 268342 w 768492"/>
                <a:gd name="connsiteY324" fmla="*/ 452277 h 718099"/>
                <a:gd name="connsiteX325" fmla="*/ 269602 w 768492"/>
                <a:gd name="connsiteY325" fmla="*/ 476213 h 718099"/>
                <a:gd name="connsiteX326" fmla="*/ 269602 w 768492"/>
                <a:gd name="connsiteY326" fmla="*/ 476213 h 718099"/>
                <a:gd name="connsiteX327" fmla="*/ 269602 w 768492"/>
                <a:gd name="connsiteY327" fmla="*/ 476213 h 718099"/>
                <a:gd name="connsiteX328" fmla="*/ 269602 w 768492"/>
                <a:gd name="connsiteY328" fmla="*/ 476213 h 718099"/>
                <a:gd name="connsiteX329" fmla="*/ 278421 w 768492"/>
                <a:gd name="connsiteY329" fmla="*/ 483772 h 718099"/>
                <a:gd name="connsiteX330" fmla="*/ 285980 w 768492"/>
                <a:gd name="connsiteY330" fmla="*/ 490071 h 718099"/>
                <a:gd name="connsiteX331" fmla="*/ 304877 w 768492"/>
                <a:gd name="connsiteY331" fmla="*/ 508969 h 718099"/>
                <a:gd name="connsiteX332" fmla="*/ 307397 w 768492"/>
                <a:gd name="connsiteY332" fmla="*/ 511488 h 718099"/>
                <a:gd name="connsiteX333" fmla="*/ 308657 w 768492"/>
                <a:gd name="connsiteY333" fmla="*/ 512748 h 718099"/>
                <a:gd name="connsiteX334" fmla="*/ 309917 w 768492"/>
                <a:gd name="connsiteY334" fmla="*/ 515268 h 718099"/>
                <a:gd name="connsiteX335" fmla="*/ 309917 w 768492"/>
                <a:gd name="connsiteY335" fmla="*/ 515268 h 718099"/>
                <a:gd name="connsiteX336" fmla="*/ 309917 w 768492"/>
                <a:gd name="connsiteY336" fmla="*/ 515268 h 718099"/>
                <a:gd name="connsiteX337" fmla="*/ 318735 w 768492"/>
                <a:gd name="connsiteY337" fmla="*/ 524086 h 718099"/>
                <a:gd name="connsiteX338" fmla="*/ 319995 w 768492"/>
                <a:gd name="connsiteY338" fmla="*/ 525346 h 718099"/>
                <a:gd name="connsiteX339" fmla="*/ 322515 w 768492"/>
                <a:gd name="connsiteY339" fmla="*/ 527866 h 718099"/>
                <a:gd name="connsiteX340" fmla="*/ 319995 w 768492"/>
                <a:gd name="connsiteY340" fmla="*/ 525346 h 718099"/>
                <a:gd name="connsiteX341" fmla="*/ 318735 w 768492"/>
                <a:gd name="connsiteY341" fmla="*/ 524086 h 718099"/>
                <a:gd name="connsiteX342" fmla="*/ 313696 w 768492"/>
                <a:gd name="connsiteY342" fmla="*/ 517787 h 718099"/>
                <a:gd name="connsiteX343" fmla="*/ 328814 w 768492"/>
                <a:gd name="connsiteY343" fmla="*/ 535425 h 718099"/>
                <a:gd name="connsiteX344" fmla="*/ 333853 w 768492"/>
                <a:gd name="connsiteY344" fmla="*/ 541724 h 718099"/>
                <a:gd name="connsiteX345" fmla="*/ 332593 w 768492"/>
                <a:gd name="connsiteY345" fmla="*/ 539204 h 718099"/>
                <a:gd name="connsiteX346" fmla="*/ 330074 w 768492"/>
                <a:gd name="connsiteY346" fmla="*/ 536685 h 718099"/>
                <a:gd name="connsiteX347" fmla="*/ 340152 w 768492"/>
                <a:gd name="connsiteY347" fmla="*/ 550543 h 718099"/>
                <a:gd name="connsiteX348" fmla="*/ 340152 w 768492"/>
                <a:gd name="connsiteY348" fmla="*/ 550543 h 718099"/>
                <a:gd name="connsiteX349" fmla="*/ 347711 w 768492"/>
                <a:gd name="connsiteY349" fmla="*/ 561881 h 718099"/>
                <a:gd name="connsiteX350" fmla="*/ 350231 w 768492"/>
                <a:gd name="connsiteY350" fmla="*/ 565661 h 718099"/>
                <a:gd name="connsiteX351" fmla="*/ 350231 w 768492"/>
                <a:gd name="connsiteY351" fmla="*/ 565661 h 718099"/>
                <a:gd name="connsiteX352" fmla="*/ 354010 w 768492"/>
                <a:gd name="connsiteY352" fmla="*/ 571960 h 718099"/>
                <a:gd name="connsiteX353" fmla="*/ 351491 w 768492"/>
                <a:gd name="connsiteY353" fmla="*/ 568180 h 718099"/>
                <a:gd name="connsiteX354" fmla="*/ 356530 w 768492"/>
                <a:gd name="connsiteY354" fmla="*/ 575739 h 718099"/>
                <a:gd name="connsiteX355" fmla="*/ 356530 w 768492"/>
                <a:gd name="connsiteY355" fmla="*/ 575739 h 718099"/>
                <a:gd name="connsiteX356" fmla="*/ 355270 w 768492"/>
                <a:gd name="connsiteY356" fmla="*/ 573220 h 718099"/>
                <a:gd name="connsiteX357" fmla="*/ 357790 w 768492"/>
                <a:gd name="connsiteY357" fmla="*/ 576999 h 718099"/>
                <a:gd name="connsiteX358" fmla="*/ 359050 w 768492"/>
                <a:gd name="connsiteY358" fmla="*/ 578259 h 718099"/>
                <a:gd name="connsiteX359" fmla="*/ 364089 w 768492"/>
                <a:gd name="connsiteY359" fmla="*/ 587078 h 718099"/>
                <a:gd name="connsiteX360" fmla="*/ 364089 w 768492"/>
                <a:gd name="connsiteY360" fmla="*/ 587078 h 718099"/>
                <a:gd name="connsiteX361" fmla="*/ 366609 w 768492"/>
                <a:gd name="connsiteY361" fmla="*/ 592117 h 718099"/>
                <a:gd name="connsiteX362" fmla="*/ 366609 w 768492"/>
                <a:gd name="connsiteY362" fmla="*/ 592117 h 718099"/>
                <a:gd name="connsiteX363" fmla="*/ 366609 w 768492"/>
                <a:gd name="connsiteY363" fmla="*/ 592117 h 718099"/>
                <a:gd name="connsiteX364" fmla="*/ 367868 w 768492"/>
                <a:gd name="connsiteY364" fmla="*/ 594637 h 718099"/>
                <a:gd name="connsiteX365" fmla="*/ 374167 w 768492"/>
                <a:gd name="connsiteY365" fmla="*/ 608495 h 718099"/>
                <a:gd name="connsiteX366" fmla="*/ 374167 w 768492"/>
                <a:gd name="connsiteY366" fmla="*/ 609754 h 718099"/>
                <a:gd name="connsiteX367" fmla="*/ 374167 w 768492"/>
                <a:gd name="connsiteY367" fmla="*/ 609754 h 718099"/>
                <a:gd name="connsiteX368" fmla="*/ 374167 w 768492"/>
                <a:gd name="connsiteY368" fmla="*/ 609754 h 718099"/>
                <a:gd name="connsiteX369" fmla="*/ 376687 w 768492"/>
                <a:gd name="connsiteY369" fmla="*/ 618573 h 718099"/>
                <a:gd name="connsiteX370" fmla="*/ 376687 w 768492"/>
                <a:gd name="connsiteY370" fmla="*/ 619833 h 718099"/>
                <a:gd name="connsiteX371" fmla="*/ 379207 w 768492"/>
                <a:gd name="connsiteY371" fmla="*/ 627392 h 718099"/>
                <a:gd name="connsiteX372" fmla="*/ 379207 w 768492"/>
                <a:gd name="connsiteY372" fmla="*/ 632431 h 718099"/>
                <a:gd name="connsiteX373" fmla="*/ 379207 w 768492"/>
                <a:gd name="connsiteY373" fmla="*/ 634951 h 718099"/>
                <a:gd name="connsiteX374" fmla="*/ 379207 w 768492"/>
                <a:gd name="connsiteY374" fmla="*/ 637471 h 718099"/>
                <a:gd name="connsiteX375" fmla="*/ 379207 w 768492"/>
                <a:gd name="connsiteY375" fmla="*/ 642510 h 718099"/>
                <a:gd name="connsiteX376" fmla="*/ 379207 w 768492"/>
                <a:gd name="connsiteY376" fmla="*/ 642510 h 718099"/>
                <a:gd name="connsiteX377" fmla="*/ 379207 w 768492"/>
                <a:gd name="connsiteY377" fmla="*/ 642510 h 718099"/>
                <a:gd name="connsiteX378" fmla="*/ 379207 w 768492"/>
                <a:gd name="connsiteY378" fmla="*/ 642510 h 718099"/>
                <a:gd name="connsiteX379" fmla="*/ 379207 w 768492"/>
                <a:gd name="connsiteY379" fmla="*/ 645030 h 718099"/>
                <a:gd name="connsiteX380" fmla="*/ 379207 w 768492"/>
                <a:gd name="connsiteY380" fmla="*/ 651329 h 718099"/>
                <a:gd name="connsiteX381" fmla="*/ 379207 w 768492"/>
                <a:gd name="connsiteY381" fmla="*/ 652588 h 718099"/>
                <a:gd name="connsiteX382" fmla="*/ 377947 w 768492"/>
                <a:gd name="connsiteY382" fmla="*/ 660147 h 718099"/>
                <a:gd name="connsiteX383" fmla="*/ 374167 w 768492"/>
                <a:gd name="connsiteY383" fmla="*/ 677785 h 718099"/>
                <a:gd name="connsiteX384" fmla="*/ 374167 w 768492"/>
                <a:gd name="connsiteY384" fmla="*/ 677785 h 718099"/>
                <a:gd name="connsiteX385" fmla="*/ 374167 w 768492"/>
                <a:gd name="connsiteY385" fmla="*/ 679045 h 718099"/>
                <a:gd name="connsiteX386" fmla="*/ 374167 w 768492"/>
                <a:gd name="connsiteY386" fmla="*/ 679045 h 718099"/>
                <a:gd name="connsiteX387" fmla="*/ 371648 w 768492"/>
                <a:gd name="connsiteY387" fmla="*/ 687863 h 718099"/>
                <a:gd name="connsiteX388" fmla="*/ 372908 w 768492"/>
                <a:gd name="connsiteY388" fmla="*/ 682824 h 718099"/>
                <a:gd name="connsiteX389" fmla="*/ 370388 w 768492"/>
                <a:gd name="connsiteY389" fmla="*/ 689123 h 718099"/>
                <a:gd name="connsiteX390" fmla="*/ 369128 w 768492"/>
                <a:gd name="connsiteY390" fmla="*/ 691643 h 718099"/>
                <a:gd name="connsiteX391" fmla="*/ 366609 w 768492"/>
                <a:gd name="connsiteY391" fmla="*/ 696682 h 718099"/>
                <a:gd name="connsiteX392" fmla="*/ 365349 w 768492"/>
                <a:gd name="connsiteY392" fmla="*/ 699202 h 718099"/>
                <a:gd name="connsiteX393" fmla="*/ 364089 w 768492"/>
                <a:gd name="connsiteY393" fmla="*/ 701722 h 718099"/>
                <a:gd name="connsiteX394" fmla="*/ 365349 w 768492"/>
                <a:gd name="connsiteY394" fmla="*/ 699202 h 718099"/>
                <a:gd name="connsiteX395" fmla="*/ 364089 w 768492"/>
                <a:gd name="connsiteY395" fmla="*/ 701722 h 718099"/>
                <a:gd name="connsiteX396" fmla="*/ 364089 w 768492"/>
                <a:gd name="connsiteY396" fmla="*/ 701722 h 718099"/>
                <a:gd name="connsiteX397" fmla="*/ 364089 w 768492"/>
                <a:gd name="connsiteY397" fmla="*/ 701722 h 718099"/>
                <a:gd name="connsiteX398" fmla="*/ 362829 w 768492"/>
                <a:gd name="connsiteY398" fmla="*/ 702981 h 718099"/>
                <a:gd name="connsiteX399" fmla="*/ 362829 w 768492"/>
                <a:gd name="connsiteY399" fmla="*/ 704241 h 718099"/>
                <a:gd name="connsiteX400" fmla="*/ 356530 w 768492"/>
                <a:gd name="connsiteY400" fmla="*/ 710540 h 718099"/>
                <a:gd name="connsiteX401" fmla="*/ 356530 w 768492"/>
                <a:gd name="connsiteY401" fmla="*/ 710540 h 718099"/>
                <a:gd name="connsiteX402" fmla="*/ 355270 w 768492"/>
                <a:gd name="connsiteY402" fmla="*/ 711800 h 718099"/>
                <a:gd name="connsiteX403" fmla="*/ 355270 w 768492"/>
                <a:gd name="connsiteY403" fmla="*/ 711800 h 718099"/>
                <a:gd name="connsiteX404" fmla="*/ 355270 w 768492"/>
                <a:gd name="connsiteY404" fmla="*/ 711800 h 718099"/>
                <a:gd name="connsiteX405" fmla="*/ 352751 w 768492"/>
                <a:gd name="connsiteY405" fmla="*/ 713060 h 718099"/>
                <a:gd name="connsiteX406" fmla="*/ 347711 w 768492"/>
                <a:gd name="connsiteY406" fmla="*/ 715580 h 718099"/>
                <a:gd name="connsiteX407" fmla="*/ 346451 w 768492"/>
                <a:gd name="connsiteY407" fmla="*/ 715580 h 718099"/>
                <a:gd name="connsiteX408" fmla="*/ 346451 w 768492"/>
                <a:gd name="connsiteY408" fmla="*/ 715580 h 718099"/>
                <a:gd name="connsiteX409" fmla="*/ 346451 w 768492"/>
                <a:gd name="connsiteY409" fmla="*/ 715580 h 718099"/>
                <a:gd name="connsiteX410" fmla="*/ 346451 w 768492"/>
                <a:gd name="connsiteY410" fmla="*/ 715580 h 718099"/>
                <a:gd name="connsiteX411" fmla="*/ 342672 w 768492"/>
                <a:gd name="connsiteY411" fmla="*/ 716839 h 718099"/>
                <a:gd name="connsiteX412" fmla="*/ 335113 w 768492"/>
                <a:gd name="connsiteY412" fmla="*/ 720619 h 718099"/>
                <a:gd name="connsiteX413" fmla="*/ 335113 w 768492"/>
                <a:gd name="connsiteY413" fmla="*/ 720619 h 718099"/>
                <a:gd name="connsiteX414" fmla="*/ 325034 w 768492"/>
                <a:gd name="connsiteY414" fmla="*/ 723139 h 718099"/>
                <a:gd name="connsiteX415" fmla="*/ 325034 w 768492"/>
                <a:gd name="connsiteY415" fmla="*/ 723139 h 718099"/>
                <a:gd name="connsiteX416" fmla="*/ 325034 w 768492"/>
                <a:gd name="connsiteY416" fmla="*/ 723139 h 718099"/>
                <a:gd name="connsiteX417" fmla="*/ 325034 w 768492"/>
                <a:gd name="connsiteY417" fmla="*/ 723139 h 718099"/>
                <a:gd name="connsiteX418" fmla="*/ 325034 w 768492"/>
                <a:gd name="connsiteY418" fmla="*/ 723139 h 718099"/>
                <a:gd name="connsiteX419" fmla="*/ 325034 w 768492"/>
                <a:gd name="connsiteY419" fmla="*/ 723139 h 718099"/>
                <a:gd name="connsiteX420" fmla="*/ 325034 w 768492"/>
                <a:gd name="connsiteY420" fmla="*/ 723139 h 718099"/>
                <a:gd name="connsiteX421" fmla="*/ 325034 w 768492"/>
                <a:gd name="connsiteY421" fmla="*/ 723139 h 718099"/>
                <a:gd name="connsiteX422" fmla="*/ 327554 w 768492"/>
                <a:gd name="connsiteY422" fmla="*/ 723139 h 718099"/>
                <a:gd name="connsiteX423" fmla="*/ 328814 w 768492"/>
                <a:gd name="connsiteY423" fmla="*/ 723139 h 718099"/>
                <a:gd name="connsiteX424" fmla="*/ 332593 w 768492"/>
                <a:gd name="connsiteY424" fmla="*/ 723139 h 718099"/>
                <a:gd name="connsiteX425" fmla="*/ 337633 w 768492"/>
                <a:gd name="connsiteY425" fmla="*/ 723139 h 718099"/>
                <a:gd name="connsiteX426" fmla="*/ 359050 w 768492"/>
                <a:gd name="connsiteY426" fmla="*/ 724398 h 718099"/>
                <a:gd name="connsiteX427" fmla="*/ 389286 w 768492"/>
                <a:gd name="connsiteY427" fmla="*/ 724398 h 718099"/>
                <a:gd name="connsiteX428" fmla="*/ 398104 w 768492"/>
                <a:gd name="connsiteY428" fmla="*/ 724398 h 718099"/>
                <a:gd name="connsiteX429" fmla="*/ 400624 w 768492"/>
                <a:gd name="connsiteY429" fmla="*/ 724398 h 718099"/>
                <a:gd name="connsiteX430" fmla="*/ 400624 w 768492"/>
                <a:gd name="connsiteY430" fmla="*/ 724398 h 718099"/>
                <a:gd name="connsiteX431" fmla="*/ 406923 w 768492"/>
                <a:gd name="connsiteY431" fmla="*/ 724398 h 718099"/>
                <a:gd name="connsiteX432" fmla="*/ 409443 w 768492"/>
                <a:gd name="connsiteY432" fmla="*/ 724398 h 718099"/>
                <a:gd name="connsiteX433" fmla="*/ 417002 w 768492"/>
                <a:gd name="connsiteY433" fmla="*/ 724398 h 718099"/>
                <a:gd name="connsiteX434" fmla="*/ 420781 w 768492"/>
                <a:gd name="connsiteY434" fmla="*/ 724398 h 718099"/>
                <a:gd name="connsiteX435" fmla="*/ 422041 w 768492"/>
                <a:gd name="connsiteY435" fmla="*/ 724398 h 718099"/>
                <a:gd name="connsiteX436" fmla="*/ 422041 w 768492"/>
                <a:gd name="connsiteY436" fmla="*/ 724398 h 718099"/>
                <a:gd name="connsiteX437" fmla="*/ 435899 w 768492"/>
                <a:gd name="connsiteY437" fmla="*/ 724398 h 718099"/>
                <a:gd name="connsiteX438" fmla="*/ 443458 w 768492"/>
                <a:gd name="connsiteY438" fmla="*/ 724398 h 718099"/>
                <a:gd name="connsiteX439" fmla="*/ 454796 w 768492"/>
                <a:gd name="connsiteY439" fmla="*/ 724398 h 718099"/>
                <a:gd name="connsiteX440" fmla="*/ 459835 w 768492"/>
                <a:gd name="connsiteY440" fmla="*/ 724398 h 718099"/>
                <a:gd name="connsiteX441" fmla="*/ 461095 w 768492"/>
                <a:gd name="connsiteY441" fmla="*/ 724398 h 718099"/>
                <a:gd name="connsiteX442" fmla="*/ 474953 w 768492"/>
                <a:gd name="connsiteY442" fmla="*/ 724398 h 718099"/>
                <a:gd name="connsiteX443" fmla="*/ 482512 w 768492"/>
                <a:gd name="connsiteY443" fmla="*/ 724398 h 718099"/>
                <a:gd name="connsiteX444" fmla="*/ 483772 w 768492"/>
                <a:gd name="connsiteY444" fmla="*/ 724398 h 718099"/>
                <a:gd name="connsiteX445" fmla="*/ 495111 w 768492"/>
                <a:gd name="connsiteY445" fmla="*/ 724398 h 718099"/>
                <a:gd name="connsiteX446" fmla="*/ 515268 w 768492"/>
                <a:gd name="connsiteY446" fmla="*/ 723139 h 718099"/>
                <a:gd name="connsiteX447" fmla="*/ 517787 w 768492"/>
                <a:gd name="connsiteY447" fmla="*/ 723139 h 718099"/>
                <a:gd name="connsiteX448" fmla="*/ 517787 w 768492"/>
                <a:gd name="connsiteY448" fmla="*/ 723139 h 718099"/>
                <a:gd name="connsiteX449" fmla="*/ 527866 w 768492"/>
                <a:gd name="connsiteY449" fmla="*/ 721879 h 718099"/>
                <a:gd name="connsiteX450" fmla="*/ 527866 w 768492"/>
                <a:gd name="connsiteY450" fmla="*/ 721879 h 718099"/>
                <a:gd name="connsiteX451" fmla="*/ 535425 w 768492"/>
                <a:gd name="connsiteY451" fmla="*/ 720619 h 718099"/>
                <a:gd name="connsiteX452" fmla="*/ 537945 w 768492"/>
                <a:gd name="connsiteY452" fmla="*/ 720619 h 718099"/>
                <a:gd name="connsiteX453" fmla="*/ 537945 w 768492"/>
                <a:gd name="connsiteY453" fmla="*/ 720619 h 718099"/>
                <a:gd name="connsiteX454" fmla="*/ 546763 w 768492"/>
                <a:gd name="connsiteY454" fmla="*/ 720619 h 718099"/>
                <a:gd name="connsiteX455" fmla="*/ 554322 w 768492"/>
                <a:gd name="connsiteY455" fmla="*/ 720619 h 718099"/>
                <a:gd name="connsiteX456" fmla="*/ 556842 w 768492"/>
                <a:gd name="connsiteY456" fmla="*/ 720619 h 718099"/>
                <a:gd name="connsiteX457" fmla="*/ 560621 w 768492"/>
                <a:gd name="connsiteY457" fmla="*/ 720619 h 718099"/>
                <a:gd name="connsiteX458" fmla="*/ 560621 w 768492"/>
                <a:gd name="connsiteY458" fmla="*/ 720619 h 718099"/>
                <a:gd name="connsiteX459" fmla="*/ 560621 w 768492"/>
                <a:gd name="connsiteY459" fmla="*/ 720619 h 718099"/>
                <a:gd name="connsiteX460" fmla="*/ 561881 w 768492"/>
                <a:gd name="connsiteY460" fmla="*/ 720619 h 718099"/>
                <a:gd name="connsiteX461" fmla="*/ 565661 w 768492"/>
                <a:gd name="connsiteY461" fmla="*/ 720619 h 718099"/>
                <a:gd name="connsiteX462" fmla="*/ 571960 w 768492"/>
                <a:gd name="connsiteY462" fmla="*/ 720619 h 718099"/>
                <a:gd name="connsiteX463" fmla="*/ 574480 w 768492"/>
                <a:gd name="connsiteY463" fmla="*/ 720619 h 718099"/>
                <a:gd name="connsiteX464" fmla="*/ 574480 w 768492"/>
                <a:gd name="connsiteY464" fmla="*/ 720619 h 718099"/>
                <a:gd name="connsiteX465" fmla="*/ 575739 w 768492"/>
                <a:gd name="connsiteY465" fmla="*/ 720619 h 718099"/>
                <a:gd name="connsiteX466" fmla="*/ 587078 w 768492"/>
                <a:gd name="connsiteY466" fmla="*/ 720619 h 718099"/>
                <a:gd name="connsiteX467" fmla="*/ 592117 w 768492"/>
                <a:gd name="connsiteY467" fmla="*/ 720619 h 718099"/>
                <a:gd name="connsiteX468" fmla="*/ 597156 w 768492"/>
                <a:gd name="connsiteY468" fmla="*/ 720619 h 718099"/>
                <a:gd name="connsiteX469" fmla="*/ 598416 w 768492"/>
                <a:gd name="connsiteY469" fmla="*/ 720619 h 718099"/>
                <a:gd name="connsiteX470" fmla="*/ 599676 w 768492"/>
                <a:gd name="connsiteY470" fmla="*/ 720619 h 718099"/>
                <a:gd name="connsiteX471" fmla="*/ 605975 w 768492"/>
                <a:gd name="connsiteY471" fmla="*/ 720619 h 718099"/>
                <a:gd name="connsiteX472" fmla="*/ 605975 w 768492"/>
                <a:gd name="connsiteY472" fmla="*/ 720619 h 718099"/>
                <a:gd name="connsiteX473" fmla="*/ 605975 w 768492"/>
                <a:gd name="connsiteY473" fmla="*/ 720619 h 718099"/>
                <a:gd name="connsiteX474" fmla="*/ 637471 w 768492"/>
                <a:gd name="connsiteY474" fmla="*/ 723139 h 718099"/>
                <a:gd name="connsiteX475" fmla="*/ 656368 w 768492"/>
                <a:gd name="connsiteY475" fmla="*/ 723139 h 718099"/>
                <a:gd name="connsiteX476" fmla="*/ 657628 w 768492"/>
                <a:gd name="connsiteY476" fmla="*/ 723139 h 718099"/>
                <a:gd name="connsiteX477" fmla="*/ 660148 w 768492"/>
                <a:gd name="connsiteY477" fmla="*/ 723139 h 718099"/>
                <a:gd name="connsiteX478" fmla="*/ 661407 w 768492"/>
                <a:gd name="connsiteY478" fmla="*/ 723139 h 718099"/>
                <a:gd name="connsiteX479" fmla="*/ 666447 w 768492"/>
                <a:gd name="connsiteY479" fmla="*/ 723139 h 718099"/>
                <a:gd name="connsiteX480" fmla="*/ 670226 w 768492"/>
                <a:gd name="connsiteY480" fmla="*/ 723139 h 718099"/>
                <a:gd name="connsiteX481" fmla="*/ 670226 w 768492"/>
                <a:gd name="connsiteY481" fmla="*/ 723139 h 718099"/>
                <a:gd name="connsiteX482" fmla="*/ 674005 w 768492"/>
                <a:gd name="connsiteY482" fmla="*/ 723139 h 718099"/>
                <a:gd name="connsiteX483" fmla="*/ 674005 w 768492"/>
                <a:gd name="connsiteY483" fmla="*/ 723139 h 718099"/>
                <a:gd name="connsiteX484" fmla="*/ 677785 w 768492"/>
                <a:gd name="connsiteY484" fmla="*/ 721879 h 718099"/>
                <a:gd name="connsiteX485" fmla="*/ 680305 w 768492"/>
                <a:gd name="connsiteY485" fmla="*/ 720619 h 718099"/>
                <a:gd name="connsiteX486" fmla="*/ 680305 w 768492"/>
                <a:gd name="connsiteY486" fmla="*/ 720619 h 718099"/>
                <a:gd name="connsiteX487" fmla="*/ 681564 w 768492"/>
                <a:gd name="connsiteY487" fmla="*/ 719359 h 718099"/>
                <a:gd name="connsiteX488" fmla="*/ 681564 w 768492"/>
                <a:gd name="connsiteY488" fmla="*/ 719359 h 718099"/>
                <a:gd name="connsiteX489" fmla="*/ 682824 w 768492"/>
                <a:gd name="connsiteY489" fmla="*/ 718099 h 718099"/>
                <a:gd name="connsiteX490" fmla="*/ 684084 w 768492"/>
                <a:gd name="connsiteY490" fmla="*/ 713060 h 718099"/>
                <a:gd name="connsiteX491" fmla="*/ 684084 w 768492"/>
                <a:gd name="connsiteY491" fmla="*/ 708021 h 718099"/>
                <a:gd name="connsiteX492" fmla="*/ 685344 w 768492"/>
                <a:gd name="connsiteY492" fmla="*/ 702981 h 718099"/>
                <a:gd name="connsiteX493" fmla="*/ 685344 w 768492"/>
                <a:gd name="connsiteY493" fmla="*/ 702981 h 718099"/>
                <a:gd name="connsiteX494" fmla="*/ 685344 w 768492"/>
                <a:gd name="connsiteY494" fmla="*/ 697942 h 718099"/>
                <a:gd name="connsiteX495" fmla="*/ 685344 w 768492"/>
                <a:gd name="connsiteY495" fmla="*/ 697942 h 718099"/>
                <a:gd name="connsiteX496" fmla="*/ 685344 w 768492"/>
                <a:gd name="connsiteY496" fmla="*/ 697942 h 718099"/>
                <a:gd name="connsiteX497" fmla="*/ 685344 w 768492"/>
                <a:gd name="connsiteY497" fmla="*/ 694163 h 718099"/>
                <a:gd name="connsiteX498" fmla="*/ 685344 w 768492"/>
                <a:gd name="connsiteY498" fmla="*/ 689123 h 718099"/>
                <a:gd name="connsiteX499" fmla="*/ 685344 w 768492"/>
                <a:gd name="connsiteY499" fmla="*/ 689123 h 718099"/>
                <a:gd name="connsiteX500" fmla="*/ 685344 w 768492"/>
                <a:gd name="connsiteY500" fmla="*/ 682824 h 718099"/>
                <a:gd name="connsiteX501" fmla="*/ 685344 w 768492"/>
                <a:gd name="connsiteY501" fmla="*/ 681564 h 718099"/>
                <a:gd name="connsiteX502" fmla="*/ 685344 w 768492"/>
                <a:gd name="connsiteY502" fmla="*/ 680305 h 718099"/>
                <a:gd name="connsiteX503" fmla="*/ 685344 w 768492"/>
                <a:gd name="connsiteY503" fmla="*/ 671486 h 718099"/>
                <a:gd name="connsiteX504" fmla="*/ 685344 w 768492"/>
                <a:gd name="connsiteY504" fmla="*/ 660147 h 718099"/>
                <a:gd name="connsiteX505" fmla="*/ 685344 w 768492"/>
                <a:gd name="connsiteY505" fmla="*/ 658887 h 718099"/>
                <a:gd name="connsiteX506" fmla="*/ 685344 w 768492"/>
                <a:gd name="connsiteY506" fmla="*/ 651329 h 718099"/>
                <a:gd name="connsiteX507" fmla="*/ 685344 w 768492"/>
                <a:gd name="connsiteY507" fmla="*/ 648809 h 718099"/>
                <a:gd name="connsiteX508" fmla="*/ 685344 w 768492"/>
                <a:gd name="connsiteY508" fmla="*/ 647549 h 718099"/>
                <a:gd name="connsiteX509" fmla="*/ 685344 w 768492"/>
                <a:gd name="connsiteY509" fmla="*/ 642510 h 718099"/>
                <a:gd name="connsiteX510" fmla="*/ 685344 w 768492"/>
                <a:gd name="connsiteY510" fmla="*/ 641250 h 718099"/>
                <a:gd name="connsiteX511" fmla="*/ 685344 w 768492"/>
                <a:gd name="connsiteY511" fmla="*/ 632431 h 718099"/>
                <a:gd name="connsiteX512" fmla="*/ 685344 w 768492"/>
                <a:gd name="connsiteY512" fmla="*/ 612274 h 718099"/>
                <a:gd name="connsiteX513" fmla="*/ 685344 w 768492"/>
                <a:gd name="connsiteY513" fmla="*/ 597156 h 718099"/>
                <a:gd name="connsiteX514" fmla="*/ 684084 w 768492"/>
                <a:gd name="connsiteY514" fmla="*/ 595896 h 718099"/>
                <a:gd name="connsiteX515" fmla="*/ 684084 w 768492"/>
                <a:gd name="connsiteY515" fmla="*/ 595896 h 718099"/>
                <a:gd name="connsiteX516" fmla="*/ 681564 w 768492"/>
                <a:gd name="connsiteY516" fmla="*/ 593377 h 718099"/>
                <a:gd name="connsiteX517" fmla="*/ 680305 w 768492"/>
                <a:gd name="connsiteY517" fmla="*/ 592117 h 718099"/>
                <a:gd name="connsiteX518" fmla="*/ 676525 w 768492"/>
                <a:gd name="connsiteY518" fmla="*/ 588337 h 718099"/>
                <a:gd name="connsiteX519" fmla="*/ 665187 w 768492"/>
                <a:gd name="connsiteY519" fmla="*/ 575739 h 718099"/>
                <a:gd name="connsiteX520" fmla="*/ 665187 w 768492"/>
                <a:gd name="connsiteY520" fmla="*/ 575739 h 718099"/>
                <a:gd name="connsiteX521" fmla="*/ 662667 w 768492"/>
                <a:gd name="connsiteY521" fmla="*/ 571960 h 718099"/>
                <a:gd name="connsiteX522" fmla="*/ 661407 w 768492"/>
                <a:gd name="connsiteY522" fmla="*/ 570700 h 718099"/>
                <a:gd name="connsiteX523" fmla="*/ 656368 w 768492"/>
                <a:gd name="connsiteY523" fmla="*/ 564401 h 718099"/>
                <a:gd name="connsiteX524" fmla="*/ 651329 w 768492"/>
                <a:gd name="connsiteY524" fmla="*/ 556842 h 718099"/>
                <a:gd name="connsiteX525" fmla="*/ 642510 w 768492"/>
                <a:gd name="connsiteY525" fmla="*/ 544244 h 718099"/>
                <a:gd name="connsiteX526" fmla="*/ 639990 w 768492"/>
                <a:gd name="connsiteY526" fmla="*/ 540464 h 718099"/>
                <a:gd name="connsiteX527" fmla="*/ 627392 w 768492"/>
                <a:gd name="connsiteY527" fmla="*/ 524086 h 718099"/>
                <a:gd name="connsiteX528" fmla="*/ 621093 w 768492"/>
                <a:gd name="connsiteY528" fmla="*/ 515268 h 718099"/>
                <a:gd name="connsiteX529" fmla="*/ 616054 w 768492"/>
                <a:gd name="connsiteY529" fmla="*/ 507709 h 718099"/>
                <a:gd name="connsiteX530" fmla="*/ 609755 w 768492"/>
                <a:gd name="connsiteY530" fmla="*/ 497630 h 718099"/>
                <a:gd name="connsiteX531" fmla="*/ 609755 w 768492"/>
                <a:gd name="connsiteY531" fmla="*/ 497630 h 718099"/>
                <a:gd name="connsiteX532" fmla="*/ 609755 w 768492"/>
                <a:gd name="connsiteY532" fmla="*/ 497630 h 718099"/>
                <a:gd name="connsiteX533" fmla="*/ 604715 w 768492"/>
                <a:gd name="connsiteY533" fmla="*/ 490071 h 718099"/>
                <a:gd name="connsiteX534" fmla="*/ 593377 w 768492"/>
                <a:gd name="connsiteY534" fmla="*/ 472434 h 718099"/>
                <a:gd name="connsiteX535" fmla="*/ 593377 w 768492"/>
                <a:gd name="connsiteY535" fmla="*/ 471174 h 718099"/>
                <a:gd name="connsiteX536" fmla="*/ 592117 w 768492"/>
                <a:gd name="connsiteY536" fmla="*/ 469914 h 718099"/>
                <a:gd name="connsiteX537" fmla="*/ 592117 w 768492"/>
                <a:gd name="connsiteY537" fmla="*/ 469914 h 718099"/>
                <a:gd name="connsiteX538" fmla="*/ 587078 w 768492"/>
                <a:gd name="connsiteY538" fmla="*/ 462355 h 718099"/>
                <a:gd name="connsiteX539" fmla="*/ 582038 w 768492"/>
                <a:gd name="connsiteY539" fmla="*/ 452277 h 718099"/>
                <a:gd name="connsiteX540" fmla="*/ 573220 w 768492"/>
                <a:gd name="connsiteY540" fmla="*/ 433379 h 718099"/>
                <a:gd name="connsiteX541" fmla="*/ 571960 w 768492"/>
                <a:gd name="connsiteY541" fmla="*/ 430860 h 718099"/>
                <a:gd name="connsiteX542" fmla="*/ 568180 w 768492"/>
                <a:gd name="connsiteY542" fmla="*/ 423301 h 718099"/>
                <a:gd name="connsiteX543" fmla="*/ 564401 w 768492"/>
                <a:gd name="connsiteY543" fmla="*/ 415742 h 718099"/>
                <a:gd name="connsiteX544" fmla="*/ 563141 w 768492"/>
                <a:gd name="connsiteY544" fmla="*/ 413222 h 718099"/>
                <a:gd name="connsiteX545" fmla="*/ 558102 w 768492"/>
                <a:gd name="connsiteY545" fmla="*/ 403143 h 718099"/>
                <a:gd name="connsiteX546" fmla="*/ 555582 w 768492"/>
                <a:gd name="connsiteY546" fmla="*/ 396844 h 718099"/>
                <a:gd name="connsiteX547" fmla="*/ 555582 w 768492"/>
                <a:gd name="connsiteY547" fmla="*/ 396844 h 718099"/>
                <a:gd name="connsiteX548" fmla="*/ 554322 w 768492"/>
                <a:gd name="connsiteY548" fmla="*/ 394325 h 718099"/>
                <a:gd name="connsiteX549" fmla="*/ 546763 w 768492"/>
                <a:gd name="connsiteY549" fmla="*/ 374167 h 718099"/>
                <a:gd name="connsiteX550" fmla="*/ 540464 w 768492"/>
                <a:gd name="connsiteY550" fmla="*/ 354010 h 718099"/>
                <a:gd name="connsiteX551" fmla="*/ 537945 w 768492"/>
                <a:gd name="connsiteY551" fmla="*/ 345192 h 718099"/>
                <a:gd name="connsiteX552" fmla="*/ 537945 w 768492"/>
                <a:gd name="connsiteY552" fmla="*/ 343932 h 718099"/>
                <a:gd name="connsiteX553" fmla="*/ 536685 w 768492"/>
                <a:gd name="connsiteY553" fmla="*/ 337633 h 718099"/>
                <a:gd name="connsiteX554" fmla="*/ 536685 w 768492"/>
                <a:gd name="connsiteY554" fmla="*/ 337633 h 718099"/>
                <a:gd name="connsiteX555" fmla="*/ 535425 w 768492"/>
                <a:gd name="connsiteY555" fmla="*/ 335113 h 718099"/>
                <a:gd name="connsiteX556" fmla="*/ 531645 w 768492"/>
                <a:gd name="connsiteY556" fmla="*/ 314956 h 718099"/>
                <a:gd name="connsiteX557" fmla="*/ 531645 w 768492"/>
                <a:gd name="connsiteY557" fmla="*/ 313696 h 718099"/>
                <a:gd name="connsiteX558" fmla="*/ 530386 w 768492"/>
                <a:gd name="connsiteY558" fmla="*/ 308657 h 718099"/>
                <a:gd name="connsiteX559" fmla="*/ 529126 w 768492"/>
                <a:gd name="connsiteY559" fmla="*/ 303617 h 718099"/>
                <a:gd name="connsiteX560" fmla="*/ 527866 w 768492"/>
                <a:gd name="connsiteY560" fmla="*/ 294799 h 718099"/>
                <a:gd name="connsiteX561" fmla="*/ 527866 w 768492"/>
                <a:gd name="connsiteY561" fmla="*/ 293539 h 718099"/>
                <a:gd name="connsiteX562" fmla="*/ 527866 w 768492"/>
                <a:gd name="connsiteY562" fmla="*/ 289759 h 718099"/>
                <a:gd name="connsiteX563" fmla="*/ 527866 w 768492"/>
                <a:gd name="connsiteY563" fmla="*/ 288499 h 718099"/>
                <a:gd name="connsiteX564" fmla="*/ 527866 w 768492"/>
                <a:gd name="connsiteY564" fmla="*/ 287240 h 718099"/>
                <a:gd name="connsiteX565" fmla="*/ 527866 w 768492"/>
                <a:gd name="connsiteY565" fmla="*/ 282200 h 718099"/>
                <a:gd name="connsiteX566" fmla="*/ 527866 w 768492"/>
                <a:gd name="connsiteY566" fmla="*/ 275901 h 718099"/>
                <a:gd name="connsiteX567" fmla="*/ 527866 w 768492"/>
                <a:gd name="connsiteY567" fmla="*/ 272122 h 718099"/>
                <a:gd name="connsiteX568" fmla="*/ 527866 w 768492"/>
                <a:gd name="connsiteY568" fmla="*/ 260783 h 718099"/>
                <a:gd name="connsiteX569" fmla="*/ 527866 w 768492"/>
                <a:gd name="connsiteY569" fmla="*/ 257004 h 718099"/>
                <a:gd name="connsiteX570" fmla="*/ 527866 w 768492"/>
                <a:gd name="connsiteY570" fmla="*/ 255744 h 718099"/>
                <a:gd name="connsiteX571" fmla="*/ 527866 w 768492"/>
                <a:gd name="connsiteY571" fmla="*/ 251965 h 718099"/>
                <a:gd name="connsiteX572" fmla="*/ 527866 w 768492"/>
                <a:gd name="connsiteY572" fmla="*/ 251965 h 718099"/>
                <a:gd name="connsiteX573" fmla="*/ 527866 w 768492"/>
                <a:gd name="connsiteY573" fmla="*/ 249445 h 718099"/>
                <a:gd name="connsiteX574" fmla="*/ 527866 w 768492"/>
                <a:gd name="connsiteY574" fmla="*/ 249445 h 718099"/>
                <a:gd name="connsiteX575" fmla="*/ 527866 w 768492"/>
                <a:gd name="connsiteY575" fmla="*/ 249445 h 718099"/>
                <a:gd name="connsiteX576" fmla="*/ 527866 w 768492"/>
                <a:gd name="connsiteY576" fmla="*/ 249445 h 718099"/>
                <a:gd name="connsiteX577" fmla="*/ 527866 w 768492"/>
                <a:gd name="connsiteY577" fmla="*/ 249445 h 718099"/>
                <a:gd name="connsiteX578" fmla="*/ 527866 w 768492"/>
                <a:gd name="connsiteY578" fmla="*/ 249445 h 718099"/>
                <a:gd name="connsiteX579" fmla="*/ 527866 w 768492"/>
                <a:gd name="connsiteY579" fmla="*/ 249445 h 718099"/>
                <a:gd name="connsiteX580" fmla="*/ 527866 w 768492"/>
                <a:gd name="connsiteY580" fmla="*/ 249445 h 718099"/>
                <a:gd name="connsiteX581" fmla="*/ 527866 w 768492"/>
                <a:gd name="connsiteY581" fmla="*/ 246925 h 718099"/>
                <a:gd name="connsiteX582" fmla="*/ 527866 w 768492"/>
                <a:gd name="connsiteY582" fmla="*/ 245666 h 718099"/>
                <a:gd name="connsiteX583" fmla="*/ 529126 w 768492"/>
                <a:gd name="connsiteY583" fmla="*/ 239366 h 718099"/>
                <a:gd name="connsiteX584" fmla="*/ 531645 w 768492"/>
                <a:gd name="connsiteY584" fmla="*/ 230548 h 718099"/>
                <a:gd name="connsiteX585" fmla="*/ 535425 w 768492"/>
                <a:gd name="connsiteY585" fmla="*/ 221729 h 718099"/>
                <a:gd name="connsiteX586" fmla="*/ 540464 w 768492"/>
                <a:gd name="connsiteY586" fmla="*/ 214170 h 718099"/>
                <a:gd name="connsiteX587" fmla="*/ 540464 w 768492"/>
                <a:gd name="connsiteY587" fmla="*/ 214170 h 718099"/>
                <a:gd name="connsiteX588" fmla="*/ 541724 w 768492"/>
                <a:gd name="connsiteY588" fmla="*/ 211650 h 718099"/>
                <a:gd name="connsiteX589" fmla="*/ 542984 w 768492"/>
                <a:gd name="connsiteY589" fmla="*/ 210390 h 718099"/>
                <a:gd name="connsiteX590" fmla="*/ 542984 w 768492"/>
                <a:gd name="connsiteY590" fmla="*/ 210390 h 718099"/>
                <a:gd name="connsiteX591" fmla="*/ 544244 w 768492"/>
                <a:gd name="connsiteY591" fmla="*/ 209131 h 718099"/>
                <a:gd name="connsiteX592" fmla="*/ 549283 w 768492"/>
                <a:gd name="connsiteY592" fmla="*/ 204091 h 718099"/>
                <a:gd name="connsiteX593" fmla="*/ 555582 w 768492"/>
                <a:gd name="connsiteY593" fmla="*/ 199052 h 718099"/>
                <a:gd name="connsiteX594" fmla="*/ 559362 w 768492"/>
                <a:gd name="connsiteY594" fmla="*/ 197792 h 718099"/>
                <a:gd name="connsiteX595" fmla="*/ 563141 w 768492"/>
                <a:gd name="connsiteY595" fmla="*/ 196532 h 718099"/>
                <a:gd name="connsiteX596" fmla="*/ 575739 w 768492"/>
                <a:gd name="connsiteY596" fmla="*/ 194013 h 718099"/>
                <a:gd name="connsiteX597" fmla="*/ 578259 w 768492"/>
                <a:gd name="connsiteY597" fmla="*/ 194013 h 718099"/>
                <a:gd name="connsiteX598" fmla="*/ 594637 w 768492"/>
                <a:gd name="connsiteY598" fmla="*/ 195273 h 718099"/>
                <a:gd name="connsiteX599" fmla="*/ 595896 w 768492"/>
                <a:gd name="connsiteY599" fmla="*/ 195273 h 718099"/>
                <a:gd name="connsiteX600" fmla="*/ 605975 w 768492"/>
                <a:gd name="connsiteY600" fmla="*/ 197792 h 718099"/>
                <a:gd name="connsiteX601" fmla="*/ 616054 w 768492"/>
                <a:gd name="connsiteY601" fmla="*/ 202831 h 718099"/>
                <a:gd name="connsiteX602" fmla="*/ 616054 w 768492"/>
                <a:gd name="connsiteY602" fmla="*/ 202831 h 718099"/>
                <a:gd name="connsiteX603" fmla="*/ 621093 w 768492"/>
                <a:gd name="connsiteY603" fmla="*/ 206611 h 718099"/>
                <a:gd name="connsiteX604" fmla="*/ 622353 w 768492"/>
                <a:gd name="connsiteY604" fmla="*/ 206611 h 718099"/>
                <a:gd name="connsiteX605" fmla="*/ 624872 w 768492"/>
                <a:gd name="connsiteY605" fmla="*/ 209131 h 718099"/>
                <a:gd name="connsiteX606" fmla="*/ 626132 w 768492"/>
                <a:gd name="connsiteY606" fmla="*/ 210390 h 718099"/>
                <a:gd name="connsiteX607" fmla="*/ 629912 w 768492"/>
                <a:gd name="connsiteY607" fmla="*/ 214170 h 718099"/>
                <a:gd name="connsiteX608" fmla="*/ 632431 w 768492"/>
                <a:gd name="connsiteY608" fmla="*/ 217949 h 718099"/>
                <a:gd name="connsiteX609" fmla="*/ 637471 w 768492"/>
                <a:gd name="connsiteY609" fmla="*/ 228028 h 718099"/>
                <a:gd name="connsiteX610" fmla="*/ 639990 w 768492"/>
                <a:gd name="connsiteY610" fmla="*/ 235587 h 718099"/>
                <a:gd name="connsiteX611" fmla="*/ 639990 w 768492"/>
                <a:gd name="connsiteY611" fmla="*/ 236847 h 718099"/>
                <a:gd name="connsiteX612" fmla="*/ 642510 w 768492"/>
                <a:gd name="connsiteY612" fmla="*/ 246925 h 718099"/>
                <a:gd name="connsiteX613" fmla="*/ 643770 w 768492"/>
                <a:gd name="connsiteY613" fmla="*/ 253224 h 718099"/>
                <a:gd name="connsiteX614" fmla="*/ 643770 w 768492"/>
                <a:gd name="connsiteY614" fmla="*/ 253224 h 718099"/>
                <a:gd name="connsiteX615" fmla="*/ 643770 w 768492"/>
                <a:gd name="connsiteY615" fmla="*/ 257004 h 718099"/>
                <a:gd name="connsiteX616" fmla="*/ 647549 w 768492"/>
                <a:gd name="connsiteY616" fmla="*/ 270862 h 718099"/>
                <a:gd name="connsiteX617" fmla="*/ 648809 w 768492"/>
                <a:gd name="connsiteY617" fmla="*/ 275901 h 718099"/>
                <a:gd name="connsiteX618" fmla="*/ 648809 w 768492"/>
                <a:gd name="connsiteY618" fmla="*/ 275901 h 718099"/>
                <a:gd name="connsiteX619" fmla="*/ 651329 w 768492"/>
                <a:gd name="connsiteY619" fmla="*/ 284720 h 718099"/>
                <a:gd name="connsiteX620" fmla="*/ 655108 w 768492"/>
                <a:gd name="connsiteY620" fmla="*/ 297318 h 718099"/>
                <a:gd name="connsiteX621" fmla="*/ 660148 w 768492"/>
                <a:gd name="connsiteY621" fmla="*/ 311176 h 718099"/>
                <a:gd name="connsiteX622" fmla="*/ 661407 w 768492"/>
                <a:gd name="connsiteY622" fmla="*/ 314956 h 718099"/>
                <a:gd name="connsiteX623" fmla="*/ 665187 w 768492"/>
                <a:gd name="connsiteY623" fmla="*/ 321255 h 718099"/>
                <a:gd name="connsiteX624" fmla="*/ 666447 w 768492"/>
                <a:gd name="connsiteY624" fmla="*/ 325034 h 718099"/>
                <a:gd name="connsiteX625" fmla="*/ 670226 w 768492"/>
                <a:gd name="connsiteY625" fmla="*/ 331333 h 718099"/>
                <a:gd name="connsiteX626" fmla="*/ 681564 w 768492"/>
                <a:gd name="connsiteY626" fmla="*/ 351491 h 718099"/>
                <a:gd name="connsiteX627" fmla="*/ 682824 w 768492"/>
                <a:gd name="connsiteY627" fmla="*/ 354010 h 718099"/>
                <a:gd name="connsiteX628" fmla="*/ 694163 w 768492"/>
                <a:gd name="connsiteY628" fmla="*/ 369128 h 718099"/>
                <a:gd name="connsiteX629" fmla="*/ 695422 w 768492"/>
                <a:gd name="connsiteY629" fmla="*/ 370388 h 718099"/>
                <a:gd name="connsiteX630" fmla="*/ 696682 w 768492"/>
                <a:gd name="connsiteY630" fmla="*/ 372908 h 718099"/>
                <a:gd name="connsiteX631" fmla="*/ 696682 w 768492"/>
                <a:gd name="connsiteY631" fmla="*/ 365349 h 718099"/>
                <a:gd name="connsiteX632" fmla="*/ 696682 w 768492"/>
                <a:gd name="connsiteY632" fmla="*/ 361569 h 718099"/>
                <a:gd name="connsiteX633" fmla="*/ 696682 w 768492"/>
                <a:gd name="connsiteY633" fmla="*/ 357790 h 718099"/>
                <a:gd name="connsiteX634" fmla="*/ 696682 w 768492"/>
                <a:gd name="connsiteY634" fmla="*/ 356530 h 718099"/>
                <a:gd name="connsiteX635" fmla="*/ 696682 w 768492"/>
                <a:gd name="connsiteY635" fmla="*/ 351491 h 718099"/>
                <a:gd name="connsiteX636" fmla="*/ 696682 w 768492"/>
                <a:gd name="connsiteY636" fmla="*/ 351491 h 718099"/>
                <a:gd name="connsiteX637" fmla="*/ 696682 w 768492"/>
                <a:gd name="connsiteY637" fmla="*/ 342672 h 718099"/>
                <a:gd name="connsiteX638" fmla="*/ 696682 w 768492"/>
                <a:gd name="connsiteY638" fmla="*/ 341412 h 718099"/>
                <a:gd name="connsiteX639" fmla="*/ 696682 w 768492"/>
                <a:gd name="connsiteY639" fmla="*/ 341412 h 718099"/>
                <a:gd name="connsiteX640" fmla="*/ 696682 w 768492"/>
                <a:gd name="connsiteY640" fmla="*/ 335113 h 718099"/>
                <a:gd name="connsiteX641" fmla="*/ 696682 w 768492"/>
                <a:gd name="connsiteY641" fmla="*/ 333853 h 718099"/>
                <a:gd name="connsiteX642" fmla="*/ 696682 w 768492"/>
                <a:gd name="connsiteY642" fmla="*/ 331333 h 718099"/>
                <a:gd name="connsiteX643" fmla="*/ 696682 w 768492"/>
                <a:gd name="connsiteY643" fmla="*/ 327554 h 718099"/>
                <a:gd name="connsiteX644" fmla="*/ 696682 w 768492"/>
                <a:gd name="connsiteY644" fmla="*/ 326294 h 718099"/>
                <a:gd name="connsiteX645" fmla="*/ 696682 w 768492"/>
                <a:gd name="connsiteY645" fmla="*/ 321255 h 718099"/>
                <a:gd name="connsiteX646" fmla="*/ 696682 w 768492"/>
                <a:gd name="connsiteY646" fmla="*/ 316216 h 718099"/>
                <a:gd name="connsiteX647" fmla="*/ 696682 w 768492"/>
                <a:gd name="connsiteY647" fmla="*/ 314956 h 718099"/>
                <a:gd name="connsiteX648" fmla="*/ 696682 w 768492"/>
                <a:gd name="connsiteY648" fmla="*/ 313696 h 718099"/>
                <a:gd name="connsiteX649" fmla="*/ 696682 w 768492"/>
                <a:gd name="connsiteY649" fmla="*/ 309916 h 718099"/>
                <a:gd name="connsiteX650" fmla="*/ 696682 w 768492"/>
                <a:gd name="connsiteY650" fmla="*/ 299838 h 718099"/>
                <a:gd name="connsiteX651" fmla="*/ 696682 w 768492"/>
                <a:gd name="connsiteY651" fmla="*/ 296058 h 718099"/>
                <a:gd name="connsiteX652" fmla="*/ 696682 w 768492"/>
                <a:gd name="connsiteY652" fmla="*/ 292279 h 718099"/>
                <a:gd name="connsiteX653" fmla="*/ 696682 w 768492"/>
                <a:gd name="connsiteY653" fmla="*/ 283460 h 718099"/>
                <a:gd name="connsiteX654" fmla="*/ 696682 w 768492"/>
                <a:gd name="connsiteY654" fmla="*/ 274641 h 718099"/>
                <a:gd name="connsiteX655" fmla="*/ 696682 w 768492"/>
                <a:gd name="connsiteY655" fmla="*/ 273382 h 718099"/>
                <a:gd name="connsiteX656" fmla="*/ 696682 w 768492"/>
                <a:gd name="connsiteY656" fmla="*/ 272122 h 718099"/>
                <a:gd name="connsiteX657" fmla="*/ 696682 w 768492"/>
                <a:gd name="connsiteY657" fmla="*/ 269602 h 718099"/>
                <a:gd name="connsiteX658" fmla="*/ 696682 w 768492"/>
                <a:gd name="connsiteY658" fmla="*/ 263303 h 718099"/>
                <a:gd name="connsiteX659" fmla="*/ 696682 w 768492"/>
                <a:gd name="connsiteY659" fmla="*/ 263303 h 718099"/>
                <a:gd name="connsiteX660" fmla="*/ 696682 w 768492"/>
                <a:gd name="connsiteY660" fmla="*/ 259523 h 718099"/>
                <a:gd name="connsiteX661" fmla="*/ 696682 w 768492"/>
                <a:gd name="connsiteY661" fmla="*/ 249445 h 718099"/>
                <a:gd name="connsiteX662" fmla="*/ 696682 w 768492"/>
                <a:gd name="connsiteY662" fmla="*/ 244406 h 718099"/>
                <a:gd name="connsiteX663" fmla="*/ 696682 w 768492"/>
                <a:gd name="connsiteY663" fmla="*/ 240626 h 718099"/>
                <a:gd name="connsiteX664" fmla="*/ 696682 w 768492"/>
                <a:gd name="connsiteY664" fmla="*/ 240626 h 718099"/>
                <a:gd name="connsiteX665" fmla="*/ 696682 w 768492"/>
                <a:gd name="connsiteY665" fmla="*/ 240626 h 718099"/>
                <a:gd name="connsiteX666" fmla="*/ 696682 w 768492"/>
                <a:gd name="connsiteY666" fmla="*/ 235587 h 718099"/>
                <a:gd name="connsiteX667" fmla="*/ 696682 w 768492"/>
                <a:gd name="connsiteY667" fmla="*/ 234327 h 718099"/>
                <a:gd name="connsiteX668" fmla="*/ 696682 w 768492"/>
                <a:gd name="connsiteY668" fmla="*/ 233067 h 718099"/>
                <a:gd name="connsiteX669" fmla="*/ 696682 w 768492"/>
                <a:gd name="connsiteY669" fmla="*/ 233067 h 718099"/>
                <a:gd name="connsiteX670" fmla="*/ 697942 w 768492"/>
                <a:gd name="connsiteY670" fmla="*/ 230548 h 718099"/>
                <a:gd name="connsiteX671" fmla="*/ 697942 w 768492"/>
                <a:gd name="connsiteY671" fmla="*/ 229288 h 718099"/>
                <a:gd name="connsiteX672" fmla="*/ 699202 w 768492"/>
                <a:gd name="connsiteY672" fmla="*/ 225508 h 718099"/>
                <a:gd name="connsiteX673" fmla="*/ 699202 w 768492"/>
                <a:gd name="connsiteY673" fmla="*/ 224248 h 718099"/>
                <a:gd name="connsiteX674" fmla="*/ 700462 w 768492"/>
                <a:gd name="connsiteY674" fmla="*/ 221729 h 718099"/>
                <a:gd name="connsiteX675" fmla="*/ 701722 w 768492"/>
                <a:gd name="connsiteY675" fmla="*/ 221729 h 718099"/>
                <a:gd name="connsiteX676" fmla="*/ 702981 w 768492"/>
                <a:gd name="connsiteY676" fmla="*/ 221729 h 718099"/>
                <a:gd name="connsiteX677" fmla="*/ 702981 w 768492"/>
                <a:gd name="connsiteY677" fmla="*/ 221729 h 718099"/>
                <a:gd name="connsiteX678" fmla="*/ 702981 w 768492"/>
                <a:gd name="connsiteY678" fmla="*/ 221729 h 718099"/>
                <a:gd name="connsiteX679" fmla="*/ 702981 w 768492"/>
                <a:gd name="connsiteY679" fmla="*/ 221729 h 718099"/>
                <a:gd name="connsiteX680" fmla="*/ 702981 w 768492"/>
                <a:gd name="connsiteY680" fmla="*/ 221729 h 718099"/>
                <a:gd name="connsiteX681" fmla="*/ 702981 w 768492"/>
                <a:gd name="connsiteY681" fmla="*/ 221729 h 718099"/>
                <a:gd name="connsiteX682" fmla="*/ 702981 w 768492"/>
                <a:gd name="connsiteY682" fmla="*/ 221729 h 718099"/>
                <a:gd name="connsiteX683" fmla="*/ 702981 w 768492"/>
                <a:gd name="connsiteY683" fmla="*/ 221729 h 718099"/>
                <a:gd name="connsiteX684" fmla="*/ 702981 w 768492"/>
                <a:gd name="connsiteY684" fmla="*/ 221729 h 718099"/>
                <a:gd name="connsiteX685" fmla="*/ 702981 w 768492"/>
                <a:gd name="connsiteY685" fmla="*/ 222989 h 718099"/>
                <a:gd name="connsiteX686" fmla="*/ 702981 w 768492"/>
                <a:gd name="connsiteY686" fmla="*/ 222989 h 718099"/>
                <a:gd name="connsiteX687" fmla="*/ 702981 w 768492"/>
                <a:gd name="connsiteY687" fmla="*/ 222989 h 718099"/>
                <a:gd name="connsiteX688" fmla="*/ 704241 w 768492"/>
                <a:gd name="connsiteY688" fmla="*/ 222989 h 718099"/>
                <a:gd name="connsiteX689" fmla="*/ 704241 w 768492"/>
                <a:gd name="connsiteY689" fmla="*/ 222989 h 718099"/>
                <a:gd name="connsiteX690" fmla="*/ 704241 w 768492"/>
                <a:gd name="connsiteY690" fmla="*/ 222989 h 718099"/>
                <a:gd name="connsiteX691" fmla="*/ 706761 w 768492"/>
                <a:gd name="connsiteY691" fmla="*/ 225508 h 718099"/>
                <a:gd name="connsiteX692" fmla="*/ 715580 w 768492"/>
                <a:gd name="connsiteY692" fmla="*/ 244406 h 718099"/>
                <a:gd name="connsiteX693" fmla="*/ 718099 w 768492"/>
                <a:gd name="connsiteY693" fmla="*/ 248185 h 718099"/>
                <a:gd name="connsiteX694" fmla="*/ 719359 w 768492"/>
                <a:gd name="connsiteY694" fmla="*/ 250705 h 718099"/>
                <a:gd name="connsiteX695" fmla="*/ 719359 w 768492"/>
                <a:gd name="connsiteY695" fmla="*/ 250705 h 718099"/>
                <a:gd name="connsiteX696" fmla="*/ 723139 w 768492"/>
                <a:gd name="connsiteY696" fmla="*/ 258264 h 718099"/>
                <a:gd name="connsiteX697" fmla="*/ 724398 w 768492"/>
                <a:gd name="connsiteY697" fmla="*/ 260783 h 718099"/>
                <a:gd name="connsiteX698" fmla="*/ 728178 w 768492"/>
                <a:gd name="connsiteY698" fmla="*/ 267083 h 718099"/>
                <a:gd name="connsiteX699" fmla="*/ 729438 w 768492"/>
                <a:gd name="connsiteY699" fmla="*/ 268342 h 718099"/>
                <a:gd name="connsiteX700" fmla="*/ 733217 w 768492"/>
                <a:gd name="connsiteY700" fmla="*/ 274641 h 718099"/>
                <a:gd name="connsiteX701" fmla="*/ 735737 w 768492"/>
                <a:gd name="connsiteY701" fmla="*/ 278421 h 718099"/>
                <a:gd name="connsiteX702" fmla="*/ 745815 w 768492"/>
                <a:gd name="connsiteY702" fmla="*/ 297318 h 718099"/>
                <a:gd name="connsiteX703" fmla="*/ 748335 w 768492"/>
                <a:gd name="connsiteY703" fmla="*/ 303617 h 718099"/>
                <a:gd name="connsiteX704" fmla="*/ 750855 w 768492"/>
                <a:gd name="connsiteY704" fmla="*/ 308657 h 718099"/>
                <a:gd name="connsiteX705" fmla="*/ 753374 w 768492"/>
                <a:gd name="connsiteY705" fmla="*/ 313696 h 718099"/>
                <a:gd name="connsiteX706" fmla="*/ 755894 w 768492"/>
                <a:gd name="connsiteY706" fmla="*/ 318735 h 718099"/>
                <a:gd name="connsiteX707" fmla="*/ 755894 w 768492"/>
                <a:gd name="connsiteY707" fmla="*/ 318735 h 718099"/>
                <a:gd name="connsiteX708" fmla="*/ 755894 w 768492"/>
                <a:gd name="connsiteY708" fmla="*/ 318735 h 718099"/>
                <a:gd name="connsiteX709" fmla="*/ 758414 w 768492"/>
                <a:gd name="connsiteY709" fmla="*/ 325034 h 718099"/>
                <a:gd name="connsiteX710" fmla="*/ 758414 w 768492"/>
                <a:gd name="connsiteY710" fmla="*/ 325034 h 718099"/>
                <a:gd name="connsiteX711" fmla="*/ 758414 w 768492"/>
                <a:gd name="connsiteY711" fmla="*/ 325034 h 718099"/>
                <a:gd name="connsiteX712" fmla="*/ 758414 w 768492"/>
                <a:gd name="connsiteY712" fmla="*/ 325034 h 718099"/>
                <a:gd name="connsiteX713" fmla="*/ 762193 w 768492"/>
                <a:gd name="connsiteY713" fmla="*/ 332593 h 718099"/>
                <a:gd name="connsiteX714" fmla="*/ 767232 w 768492"/>
                <a:gd name="connsiteY714" fmla="*/ 343932 h 718099"/>
                <a:gd name="connsiteX715" fmla="*/ 771012 w 768492"/>
                <a:gd name="connsiteY715" fmla="*/ 354010 h 718099"/>
                <a:gd name="connsiteX716" fmla="*/ 771012 w 768492"/>
                <a:gd name="connsiteY716" fmla="*/ 355270 h 718099"/>
                <a:gd name="connsiteX717" fmla="*/ 774791 w 768492"/>
                <a:gd name="connsiteY717" fmla="*/ 365349 h 718099"/>
                <a:gd name="connsiteX718" fmla="*/ 776051 w 768492"/>
                <a:gd name="connsiteY718" fmla="*/ 367868 h 718099"/>
                <a:gd name="connsiteX719" fmla="*/ 778571 w 768492"/>
                <a:gd name="connsiteY719" fmla="*/ 372908 h 718099"/>
                <a:gd name="connsiteX720" fmla="*/ 778571 w 768492"/>
                <a:gd name="connsiteY720" fmla="*/ 369128 h 718099"/>
                <a:gd name="connsiteX721" fmla="*/ 778571 w 768492"/>
                <a:gd name="connsiteY721" fmla="*/ 372908 h 718099"/>
                <a:gd name="connsiteX722" fmla="*/ 777311 w 768492"/>
                <a:gd name="connsiteY722" fmla="*/ 367868 h 718099"/>
                <a:gd name="connsiteX723" fmla="*/ 777311 w 768492"/>
                <a:gd name="connsiteY723" fmla="*/ 367868 h 718099"/>
                <a:gd name="connsiteX724" fmla="*/ 777311 w 768492"/>
                <a:gd name="connsiteY724" fmla="*/ 366608 h 718099"/>
                <a:gd name="connsiteX725" fmla="*/ 777311 w 768492"/>
                <a:gd name="connsiteY725" fmla="*/ 366608 h 718099"/>
                <a:gd name="connsiteX726" fmla="*/ 777311 w 768492"/>
                <a:gd name="connsiteY726" fmla="*/ 366608 h 718099"/>
                <a:gd name="connsiteX727" fmla="*/ 777311 w 768492"/>
                <a:gd name="connsiteY727" fmla="*/ 366608 h 718099"/>
                <a:gd name="connsiteX728" fmla="*/ 777311 w 768492"/>
                <a:gd name="connsiteY728" fmla="*/ 366608 h 718099"/>
                <a:gd name="connsiteX729" fmla="*/ 777311 w 768492"/>
                <a:gd name="connsiteY729" fmla="*/ 365349 h 718099"/>
                <a:gd name="connsiteX730" fmla="*/ 777311 w 768492"/>
                <a:gd name="connsiteY730" fmla="*/ 365349 h 718099"/>
                <a:gd name="connsiteX731" fmla="*/ 777311 w 768492"/>
                <a:gd name="connsiteY731" fmla="*/ 365349 h 718099"/>
                <a:gd name="connsiteX732" fmla="*/ 777311 w 768492"/>
                <a:gd name="connsiteY732" fmla="*/ 365349 h 718099"/>
                <a:gd name="connsiteX733" fmla="*/ 777311 w 768492"/>
                <a:gd name="connsiteY733" fmla="*/ 365349 h 718099"/>
                <a:gd name="connsiteX734" fmla="*/ 777311 w 768492"/>
                <a:gd name="connsiteY734" fmla="*/ 362829 h 718099"/>
                <a:gd name="connsiteX735" fmla="*/ 777311 w 768492"/>
                <a:gd name="connsiteY735" fmla="*/ 364089 h 718099"/>
                <a:gd name="connsiteX736" fmla="*/ 776051 w 768492"/>
                <a:gd name="connsiteY736" fmla="*/ 359050 h 718099"/>
                <a:gd name="connsiteX737" fmla="*/ 773532 w 768492"/>
                <a:gd name="connsiteY737" fmla="*/ 346451 h 718099"/>
                <a:gd name="connsiteX738" fmla="*/ 769752 w 768492"/>
                <a:gd name="connsiteY738" fmla="*/ 323775 h 718099"/>
                <a:gd name="connsiteX739" fmla="*/ 769752 w 768492"/>
                <a:gd name="connsiteY739" fmla="*/ 323775 h 718099"/>
                <a:gd name="connsiteX740" fmla="*/ 765973 w 768492"/>
                <a:gd name="connsiteY740" fmla="*/ 299838 h 718099"/>
                <a:gd name="connsiteX741" fmla="*/ 762193 w 768492"/>
                <a:gd name="connsiteY741" fmla="*/ 265823 h 718099"/>
                <a:gd name="connsiteX742" fmla="*/ 762193 w 768492"/>
                <a:gd name="connsiteY742" fmla="*/ 265823 h 718099"/>
                <a:gd name="connsiteX743" fmla="*/ 760933 w 768492"/>
                <a:gd name="connsiteY743" fmla="*/ 262043 h 718099"/>
                <a:gd name="connsiteX744" fmla="*/ 758414 w 768492"/>
                <a:gd name="connsiteY744" fmla="*/ 250705 h 718099"/>
                <a:gd name="connsiteX745" fmla="*/ 754634 w 768492"/>
                <a:gd name="connsiteY745" fmla="*/ 236847 h 718099"/>
                <a:gd name="connsiteX746" fmla="*/ 750855 w 768492"/>
                <a:gd name="connsiteY746" fmla="*/ 225508 h 718099"/>
                <a:gd name="connsiteX747" fmla="*/ 750855 w 768492"/>
                <a:gd name="connsiteY747" fmla="*/ 221729 h 718099"/>
                <a:gd name="connsiteX748" fmla="*/ 750855 w 768492"/>
                <a:gd name="connsiteY748" fmla="*/ 217949 h 718099"/>
                <a:gd name="connsiteX749" fmla="*/ 749595 w 768492"/>
                <a:gd name="connsiteY749" fmla="*/ 202831 h 718099"/>
                <a:gd name="connsiteX750" fmla="*/ 749595 w 768492"/>
                <a:gd name="connsiteY750" fmla="*/ 201572 h 718099"/>
                <a:gd name="connsiteX751" fmla="*/ 748335 w 768492"/>
                <a:gd name="connsiteY751" fmla="*/ 197792 h 718099"/>
                <a:gd name="connsiteX752" fmla="*/ 748335 w 768492"/>
                <a:gd name="connsiteY752" fmla="*/ 197792 h 718099"/>
                <a:gd name="connsiteX753" fmla="*/ 748335 w 768492"/>
                <a:gd name="connsiteY753" fmla="*/ 197792 h 718099"/>
                <a:gd name="connsiteX754" fmla="*/ 743296 w 768492"/>
                <a:gd name="connsiteY754" fmla="*/ 178895 h 718099"/>
                <a:gd name="connsiteX755" fmla="*/ 736997 w 768492"/>
                <a:gd name="connsiteY755" fmla="*/ 158738 h 718099"/>
                <a:gd name="connsiteX756" fmla="*/ 734477 w 768492"/>
                <a:gd name="connsiteY756" fmla="*/ 152439 h 718099"/>
                <a:gd name="connsiteX757" fmla="*/ 729438 w 768492"/>
                <a:gd name="connsiteY757" fmla="*/ 137321 h 718099"/>
                <a:gd name="connsiteX758" fmla="*/ 721879 w 768492"/>
                <a:gd name="connsiteY758" fmla="*/ 118423 h 718099"/>
                <a:gd name="connsiteX759" fmla="*/ 720619 w 768492"/>
                <a:gd name="connsiteY759" fmla="*/ 117163 h 718099"/>
                <a:gd name="connsiteX760" fmla="*/ 718099 w 768492"/>
                <a:gd name="connsiteY760" fmla="*/ 110864 h 718099"/>
                <a:gd name="connsiteX761" fmla="*/ 713060 w 768492"/>
                <a:gd name="connsiteY761" fmla="*/ 99526 h 718099"/>
                <a:gd name="connsiteX762" fmla="*/ 713060 w 768492"/>
                <a:gd name="connsiteY762" fmla="*/ 98266 h 718099"/>
                <a:gd name="connsiteX763" fmla="*/ 702981 w 768492"/>
                <a:gd name="connsiteY763" fmla="*/ 79369 h 718099"/>
                <a:gd name="connsiteX764" fmla="*/ 695422 w 768492"/>
                <a:gd name="connsiteY764" fmla="*/ 70550 h 718099"/>
                <a:gd name="connsiteX765" fmla="*/ 687864 w 768492"/>
                <a:gd name="connsiteY765" fmla="*/ 62991 h 718099"/>
                <a:gd name="connsiteX766" fmla="*/ 686604 w 768492"/>
                <a:gd name="connsiteY766" fmla="*/ 61731 h 718099"/>
                <a:gd name="connsiteX767" fmla="*/ 679045 w 768492"/>
                <a:gd name="connsiteY767" fmla="*/ 54172 h 718099"/>
                <a:gd name="connsiteX768" fmla="*/ 670226 w 768492"/>
                <a:gd name="connsiteY768" fmla="*/ 47873 h 718099"/>
                <a:gd name="connsiteX769" fmla="*/ 660148 w 768492"/>
                <a:gd name="connsiteY769" fmla="*/ 41574 h 718099"/>
                <a:gd name="connsiteX770" fmla="*/ 650069 w 768492"/>
                <a:gd name="connsiteY770" fmla="*/ 36535 h 718099"/>
                <a:gd name="connsiteX771" fmla="*/ 650069 w 768492"/>
                <a:gd name="connsiteY771" fmla="*/ 36535 h 718099"/>
                <a:gd name="connsiteX772" fmla="*/ 641250 w 768492"/>
                <a:gd name="connsiteY772" fmla="*/ 32755 h 718099"/>
                <a:gd name="connsiteX773" fmla="*/ 637471 w 768492"/>
                <a:gd name="connsiteY773" fmla="*/ 31496 h 718099"/>
                <a:gd name="connsiteX774" fmla="*/ 631172 w 768492"/>
                <a:gd name="connsiteY774" fmla="*/ 28976 h 718099"/>
                <a:gd name="connsiteX775" fmla="*/ 628652 w 768492"/>
                <a:gd name="connsiteY775" fmla="*/ 27716 h 718099"/>
                <a:gd name="connsiteX776" fmla="*/ 627392 w 768492"/>
                <a:gd name="connsiteY776" fmla="*/ 27716 h 718099"/>
                <a:gd name="connsiteX777" fmla="*/ 622353 w 768492"/>
                <a:gd name="connsiteY777" fmla="*/ 25196 h 718099"/>
                <a:gd name="connsiteX778" fmla="*/ 609755 w 768492"/>
                <a:gd name="connsiteY778" fmla="*/ 22677 h 718099"/>
                <a:gd name="connsiteX779" fmla="*/ 595896 w 768492"/>
                <a:gd name="connsiteY779" fmla="*/ 18897 h 718099"/>
                <a:gd name="connsiteX780" fmla="*/ 595896 w 768492"/>
                <a:gd name="connsiteY780" fmla="*/ 18897 h 718099"/>
                <a:gd name="connsiteX781" fmla="*/ 590857 w 768492"/>
                <a:gd name="connsiteY781" fmla="*/ 17637 h 718099"/>
                <a:gd name="connsiteX782" fmla="*/ 574480 w 768492"/>
                <a:gd name="connsiteY782" fmla="*/ 12598 h 718099"/>
                <a:gd name="connsiteX783" fmla="*/ 561881 w 768492"/>
                <a:gd name="connsiteY783" fmla="*/ 8819 h 718099"/>
                <a:gd name="connsiteX784" fmla="*/ 551803 w 768492"/>
                <a:gd name="connsiteY784" fmla="*/ 6299 h 718099"/>
                <a:gd name="connsiteX785" fmla="*/ 550543 w 768492"/>
                <a:gd name="connsiteY785" fmla="*/ 6299 h 718099"/>
                <a:gd name="connsiteX786" fmla="*/ 540464 w 768492"/>
                <a:gd name="connsiteY786" fmla="*/ 3779 h 718099"/>
                <a:gd name="connsiteX787" fmla="*/ 534165 w 768492"/>
                <a:gd name="connsiteY787" fmla="*/ 2520 h 718099"/>
                <a:gd name="connsiteX788" fmla="*/ 530386 w 768492"/>
                <a:gd name="connsiteY788" fmla="*/ 1260 h 718099"/>
                <a:gd name="connsiteX789" fmla="*/ 526606 w 768492"/>
                <a:gd name="connsiteY789" fmla="*/ 0 h 718099"/>
                <a:gd name="connsiteX790" fmla="*/ 526606 w 768492"/>
                <a:gd name="connsiteY790" fmla="*/ 0 h 718099"/>
                <a:gd name="connsiteX791" fmla="*/ 526606 w 768492"/>
                <a:gd name="connsiteY791" fmla="*/ 0 h 718099"/>
                <a:gd name="connsiteX792" fmla="*/ 526606 w 768492"/>
                <a:gd name="connsiteY792" fmla="*/ 0 h 718099"/>
                <a:gd name="connsiteX793" fmla="*/ 537945 w 768492"/>
                <a:gd name="connsiteY793" fmla="*/ 16378 h 718099"/>
                <a:gd name="connsiteX794" fmla="*/ 162517 w 768492"/>
                <a:gd name="connsiteY794" fmla="*/ 388025 h 718099"/>
                <a:gd name="connsiteX795" fmla="*/ 162517 w 768492"/>
                <a:gd name="connsiteY795" fmla="*/ 388025 h 718099"/>
                <a:gd name="connsiteX796" fmla="*/ 162517 w 768492"/>
                <a:gd name="connsiteY796" fmla="*/ 388025 h 718099"/>
                <a:gd name="connsiteX797" fmla="*/ 162517 w 768492"/>
                <a:gd name="connsiteY797" fmla="*/ 388025 h 718099"/>
                <a:gd name="connsiteX798" fmla="*/ 354010 w 768492"/>
                <a:gd name="connsiteY798" fmla="*/ 725658 h 718099"/>
                <a:gd name="connsiteX799" fmla="*/ 351491 w 768492"/>
                <a:gd name="connsiteY799" fmla="*/ 726918 h 718099"/>
                <a:gd name="connsiteX800" fmla="*/ 354010 w 768492"/>
                <a:gd name="connsiteY800" fmla="*/ 725658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</a:cxnLst>
              <a:rect l="l" t="t" r="r" b="b"/>
              <a:pathLst>
                <a:path w="768492" h="718099">
                  <a:moveTo>
                    <a:pt x="537945" y="16378"/>
                  </a:moveTo>
                  <a:cubicBezTo>
                    <a:pt x="537945" y="16378"/>
                    <a:pt x="537945" y="16378"/>
                    <a:pt x="537945" y="16378"/>
                  </a:cubicBez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2677"/>
                  </a:cubicBezTo>
                  <a:cubicBezTo>
                    <a:pt x="536685" y="20157"/>
                    <a:pt x="536685" y="18897"/>
                    <a:pt x="537945" y="16378"/>
                  </a:cubicBezTo>
                  <a:lnTo>
                    <a:pt x="537945" y="16378"/>
                  </a:ln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3937"/>
                  </a:cubicBezTo>
                  <a:cubicBezTo>
                    <a:pt x="536685" y="25196"/>
                    <a:pt x="536685" y="25196"/>
                    <a:pt x="536685" y="26456"/>
                  </a:cubicBezTo>
                  <a:cubicBezTo>
                    <a:pt x="536685" y="27716"/>
                    <a:pt x="535425" y="30236"/>
                    <a:pt x="535425" y="31496"/>
                  </a:cubicBezTo>
                  <a:cubicBezTo>
                    <a:pt x="534165" y="32755"/>
                    <a:pt x="534165" y="35275"/>
                    <a:pt x="531645" y="37795"/>
                  </a:cubicBezTo>
                  <a:cubicBezTo>
                    <a:pt x="530386" y="39054"/>
                    <a:pt x="529126" y="41574"/>
                    <a:pt x="526606" y="44094"/>
                  </a:cubicBezTo>
                  <a:cubicBezTo>
                    <a:pt x="524087" y="45354"/>
                    <a:pt x="522827" y="46613"/>
                    <a:pt x="519047" y="49133"/>
                  </a:cubicBezTo>
                  <a:cubicBezTo>
                    <a:pt x="514008" y="51653"/>
                    <a:pt x="510228" y="54172"/>
                    <a:pt x="505189" y="55432"/>
                  </a:cubicBezTo>
                  <a:cubicBezTo>
                    <a:pt x="502670" y="56692"/>
                    <a:pt x="500150" y="57952"/>
                    <a:pt x="496370" y="57952"/>
                  </a:cubicBezTo>
                  <a:cubicBezTo>
                    <a:pt x="492591" y="59212"/>
                    <a:pt x="490071" y="59212"/>
                    <a:pt x="487552" y="59212"/>
                  </a:cubicBezTo>
                  <a:cubicBezTo>
                    <a:pt x="487552" y="59212"/>
                    <a:pt x="486292" y="59212"/>
                    <a:pt x="486292" y="59212"/>
                  </a:cubicBezTo>
                  <a:cubicBezTo>
                    <a:pt x="482512" y="59212"/>
                    <a:pt x="479993" y="59212"/>
                    <a:pt x="476213" y="59212"/>
                  </a:cubicBezTo>
                  <a:cubicBezTo>
                    <a:pt x="472434" y="59212"/>
                    <a:pt x="469914" y="59212"/>
                    <a:pt x="466135" y="57952"/>
                  </a:cubicBezTo>
                  <a:cubicBezTo>
                    <a:pt x="458576" y="56692"/>
                    <a:pt x="452277" y="55432"/>
                    <a:pt x="447237" y="52913"/>
                  </a:cubicBezTo>
                  <a:cubicBezTo>
                    <a:pt x="444718" y="51653"/>
                    <a:pt x="442198" y="50393"/>
                    <a:pt x="440938" y="49133"/>
                  </a:cubicBezTo>
                  <a:lnTo>
                    <a:pt x="439678" y="47873"/>
                  </a:lnTo>
                  <a:cubicBezTo>
                    <a:pt x="435899" y="46613"/>
                    <a:pt x="433379" y="44094"/>
                    <a:pt x="430860" y="42834"/>
                  </a:cubicBezTo>
                  <a:cubicBezTo>
                    <a:pt x="425820" y="39054"/>
                    <a:pt x="420781" y="35275"/>
                    <a:pt x="417002" y="30236"/>
                  </a:cubicBezTo>
                  <a:cubicBezTo>
                    <a:pt x="414482" y="27716"/>
                    <a:pt x="413222" y="26456"/>
                    <a:pt x="411962" y="23937"/>
                  </a:cubicBezTo>
                  <a:cubicBezTo>
                    <a:pt x="410702" y="21417"/>
                    <a:pt x="409443" y="17637"/>
                    <a:pt x="408183" y="15118"/>
                  </a:cubicBezTo>
                  <a:cubicBezTo>
                    <a:pt x="408183" y="13858"/>
                    <a:pt x="406923" y="12598"/>
                    <a:pt x="406923" y="11338"/>
                  </a:cubicBezTo>
                  <a:lnTo>
                    <a:pt x="406923" y="10078"/>
                  </a:lnTo>
                  <a:cubicBezTo>
                    <a:pt x="406923" y="8819"/>
                    <a:pt x="405663" y="7559"/>
                    <a:pt x="406923" y="6299"/>
                  </a:cubicBezTo>
                  <a:cubicBezTo>
                    <a:pt x="406923" y="5039"/>
                    <a:pt x="406923" y="3779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cubicBezTo>
                    <a:pt x="406923" y="2520"/>
                    <a:pt x="406923" y="2520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cubicBezTo>
                    <a:pt x="405663" y="2520"/>
                    <a:pt x="404403" y="3779"/>
                    <a:pt x="403143" y="3779"/>
                  </a:cubicBezTo>
                  <a:lnTo>
                    <a:pt x="403143" y="3779"/>
                  </a:lnTo>
                  <a:lnTo>
                    <a:pt x="401884" y="3779"/>
                  </a:lnTo>
                  <a:cubicBezTo>
                    <a:pt x="400624" y="3779"/>
                    <a:pt x="400624" y="3779"/>
                    <a:pt x="399364" y="3779"/>
                  </a:cubicBezTo>
                  <a:cubicBezTo>
                    <a:pt x="395585" y="5039"/>
                    <a:pt x="391805" y="5039"/>
                    <a:pt x="388026" y="6299"/>
                  </a:cubicBezTo>
                  <a:cubicBezTo>
                    <a:pt x="386766" y="6299"/>
                    <a:pt x="385506" y="7559"/>
                    <a:pt x="382986" y="7559"/>
                  </a:cubicBezTo>
                  <a:lnTo>
                    <a:pt x="381726" y="7559"/>
                  </a:lnTo>
                  <a:lnTo>
                    <a:pt x="380467" y="7559"/>
                  </a:lnTo>
                  <a:lnTo>
                    <a:pt x="379207" y="7559"/>
                  </a:lnTo>
                  <a:cubicBezTo>
                    <a:pt x="376687" y="7559"/>
                    <a:pt x="374167" y="7559"/>
                    <a:pt x="371648" y="8819"/>
                  </a:cubicBezTo>
                  <a:cubicBezTo>
                    <a:pt x="370388" y="8819"/>
                    <a:pt x="369128" y="8819"/>
                    <a:pt x="367868" y="8819"/>
                  </a:cubicBezTo>
                  <a:cubicBezTo>
                    <a:pt x="362829" y="8819"/>
                    <a:pt x="359050" y="10078"/>
                    <a:pt x="354010" y="11338"/>
                  </a:cubicBezTo>
                  <a:cubicBezTo>
                    <a:pt x="350231" y="12598"/>
                    <a:pt x="345192" y="13858"/>
                    <a:pt x="340152" y="15118"/>
                  </a:cubicBezTo>
                  <a:cubicBezTo>
                    <a:pt x="338893" y="15118"/>
                    <a:pt x="338893" y="15118"/>
                    <a:pt x="337633" y="15118"/>
                  </a:cubicBezTo>
                  <a:cubicBezTo>
                    <a:pt x="333853" y="15118"/>
                    <a:pt x="330074" y="16378"/>
                    <a:pt x="326294" y="17637"/>
                  </a:cubicBezTo>
                  <a:cubicBezTo>
                    <a:pt x="318735" y="20157"/>
                    <a:pt x="311176" y="22677"/>
                    <a:pt x="302358" y="26456"/>
                  </a:cubicBezTo>
                  <a:cubicBezTo>
                    <a:pt x="298578" y="27716"/>
                    <a:pt x="293539" y="30236"/>
                    <a:pt x="289759" y="32755"/>
                  </a:cubicBezTo>
                  <a:lnTo>
                    <a:pt x="289759" y="32755"/>
                  </a:lnTo>
                  <a:cubicBezTo>
                    <a:pt x="287240" y="34015"/>
                    <a:pt x="284720" y="35275"/>
                    <a:pt x="282201" y="36535"/>
                  </a:cubicBezTo>
                  <a:cubicBezTo>
                    <a:pt x="274642" y="40314"/>
                    <a:pt x="267083" y="44094"/>
                    <a:pt x="262043" y="46613"/>
                  </a:cubicBezTo>
                  <a:cubicBezTo>
                    <a:pt x="257004" y="49133"/>
                    <a:pt x="254484" y="51653"/>
                    <a:pt x="250705" y="54172"/>
                  </a:cubicBezTo>
                  <a:cubicBezTo>
                    <a:pt x="248185" y="56692"/>
                    <a:pt x="244406" y="59212"/>
                    <a:pt x="241886" y="61731"/>
                  </a:cubicBezTo>
                  <a:cubicBezTo>
                    <a:pt x="236847" y="66770"/>
                    <a:pt x="231808" y="71810"/>
                    <a:pt x="225508" y="76849"/>
                  </a:cubicBezTo>
                  <a:cubicBezTo>
                    <a:pt x="224249" y="79369"/>
                    <a:pt x="221729" y="80629"/>
                    <a:pt x="220469" y="83148"/>
                  </a:cubicBezTo>
                  <a:cubicBezTo>
                    <a:pt x="217949" y="85668"/>
                    <a:pt x="215430" y="86928"/>
                    <a:pt x="212910" y="88188"/>
                  </a:cubicBezTo>
                  <a:cubicBezTo>
                    <a:pt x="210391" y="90707"/>
                    <a:pt x="207871" y="93227"/>
                    <a:pt x="204091" y="95746"/>
                  </a:cubicBezTo>
                  <a:cubicBezTo>
                    <a:pt x="201572" y="98266"/>
                    <a:pt x="200312" y="99526"/>
                    <a:pt x="197792" y="103305"/>
                  </a:cubicBezTo>
                  <a:cubicBezTo>
                    <a:pt x="192753" y="108345"/>
                    <a:pt x="187714" y="113384"/>
                    <a:pt x="183934" y="117163"/>
                  </a:cubicBezTo>
                  <a:cubicBezTo>
                    <a:pt x="182674" y="118423"/>
                    <a:pt x="181415" y="120943"/>
                    <a:pt x="178895" y="122203"/>
                  </a:cubicBezTo>
                  <a:lnTo>
                    <a:pt x="177635" y="123463"/>
                  </a:lnTo>
                  <a:lnTo>
                    <a:pt x="176375" y="124722"/>
                  </a:lnTo>
                  <a:cubicBezTo>
                    <a:pt x="173856" y="127242"/>
                    <a:pt x="171336" y="131022"/>
                    <a:pt x="167557" y="133541"/>
                  </a:cubicBezTo>
                  <a:cubicBezTo>
                    <a:pt x="163777" y="137321"/>
                    <a:pt x="158738" y="141100"/>
                    <a:pt x="154958" y="146139"/>
                  </a:cubicBezTo>
                  <a:cubicBezTo>
                    <a:pt x="153699" y="147399"/>
                    <a:pt x="152439" y="148659"/>
                    <a:pt x="151179" y="149919"/>
                  </a:cubicBezTo>
                  <a:cubicBezTo>
                    <a:pt x="147399" y="153698"/>
                    <a:pt x="144880" y="156218"/>
                    <a:pt x="141100" y="159998"/>
                  </a:cubicBezTo>
                  <a:cubicBezTo>
                    <a:pt x="139840" y="162517"/>
                    <a:pt x="137321" y="163777"/>
                    <a:pt x="136061" y="165037"/>
                  </a:cubicBezTo>
                  <a:cubicBezTo>
                    <a:pt x="132281" y="168816"/>
                    <a:pt x="128502" y="173855"/>
                    <a:pt x="124723" y="177635"/>
                  </a:cubicBezTo>
                  <a:lnTo>
                    <a:pt x="120943" y="181414"/>
                  </a:lnTo>
                  <a:cubicBezTo>
                    <a:pt x="119683" y="182674"/>
                    <a:pt x="117164" y="185194"/>
                    <a:pt x="115904" y="186454"/>
                  </a:cubicBezTo>
                  <a:lnTo>
                    <a:pt x="115904" y="186454"/>
                  </a:lnTo>
                  <a:cubicBezTo>
                    <a:pt x="112124" y="190233"/>
                    <a:pt x="108345" y="194013"/>
                    <a:pt x="105825" y="197792"/>
                  </a:cubicBezTo>
                  <a:cubicBezTo>
                    <a:pt x="102046" y="202831"/>
                    <a:pt x="98266" y="207871"/>
                    <a:pt x="94487" y="212910"/>
                  </a:cubicBezTo>
                  <a:lnTo>
                    <a:pt x="93227" y="214170"/>
                  </a:lnTo>
                  <a:cubicBezTo>
                    <a:pt x="91967" y="215430"/>
                    <a:pt x="91967" y="215430"/>
                    <a:pt x="90707" y="216690"/>
                  </a:cubicBezTo>
                  <a:cubicBezTo>
                    <a:pt x="86928" y="221729"/>
                    <a:pt x="81889" y="228028"/>
                    <a:pt x="78109" y="234327"/>
                  </a:cubicBezTo>
                  <a:lnTo>
                    <a:pt x="76849" y="235587"/>
                  </a:lnTo>
                  <a:cubicBezTo>
                    <a:pt x="74330" y="238107"/>
                    <a:pt x="73070" y="240626"/>
                    <a:pt x="70550" y="244406"/>
                  </a:cubicBezTo>
                  <a:cubicBezTo>
                    <a:pt x="69290" y="245666"/>
                    <a:pt x="68030" y="248185"/>
                    <a:pt x="66771" y="249445"/>
                  </a:cubicBezTo>
                  <a:lnTo>
                    <a:pt x="66771" y="249445"/>
                  </a:lnTo>
                  <a:cubicBezTo>
                    <a:pt x="65511" y="250705"/>
                    <a:pt x="64251" y="251965"/>
                    <a:pt x="64251" y="253224"/>
                  </a:cubicBezTo>
                  <a:cubicBezTo>
                    <a:pt x="60472" y="258264"/>
                    <a:pt x="56692" y="264563"/>
                    <a:pt x="51653" y="270862"/>
                  </a:cubicBezTo>
                  <a:cubicBezTo>
                    <a:pt x="45354" y="280940"/>
                    <a:pt x="37795" y="291019"/>
                    <a:pt x="31496" y="301098"/>
                  </a:cubicBezTo>
                  <a:lnTo>
                    <a:pt x="27716" y="307397"/>
                  </a:lnTo>
                  <a:cubicBezTo>
                    <a:pt x="26456" y="308657"/>
                    <a:pt x="26456" y="309916"/>
                    <a:pt x="25196" y="311176"/>
                  </a:cubicBezTo>
                  <a:cubicBezTo>
                    <a:pt x="22677" y="314956"/>
                    <a:pt x="20157" y="319995"/>
                    <a:pt x="17638" y="325034"/>
                  </a:cubicBezTo>
                  <a:lnTo>
                    <a:pt x="16378" y="327554"/>
                  </a:lnTo>
                  <a:lnTo>
                    <a:pt x="16378" y="327554"/>
                  </a:lnTo>
                  <a:cubicBezTo>
                    <a:pt x="15118" y="328814"/>
                    <a:pt x="13858" y="331333"/>
                    <a:pt x="13858" y="332593"/>
                  </a:cubicBezTo>
                  <a:cubicBezTo>
                    <a:pt x="12598" y="335113"/>
                    <a:pt x="11338" y="338892"/>
                    <a:pt x="10079" y="342672"/>
                  </a:cubicBezTo>
                  <a:lnTo>
                    <a:pt x="10079" y="342672"/>
                  </a:lnTo>
                  <a:cubicBezTo>
                    <a:pt x="8819" y="346451"/>
                    <a:pt x="7559" y="348971"/>
                    <a:pt x="6299" y="351491"/>
                  </a:cubicBezTo>
                  <a:cubicBezTo>
                    <a:pt x="5039" y="355270"/>
                    <a:pt x="3780" y="357790"/>
                    <a:pt x="3780" y="360309"/>
                  </a:cubicBezTo>
                  <a:cubicBezTo>
                    <a:pt x="2520" y="367868"/>
                    <a:pt x="1260" y="374167"/>
                    <a:pt x="0" y="381726"/>
                  </a:cubicBezTo>
                  <a:cubicBezTo>
                    <a:pt x="0" y="389285"/>
                    <a:pt x="1260" y="395584"/>
                    <a:pt x="1260" y="401884"/>
                  </a:cubicBezTo>
                  <a:cubicBezTo>
                    <a:pt x="1260" y="405663"/>
                    <a:pt x="2520" y="409443"/>
                    <a:pt x="3780" y="413222"/>
                  </a:cubicBezTo>
                  <a:cubicBezTo>
                    <a:pt x="5039" y="417001"/>
                    <a:pt x="6299" y="419521"/>
                    <a:pt x="8819" y="423301"/>
                  </a:cubicBezTo>
                  <a:cubicBezTo>
                    <a:pt x="8819" y="424560"/>
                    <a:pt x="10079" y="424560"/>
                    <a:pt x="11338" y="425820"/>
                  </a:cubicBez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1338" y="425820"/>
                    <a:pt x="11338" y="425820"/>
                    <a:pt x="11338" y="425820"/>
                  </a:cubicBezTo>
                  <a:lnTo>
                    <a:pt x="11338" y="425820"/>
                  </a:ln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0079" y="418261"/>
                    <a:pt x="10079" y="411962"/>
                    <a:pt x="10079" y="406923"/>
                  </a:cubicBezTo>
                  <a:cubicBezTo>
                    <a:pt x="10079" y="401884"/>
                    <a:pt x="10079" y="394325"/>
                    <a:pt x="11338" y="388025"/>
                  </a:cubicBezTo>
                  <a:cubicBezTo>
                    <a:pt x="11338" y="385506"/>
                    <a:pt x="12598" y="382986"/>
                    <a:pt x="13858" y="380467"/>
                  </a:cubicBezTo>
                  <a:lnTo>
                    <a:pt x="13858" y="380467"/>
                  </a:lnTo>
                  <a:cubicBezTo>
                    <a:pt x="15118" y="376687"/>
                    <a:pt x="16378" y="374167"/>
                    <a:pt x="17638" y="370388"/>
                  </a:cubicBezTo>
                  <a:cubicBezTo>
                    <a:pt x="18897" y="366608"/>
                    <a:pt x="21417" y="362829"/>
                    <a:pt x="23937" y="359050"/>
                  </a:cubicBezTo>
                  <a:cubicBezTo>
                    <a:pt x="25196" y="357790"/>
                    <a:pt x="26456" y="356530"/>
                    <a:pt x="27716" y="355270"/>
                  </a:cubicBezTo>
                  <a:cubicBezTo>
                    <a:pt x="28976" y="355270"/>
                    <a:pt x="28976" y="354010"/>
                    <a:pt x="30236" y="354010"/>
                  </a:cubicBezTo>
                  <a:cubicBezTo>
                    <a:pt x="30236" y="354010"/>
                    <a:pt x="31496" y="354010"/>
                    <a:pt x="31496" y="352751"/>
                  </a:cubicBezTo>
                  <a:cubicBezTo>
                    <a:pt x="32755" y="352751"/>
                    <a:pt x="34015" y="351491"/>
                    <a:pt x="35275" y="351491"/>
                  </a:cubicBezTo>
                  <a:lnTo>
                    <a:pt x="36535" y="350231"/>
                  </a:lnTo>
                  <a:cubicBezTo>
                    <a:pt x="39055" y="348971"/>
                    <a:pt x="42834" y="347711"/>
                    <a:pt x="45354" y="346451"/>
                  </a:cubicBezTo>
                  <a:cubicBezTo>
                    <a:pt x="47873" y="345192"/>
                    <a:pt x="49133" y="345192"/>
                    <a:pt x="51653" y="345192"/>
                  </a:cubicBezTo>
                  <a:cubicBezTo>
                    <a:pt x="51653" y="345192"/>
                    <a:pt x="51653" y="345192"/>
                    <a:pt x="52913" y="345192"/>
                  </a:cubicBezTo>
                  <a:cubicBezTo>
                    <a:pt x="56692" y="345192"/>
                    <a:pt x="61731" y="345192"/>
                    <a:pt x="65511" y="345192"/>
                  </a:cubicBezTo>
                  <a:cubicBezTo>
                    <a:pt x="70550" y="345192"/>
                    <a:pt x="75589" y="346451"/>
                    <a:pt x="79369" y="346451"/>
                  </a:cubicBezTo>
                  <a:cubicBezTo>
                    <a:pt x="86928" y="347711"/>
                    <a:pt x="94487" y="350231"/>
                    <a:pt x="102046" y="352751"/>
                  </a:cubicBezTo>
                  <a:cubicBezTo>
                    <a:pt x="107085" y="355270"/>
                    <a:pt x="112124" y="356530"/>
                    <a:pt x="115904" y="359050"/>
                  </a:cubicBezTo>
                  <a:cubicBezTo>
                    <a:pt x="117164" y="360309"/>
                    <a:pt x="118423" y="360309"/>
                    <a:pt x="119683" y="361569"/>
                  </a:cubicBezTo>
                  <a:cubicBezTo>
                    <a:pt x="119683" y="361569"/>
                    <a:pt x="119683" y="361569"/>
                    <a:pt x="119683" y="361569"/>
                  </a:cubicBezTo>
                  <a:cubicBezTo>
                    <a:pt x="122203" y="362829"/>
                    <a:pt x="123463" y="364089"/>
                    <a:pt x="125982" y="365349"/>
                  </a:cubicBezTo>
                  <a:cubicBezTo>
                    <a:pt x="127242" y="365349"/>
                    <a:pt x="12850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32281" y="367868"/>
                    <a:pt x="134801" y="369128"/>
                    <a:pt x="138581" y="371648"/>
                  </a:cubicBezTo>
                  <a:cubicBezTo>
                    <a:pt x="139840" y="372908"/>
                    <a:pt x="142360" y="374167"/>
                    <a:pt x="143620" y="375427"/>
                  </a:cubicBezTo>
                  <a:cubicBezTo>
                    <a:pt x="144880" y="376687"/>
                    <a:pt x="147399" y="377947"/>
                    <a:pt x="148659" y="379207"/>
                  </a:cubicBezTo>
                  <a:cubicBezTo>
                    <a:pt x="153699" y="382986"/>
                    <a:pt x="157478" y="385506"/>
                    <a:pt x="161257" y="388025"/>
                  </a:cubicBez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2517" y="388025"/>
                  </a:lnTo>
                  <a:cubicBezTo>
                    <a:pt x="163777" y="389285"/>
                    <a:pt x="165037" y="389285"/>
                    <a:pt x="166297" y="390545"/>
                  </a:cubicBezTo>
                  <a:cubicBezTo>
                    <a:pt x="165037" y="389285"/>
                    <a:pt x="163777" y="389285"/>
                    <a:pt x="162517" y="388025"/>
                  </a:cubicBezTo>
                  <a:cubicBezTo>
                    <a:pt x="163777" y="389285"/>
                    <a:pt x="165037" y="389285"/>
                    <a:pt x="166297" y="390545"/>
                  </a:cubicBez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7557" y="388025"/>
                  </a:lnTo>
                  <a:lnTo>
                    <a:pt x="168816" y="386766"/>
                  </a:lnTo>
                  <a:cubicBezTo>
                    <a:pt x="170076" y="384246"/>
                    <a:pt x="171336" y="382986"/>
                    <a:pt x="173856" y="380467"/>
                  </a:cubicBezTo>
                  <a:cubicBezTo>
                    <a:pt x="178895" y="374167"/>
                    <a:pt x="182674" y="369128"/>
                    <a:pt x="186454" y="362829"/>
                  </a:cubicBezTo>
                  <a:cubicBezTo>
                    <a:pt x="190233" y="357790"/>
                    <a:pt x="194013" y="352751"/>
                    <a:pt x="196533" y="347711"/>
                  </a:cubicBezTo>
                  <a:lnTo>
                    <a:pt x="196533" y="346451"/>
                  </a:lnTo>
                  <a:cubicBezTo>
                    <a:pt x="201572" y="340152"/>
                    <a:pt x="206611" y="332593"/>
                    <a:pt x="210391" y="326294"/>
                  </a:cubicBezTo>
                  <a:cubicBezTo>
                    <a:pt x="212910" y="322515"/>
                    <a:pt x="216690" y="317475"/>
                    <a:pt x="219209" y="313696"/>
                  </a:cubicBezTo>
                  <a:lnTo>
                    <a:pt x="219209" y="313696"/>
                  </a:lnTo>
                  <a:lnTo>
                    <a:pt x="220469" y="312436"/>
                  </a:lnTo>
                  <a:cubicBezTo>
                    <a:pt x="221729" y="311176"/>
                    <a:pt x="222989" y="309916"/>
                    <a:pt x="222989" y="308657"/>
                  </a:cubicBezTo>
                  <a:lnTo>
                    <a:pt x="222989" y="307397"/>
                  </a:lnTo>
                  <a:cubicBezTo>
                    <a:pt x="224249" y="304877"/>
                    <a:pt x="226768" y="302358"/>
                    <a:pt x="228028" y="299838"/>
                  </a:cubicBezTo>
                  <a:cubicBezTo>
                    <a:pt x="230548" y="297318"/>
                    <a:pt x="233067" y="293539"/>
                    <a:pt x="235587" y="291019"/>
                  </a:cubicBezTo>
                  <a:cubicBezTo>
                    <a:pt x="236847" y="288499"/>
                    <a:pt x="239366" y="287240"/>
                    <a:pt x="240626" y="284720"/>
                  </a:cubicBezTo>
                  <a:cubicBezTo>
                    <a:pt x="243146" y="280940"/>
                    <a:pt x="245666" y="278421"/>
                    <a:pt x="248185" y="275901"/>
                  </a:cubicBezTo>
                  <a:cubicBezTo>
                    <a:pt x="250705" y="273382"/>
                    <a:pt x="253225" y="269602"/>
                    <a:pt x="255744" y="265823"/>
                  </a:cubicBezTo>
                  <a:cubicBezTo>
                    <a:pt x="255744" y="26582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3303"/>
                    <a:pt x="258264" y="263303"/>
                    <a:pt x="258264" y="262043"/>
                  </a:cubicBezTo>
                  <a:cubicBezTo>
                    <a:pt x="259524" y="260783"/>
                    <a:pt x="259524" y="259523"/>
                    <a:pt x="260783" y="259523"/>
                  </a:cubicBezTo>
                  <a:cubicBezTo>
                    <a:pt x="260783" y="259523"/>
                    <a:pt x="260783" y="259523"/>
                    <a:pt x="260783" y="259523"/>
                  </a:cubicBezTo>
                  <a:cubicBezTo>
                    <a:pt x="260783" y="259523"/>
                    <a:pt x="262043" y="258264"/>
                    <a:pt x="262043" y="258264"/>
                  </a:cubicBezTo>
                  <a:cubicBezTo>
                    <a:pt x="262043" y="258264"/>
                    <a:pt x="262043" y="258264"/>
                    <a:pt x="262043" y="258264"/>
                  </a:cubicBezTo>
                  <a:cubicBezTo>
                    <a:pt x="263303" y="257004"/>
                    <a:pt x="263303" y="257004"/>
                    <a:pt x="264563" y="255744"/>
                  </a:cubicBezTo>
                  <a:lnTo>
                    <a:pt x="264563" y="255744"/>
                  </a:lnTo>
                  <a:lnTo>
                    <a:pt x="264563" y="255744"/>
                  </a:lnTo>
                  <a:lnTo>
                    <a:pt x="264563" y="254484"/>
                  </a:lnTo>
                  <a:lnTo>
                    <a:pt x="265823" y="253224"/>
                  </a:lnTo>
                  <a:cubicBezTo>
                    <a:pt x="265823" y="253224"/>
                    <a:pt x="267083" y="251965"/>
                    <a:pt x="267083" y="251965"/>
                  </a:cubicBezTo>
                  <a:cubicBezTo>
                    <a:pt x="267083" y="250705"/>
                    <a:pt x="268342" y="250705"/>
                    <a:pt x="268342" y="250705"/>
                  </a:cubicBezTo>
                  <a:cubicBezTo>
                    <a:pt x="268342" y="250705"/>
                    <a:pt x="269602" y="249445"/>
                    <a:pt x="269602" y="249445"/>
                  </a:cubicBezTo>
                  <a:cubicBezTo>
                    <a:pt x="269602" y="248185"/>
                    <a:pt x="270862" y="248185"/>
                    <a:pt x="270862" y="246925"/>
                  </a:cubicBezTo>
                  <a:lnTo>
                    <a:pt x="270862" y="245666"/>
                  </a:lnTo>
                  <a:lnTo>
                    <a:pt x="272122" y="244406"/>
                  </a:lnTo>
                  <a:lnTo>
                    <a:pt x="273382" y="243146"/>
                  </a:lnTo>
                  <a:cubicBezTo>
                    <a:pt x="274642" y="241886"/>
                    <a:pt x="275901" y="240626"/>
                    <a:pt x="275901" y="239366"/>
                  </a:cubicBezTo>
                  <a:cubicBezTo>
                    <a:pt x="275901" y="239366"/>
                    <a:pt x="277161" y="238107"/>
                    <a:pt x="277161" y="238107"/>
                  </a:cubicBezTo>
                  <a:lnTo>
                    <a:pt x="278421" y="236847"/>
                  </a:lnTo>
                  <a:lnTo>
                    <a:pt x="278421" y="236847"/>
                  </a:lnTo>
                  <a:cubicBezTo>
                    <a:pt x="278421" y="236847"/>
                    <a:pt x="278421" y="236847"/>
                    <a:pt x="279681" y="235587"/>
                  </a:cubicBezTo>
                  <a:cubicBezTo>
                    <a:pt x="280941" y="235587"/>
                    <a:pt x="280941" y="234327"/>
                    <a:pt x="282201" y="234327"/>
                  </a:cubicBezTo>
                  <a:cubicBezTo>
                    <a:pt x="283460" y="233067"/>
                    <a:pt x="283460" y="233067"/>
                    <a:pt x="284720" y="231807"/>
                  </a:cubicBezTo>
                  <a:cubicBezTo>
                    <a:pt x="284720" y="231807"/>
                    <a:pt x="284720" y="231807"/>
                    <a:pt x="284720" y="231807"/>
                  </a:cubicBezTo>
                  <a:lnTo>
                    <a:pt x="285980" y="230548"/>
                  </a:lnTo>
                  <a:cubicBezTo>
                    <a:pt x="287240" y="229288"/>
                    <a:pt x="287240" y="229288"/>
                    <a:pt x="288500" y="228028"/>
                  </a:cubicBezTo>
                  <a:cubicBezTo>
                    <a:pt x="289759" y="226768"/>
                    <a:pt x="289759" y="226768"/>
                    <a:pt x="291019" y="225508"/>
                  </a:cubicBez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cubicBezTo>
                    <a:pt x="291019" y="225508"/>
                    <a:pt x="292279" y="224248"/>
                    <a:pt x="292279" y="224248"/>
                  </a:cubicBezTo>
                  <a:cubicBezTo>
                    <a:pt x="292279" y="224248"/>
                    <a:pt x="293539" y="222989"/>
                    <a:pt x="293539" y="222989"/>
                  </a:cubicBezTo>
                  <a:cubicBezTo>
                    <a:pt x="293539" y="222989"/>
                    <a:pt x="293539" y="222989"/>
                    <a:pt x="293539" y="222989"/>
                  </a:cubicBezTo>
                  <a:cubicBezTo>
                    <a:pt x="294799" y="221729"/>
                    <a:pt x="296058" y="221729"/>
                    <a:pt x="296058" y="220469"/>
                  </a:cubicBezTo>
                  <a:lnTo>
                    <a:pt x="296058" y="220469"/>
                  </a:lnTo>
                  <a:cubicBezTo>
                    <a:pt x="297318" y="220469"/>
                    <a:pt x="297318" y="219209"/>
                    <a:pt x="298578" y="219209"/>
                  </a:cubicBezTo>
                  <a:lnTo>
                    <a:pt x="298578" y="219209"/>
                  </a:lnTo>
                  <a:cubicBezTo>
                    <a:pt x="298578" y="219209"/>
                    <a:pt x="298578" y="219209"/>
                    <a:pt x="298578" y="219209"/>
                  </a:cubicBezTo>
                  <a:cubicBezTo>
                    <a:pt x="298578" y="219209"/>
                    <a:pt x="29857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lnTo>
                    <a:pt x="299838" y="217949"/>
                  </a:ln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301098" y="217949"/>
                    <a:pt x="301098" y="217949"/>
                  </a:cubicBezTo>
                  <a:lnTo>
                    <a:pt x="301098" y="217949"/>
                  </a:lnTo>
                  <a:lnTo>
                    <a:pt x="301098" y="217949"/>
                  </a:lnTo>
                  <a:lnTo>
                    <a:pt x="301098" y="217949"/>
                  </a:lnTo>
                  <a:cubicBezTo>
                    <a:pt x="301098" y="217949"/>
                    <a:pt x="301098" y="217949"/>
                    <a:pt x="301098" y="217949"/>
                  </a:cubicBezTo>
                  <a:cubicBezTo>
                    <a:pt x="301098" y="217949"/>
                    <a:pt x="301098" y="219209"/>
                    <a:pt x="301098" y="219209"/>
                  </a:cubicBezTo>
                  <a:lnTo>
                    <a:pt x="301098" y="219209"/>
                  </a:lnTo>
                  <a:cubicBezTo>
                    <a:pt x="301098" y="219209"/>
                    <a:pt x="301098" y="219209"/>
                    <a:pt x="301098" y="219209"/>
                  </a:cubicBezTo>
                  <a:cubicBezTo>
                    <a:pt x="301098" y="219209"/>
                    <a:pt x="301098" y="220469"/>
                    <a:pt x="301098" y="220469"/>
                  </a:cubicBezTo>
                  <a:lnTo>
                    <a:pt x="301098" y="220469"/>
                  </a:lnTo>
                  <a:cubicBezTo>
                    <a:pt x="301098" y="221729"/>
                    <a:pt x="301098" y="221729"/>
                    <a:pt x="301098" y="222989"/>
                  </a:cubicBezTo>
                  <a:cubicBezTo>
                    <a:pt x="301098" y="224248"/>
                    <a:pt x="301098" y="225508"/>
                    <a:pt x="301098" y="225508"/>
                  </a:cubicBezTo>
                  <a:lnTo>
                    <a:pt x="301098" y="226768"/>
                  </a:lnTo>
                  <a:lnTo>
                    <a:pt x="301098" y="228028"/>
                  </a:lnTo>
                  <a:cubicBezTo>
                    <a:pt x="301098" y="229288"/>
                    <a:pt x="301098" y="230548"/>
                    <a:pt x="301098" y="231807"/>
                  </a:cubicBezTo>
                  <a:lnTo>
                    <a:pt x="301098" y="234327"/>
                  </a:lnTo>
                  <a:lnTo>
                    <a:pt x="301098" y="235587"/>
                  </a:lnTo>
                  <a:cubicBezTo>
                    <a:pt x="301098" y="236847"/>
                    <a:pt x="301098" y="238107"/>
                    <a:pt x="299838" y="239366"/>
                  </a:cubicBezTo>
                  <a:lnTo>
                    <a:pt x="299838" y="240626"/>
                  </a:lnTo>
                  <a:cubicBezTo>
                    <a:pt x="299838" y="241886"/>
                    <a:pt x="299838" y="241886"/>
                    <a:pt x="299838" y="243146"/>
                  </a:cubicBezTo>
                  <a:cubicBezTo>
                    <a:pt x="299838" y="243146"/>
                    <a:pt x="299838" y="243146"/>
                    <a:pt x="299838" y="243146"/>
                  </a:cubicBezTo>
                  <a:lnTo>
                    <a:pt x="299838" y="243146"/>
                  </a:lnTo>
                  <a:lnTo>
                    <a:pt x="299838" y="244406"/>
                  </a:lnTo>
                  <a:lnTo>
                    <a:pt x="299838" y="244406"/>
                  </a:lnTo>
                  <a:lnTo>
                    <a:pt x="299838" y="245666"/>
                  </a:lnTo>
                  <a:lnTo>
                    <a:pt x="299838" y="246925"/>
                  </a:lnTo>
                  <a:cubicBezTo>
                    <a:pt x="299838" y="246925"/>
                    <a:pt x="299838" y="248185"/>
                    <a:pt x="299838" y="248185"/>
                  </a:cubicBezTo>
                  <a:cubicBezTo>
                    <a:pt x="299838" y="249445"/>
                    <a:pt x="299838" y="250705"/>
                    <a:pt x="298578" y="250705"/>
                  </a:cubicBezTo>
                  <a:lnTo>
                    <a:pt x="298578" y="251965"/>
                  </a:lnTo>
                  <a:cubicBezTo>
                    <a:pt x="298578" y="251965"/>
                    <a:pt x="298578" y="251965"/>
                    <a:pt x="298578" y="251965"/>
                  </a:cubicBezTo>
                  <a:cubicBezTo>
                    <a:pt x="298578" y="253224"/>
                    <a:pt x="298578" y="254484"/>
                    <a:pt x="297318" y="254484"/>
                  </a:cubicBezTo>
                  <a:lnTo>
                    <a:pt x="297318" y="257004"/>
                  </a:lnTo>
                  <a:cubicBezTo>
                    <a:pt x="296058" y="260783"/>
                    <a:pt x="294799" y="264563"/>
                    <a:pt x="294799" y="268342"/>
                  </a:cubicBezTo>
                  <a:cubicBezTo>
                    <a:pt x="294799" y="269602"/>
                    <a:pt x="293539" y="270862"/>
                    <a:pt x="293539" y="272122"/>
                  </a:cubicBezTo>
                  <a:lnTo>
                    <a:pt x="293539" y="273382"/>
                  </a:lnTo>
                  <a:cubicBezTo>
                    <a:pt x="293539" y="274641"/>
                    <a:pt x="292279" y="275901"/>
                    <a:pt x="292279" y="277161"/>
                  </a:cubicBezTo>
                  <a:cubicBezTo>
                    <a:pt x="292279" y="278421"/>
                    <a:pt x="292279" y="278421"/>
                    <a:pt x="292279" y="279681"/>
                  </a:cubicBezTo>
                  <a:cubicBezTo>
                    <a:pt x="292279" y="280940"/>
                    <a:pt x="292279" y="280940"/>
                    <a:pt x="292279" y="282200"/>
                  </a:cubicBezTo>
                  <a:cubicBezTo>
                    <a:pt x="292279" y="283460"/>
                    <a:pt x="292279" y="283460"/>
                    <a:pt x="291019" y="284720"/>
                  </a:cubicBezTo>
                  <a:lnTo>
                    <a:pt x="291019" y="285980"/>
                  </a:lnTo>
                  <a:lnTo>
                    <a:pt x="291019" y="287240"/>
                  </a:lnTo>
                  <a:lnTo>
                    <a:pt x="289759" y="291019"/>
                  </a:lnTo>
                  <a:cubicBezTo>
                    <a:pt x="289759" y="291019"/>
                    <a:pt x="289759" y="291019"/>
                    <a:pt x="289759" y="291019"/>
                  </a:cubicBezTo>
                  <a:cubicBezTo>
                    <a:pt x="289759" y="291019"/>
                    <a:pt x="289759" y="292279"/>
                    <a:pt x="289759" y="292279"/>
                  </a:cubicBezTo>
                  <a:cubicBezTo>
                    <a:pt x="289759" y="292279"/>
                    <a:pt x="289759" y="293539"/>
                    <a:pt x="289759" y="293539"/>
                  </a:cubicBezTo>
                  <a:cubicBezTo>
                    <a:pt x="289759" y="294799"/>
                    <a:pt x="289759" y="296058"/>
                    <a:pt x="289759" y="297318"/>
                  </a:cubicBezTo>
                  <a:cubicBezTo>
                    <a:pt x="289759" y="299838"/>
                    <a:pt x="289759" y="301098"/>
                    <a:pt x="288500" y="303617"/>
                  </a:cubicBezTo>
                  <a:lnTo>
                    <a:pt x="288500" y="304877"/>
                  </a:lnTo>
                  <a:cubicBezTo>
                    <a:pt x="287240" y="309916"/>
                    <a:pt x="285980" y="314956"/>
                    <a:pt x="285980" y="319995"/>
                  </a:cubicBezTo>
                  <a:cubicBezTo>
                    <a:pt x="285980" y="322515"/>
                    <a:pt x="284720" y="326294"/>
                    <a:pt x="284720" y="330074"/>
                  </a:cubicBezTo>
                  <a:cubicBezTo>
                    <a:pt x="284720" y="331333"/>
                    <a:pt x="284720" y="333853"/>
                    <a:pt x="283460" y="335113"/>
                  </a:cubicBezTo>
                  <a:cubicBezTo>
                    <a:pt x="283460" y="335113"/>
                    <a:pt x="283460" y="335113"/>
                    <a:pt x="283460" y="335113"/>
                  </a:cubicBezTo>
                  <a:lnTo>
                    <a:pt x="283460" y="335113"/>
                  </a:lnTo>
                  <a:lnTo>
                    <a:pt x="283460" y="336373"/>
                  </a:lnTo>
                  <a:lnTo>
                    <a:pt x="283460" y="337633"/>
                  </a:lnTo>
                  <a:lnTo>
                    <a:pt x="283460" y="337633"/>
                  </a:lnTo>
                  <a:cubicBezTo>
                    <a:pt x="283460" y="337633"/>
                    <a:pt x="283460" y="337633"/>
                    <a:pt x="283460" y="337633"/>
                  </a:cubicBezTo>
                  <a:cubicBezTo>
                    <a:pt x="283460" y="338892"/>
                    <a:pt x="283460" y="338892"/>
                    <a:pt x="283460" y="340152"/>
                  </a:cubicBezTo>
                  <a:cubicBezTo>
                    <a:pt x="283460" y="341412"/>
                    <a:pt x="283460" y="343932"/>
                    <a:pt x="282201" y="345192"/>
                  </a:cubicBezTo>
                  <a:lnTo>
                    <a:pt x="282201" y="346451"/>
                  </a:lnTo>
                  <a:cubicBezTo>
                    <a:pt x="282201" y="347711"/>
                    <a:pt x="282201" y="350231"/>
                    <a:pt x="280941" y="351491"/>
                  </a:cubicBezTo>
                  <a:cubicBezTo>
                    <a:pt x="280941" y="355270"/>
                    <a:pt x="279681" y="357790"/>
                    <a:pt x="279681" y="361569"/>
                  </a:cubicBezTo>
                  <a:cubicBezTo>
                    <a:pt x="279681" y="364089"/>
                    <a:pt x="278421" y="367868"/>
                    <a:pt x="278421" y="372908"/>
                  </a:cubicBez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cubicBezTo>
                    <a:pt x="277161" y="377947"/>
                    <a:pt x="277161" y="377947"/>
                    <a:pt x="277161" y="379207"/>
                  </a:cubicBezTo>
                  <a:cubicBezTo>
                    <a:pt x="277161" y="380467"/>
                    <a:pt x="277161" y="380467"/>
                    <a:pt x="277161" y="381726"/>
                  </a:cubicBezTo>
                  <a:cubicBezTo>
                    <a:pt x="277161" y="381726"/>
                    <a:pt x="277161" y="382986"/>
                    <a:pt x="277161" y="382986"/>
                  </a:cubicBezTo>
                  <a:cubicBezTo>
                    <a:pt x="277161" y="385506"/>
                    <a:pt x="275901" y="389285"/>
                    <a:pt x="275901" y="391805"/>
                  </a:cubicBezTo>
                  <a:lnTo>
                    <a:pt x="275901" y="391805"/>
                  </a:lnTo>
                  <a:lnTo>
                    <a:pt x="275901" y="391805"/>
                  </a:lnTo>
                  <a:cubicBezTo>
                    <a:pt x="275901" y="393065"/>
                    <a:pt x="274642" y="394325"/>
                    <a:pt x="274642" y="395584"/>
                  </a:cubicBezTo>
                  <a:cubicBezTo>
                    <a:pt x="274642" y="395584"/>
                    <a:pt x="274642" y="396844"/>
                    <a:pt x="274642" y="396844"/>
                  </a:cubicBezTo>
                  <a:lnTo>
                    <a:pt x="274642" y="396844"/>
                  </a:lnTo>
                  <a:cubicBezTo>
                    <a:pt x="274642" y="398104"/>
                    <a:pt x="273382" y="399364"/>
                    <a:pt x="273382" y="401884"/>
                  </a:cubicBezTo>
                  <a:cubicBezTo>
                    <a:pt x="273382" y="401884"/>
                    <a:pt x="273382" y="401884"/>
                    <a:pt x="273382" y="401884"/>
                  </a:cubicBezTo>
                  <a:cubicBezTo>
                    <a:pt x="273382" y="401884"/>
                    <a:pt x="272122" y="403143"/>
                    <a:pt x="272122" y="403143"/>
                  </a:cubicBezTo>
                  <a:cubicBezTo>
                    <a:pt x="272122" y="403143"/>
                    <a:pt x="270862" y="403143"/>
                    <a:pt x="270862" y="403143"/>
                  </a:cubicBezTo>
                  <a:cubicBezTo>
                    <a:pt x="270862" y="403143"/>
                    <a:pt x="269602" y="403143"/>
                    <a:pt x="269602" y="403143"/>
                  </a:cubicBezTo>
                  <a:cubicBezTo>
                    <a:pt x="269602" y="403143"/>
                    <a:pt x="269602" y="403143"/>
                    <a:pt x="268342" y="403143"/>
                  </a:cubicBezTo>
                  <a:cubicBezTo>
                    <a:pt x="268342" y="403143"/>
                    <a:pt x="268342" y="403143"/>
                    <a:pt x="268342" y="403143"/>
                  </a:cubicBezTo>
                  <a:cubicBezTo>
                    <a:pt x="268342" y="403143"/>
                    <a:pt x="268342" y="403143"/>
                    <a:pt x="267083" y="401884"/>
                  </a:cubicBezTo>
                  <a:lnTo>
                    <a:pt x="267083" y="401884"/>
                  </a:lnTo>
                  <a:cubicBezTo>
                    <a:pt x="267083" y="404403"/>
                    <a:pt x="267083" y="408183"/>
                    <a:pt x="267083" y="410702"/>
                  </a:cubicBezTo>
                  <a:cubicBezTo>
                    <a:pt x="267083" y="411962"/>
                    <a:pt x="267083" y="414482"/>
                    <a:pt x="267083" y="415742"/>
                  </a:cubicBezTo>
                  <a:lnTo>
                    <a:pt x="267083" y="417001"/>
                  </a:lnTo>
                  <a:lnTo>
                    <a:pt x="267083" y="418261"/>
                  </a:lnTo>
                  <a:lnTo>
                    <a:pt x="267083" y="419521"/>
                  </a:lnTo>
                  <a:lnTo>
                    <a:pt x="267083" y="420781"/>
                  </a:lnTo>
                  <a:cubicBezTo>
                    <a:pt x="267083" y="423301"/>
                    <a:pt x="267083" y="424560"/>
                    <a:pt x="267083" y="427080"/>
                  </a:cubicBezTo>
                  <a:lnTo>
                    <a:pt x="267083" y="429600"/>
                  </a:lnTo>
                  <a:lnTo>
                    <a:pt x="267083" y="432119"/>
                  </a:lnTo>
                  <a:lnTo>
                    <a:pt x="267083" y="434639"/>
                  </a:lnTo>
                  <a:cubicBezTo>
                    <a:pt x="267083" y="439678"/>
                    <a:pt x="268342" y="445977"/>
                    <a:pt x="268342" y="452277"/>
                  </a:cubicBezTo>
                  <a:cubicBezTo>
                    <a:pt x="268342" y="459836"/>
                    <a:pt x="268342" y="467394"/>
                    <a:pt x="269602" y="476213"/>
                  </a:cubicBezTo>
                  <a:lnTo>
                    <a:pt x="269602" y="476213"/>
                  </a:lnTo>
                  <a:lnTo>
                    <a:pt x="269602" y="476213"/>
                  </a:lnTo>
                  <a:lnTo>
                    <a:pt x="269602" y="476213"/>
                  </a:lnTo>
                  <a:cubicBezTo>
                    <a:pt x="272122" y="478733"/>
                    <a:pt x="275901" y="481252"/>
                    <a:pt x="278421" y="483772"/>
                  </a:cubicBezTo>
                  <a:cubicBezTo>
                    <a:pt x="280941" y="486292"/>
                    <a:pt x="283460" y="488811"/>
                    <a:pt x="285980" y="490071"/>
                  </a:cubicBezTo>
                  <a:cubicBezTo>
                    <a:pt x="293539" y="496370"/>
                    <a:pt x="298578" y="502669"/>
                    <a:pt x="304877" y="508969"/>
                  </a:cubicBezTo>
                  <a:lnTo>
                    <a:pt x="307397" y="511488"/>
                  </a:lnTo>
                  <a:cubicBezTo>
                    <a:pt x="307397" y="511488"/>
                    <a:pt x="307397" y="512748"/>
                    <a:pt x="308657" y="512748"/>
                  </a:cubicBezTo>
                  <a:cubicBezTo>
                    <a:pt x="308657" y="514008"/>
                    <a:pt x="309917" y="51400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12436" y="517787"/>
                    <a:pt x="314956" y="521567"/>
                    <a:pt x="318735" y="524086"/>
                  </a:cubicBezTo>
                  <a:cubicBezTo>
                    <a:pt x="318735" y="524086"/>
                    <a:pt x="319995" y="525346"/>
                    <a:pt x="319995" y="525346"/>
                  </a:cubicBezTo>
                  <a:cubicBezTo>
                    <a:pt x="321255" y="526606"/>
                    <a:pt x="321255" y="526606"/>
                    <a:pt x="322515" y="527866"/>
                  </a:cubicBezTo>
                  <a:cubicBezTo>
                    <a:pt x="321255" y="526606"/>
                    <a:pt x="321255" y="526606"/>
                    <a:pt x="319995" y="525346"/>
                  </a:cubicBezTo>
                  <a:cubicBezTo>
                    <a:pt x="319995" y="525346"/>
                    <a:pt x="318735" y="524086"/>
                    <a:pt x="318735" y="524086"/>
                  </a:cubicBezTo>
                  <a:cubicBezTo>
                    <a:pt x="317475" y="521567"/>
                    <a:pt x="314956" y="520307"/>
                    <a:pt x="313696" y="517787"/>
                  </a:cubicBezTo>
                  <a:cubicBezTo>
                    <a:pt x="318735" y="522827"/>
                    <a:pt x="323775" y="529126"/>
                    <a:pt x="328814" y="535425"/>
                  </a:cubicBezTo>
                  <a:cubicBezTo>
                    <a:pt x="330074" y="536685"/>
                    <a:pt x="331334" y="539204"/>
                    <a:pt x="333853" y="541724"/>
                  </a:cubicBezTo>
                  <a:cubicBezTo>
                    <a:pt x="333853" y="540464"/>
                    <a:pt x="332593" y="540464"/>
                    <a:pt x="332593" y="539204"/>
                  </a:cubicBezTo>
                  <a:cubicBezTo>
                    <a:pt x="331334" y="537945"/>
                    <a:pt x="331334" y="537945"/>
                    <a:pt x="330074" y="536685"/>
                  </a:cubicBezTo>
                  <a:cubicBezTo>
                    <a:pt x="333853" y="540464"/>
                    <a:pt x="337633" y="545503"/>
                    <a:pt x="340152" y="550543"/>
                  </a:cubicBezTo>
                  <a:cubicBezTo>
                    <a:pt x="340152" y="550543"/>
                    <a:pt x="340152" y="550543"/>
                    <a:pt x="340152" y="550543"/>
                  </a:cubicBezTo>
                  <a:cubicBezTo>
                    <a:pt x="342672" y="554322"/>
                    <a:pt x="345192" y="558102"/>
                    <a:pt x="347711" y="561881"/>
                  </a:cubicBezTo>
                  <a:cubicBezTo>
                    <a:pt x="348971" y="563141"/>
                    <a:pt x="348971" y="564401"/>
                    <a:pt x="350231" y="565661"/>
                  </a:cubicBezTo>
                  <a:cubicBezTo>
                    <a:pt x="350231" y="565661"/>
                    <a:pt x="350231" y="565661"/>
                    <a:pt x="350231" y="565661"/>
                  </a:cubicBezTo>
                  <a:cubicBezTo>
                    <a:pt x="351491" y="568180"/>
                    <a:pt x="352751" y="569440"/>
                    <a:pt x="354010" y="571960"/>
                  </a:cubicBezTo>
                  <a:cubicBezTo>
                    <a:pt x="352751" y="570700"/>
                    <a:pt x="352751" y="569440"/>
                    <a:pt x="351491" y="568180"/>
                  </a:cubicBezTo>
                  <a:cubicBezTo>
                    <a:pt x="352751" y="570700"/>
                    <a:pt x="355270" y="573220"/>
                    <a:pt x="356530" y="575739"/>
                  </a:cubicBezTo>
                  <a:cubicBezTo>
                    <a:pt x="356530" y="575739"/>
                    <a:pt x="356530" y="575739"/>
                    <a:pt x="356530" y="575739"/>
                  </a:cubicBezTo>
                  <a:cubicBezTo>
                    <a:pt x="356530" y="574479"/>
                    <a:pt x="355270" y="573220"/>
                    <a:pt x="355270" y="573220"/>
                  </a:cubicBezTo>
                  <a:cubicBezTo>
                    <a:pt x="356530" y="574479"/>
                    <a:pt x="356530" y="575739"/>
                    <a:pt x="357790" y="576999"/>
                  </a:cubicBezTo>
                  <a:cubicBezTo>
                    <a:pt x="357790" y="576999"/>
                    <a:pt x="359050" y="578259"/>
                    <a:pt x="359050" y="578259"/>
                  </a:cubicBezTo>
                  <a:cubicBezTo>
                    <a:pt x="360310" y="580778"/>
                    <a:pt x="362829" y="583298"/>
                    <a:pt x="364089" y="587078"/>
                  </a:cubicBezTo>
                  <a:cubicBezTo>
                    <a:pt x="364089" y="587078"/>
                    <a:pt x="364089" y="587078"/>
                    <a:pt x="364089" y="587078"/>
                  </a:cubicBezTo>
                  <a:cubicBezTo>
                    <a:pt x="365349" y="588337"/>
                    <a:pt x="366609" y="590857"/>
                    <a:pt x="366609" y="592117"/>
                  </a:cubicBezTo>
                  <a:lnTo>
                    <a:pt x="366609" y="592117"/>
                  </a:lnTo>
                  <a:lnTo>
                    <a:pt x="366609" y="592117"/>
                  </a:lnTo>
                  <a:cubicBezTo>
                    <a:pt x="366609" y="593377"/>
                    <a:pt x="367868" y="593377"/>
                    <a:pt x="367868" y="594637"/>
                  </a:cubicBezTo>
                  <a:cubicBezTo>
                    <a:pt x="370388" y="599676"/>
                    <a:pt x="371648" y="603455"/>
                    <a:pt x="374167" y="608495"/>
                  </a:cubicBezTo>
                  <a:cubicBezTo>
                    <a:pt x="374167" y="608495"/>
                    <a:pt x="374167" y="609754"/>
                    <a:pt x="374167" y="609754"/>
                  </a:cubicBezTo>
                  <a:lnTo>
                    <a:pt x="374167" y="609754"/>
                  </a:lnTo>
                  <a:lnTo>
                    <a:pt x="374167" y="609754"/>
                  </a:lnTo>
                  <a:cubicBezTo>
                    <a:pt x="375427" y="612274"/>
                    <a:pt x="376687" y="616054"/>
                    <a:pt x="376687" y="618573"/>
                  </a:cubicBezTo>
                  <a:lnTo>
                    <a:pt x="376687" y="619833"/>
                  </a:lnTo>
                  <a:cubicBezTo>
                    <a:pt x="377947" y="622353"/>
                    <a:pt x="377947" y="624872"/>
                    <a:pt x="379207" y="627392"/>
                  </a:cubicBezTo>
                  <a:cubicBezTo>
                    <a:pt x="379207" y="628652"/>
                    <a:pt x="379207" y="629912"/>
                    <a:pt x="379207" y="632431"/>
                  </a:cubicBezTo>
                  <a:lnTo>
                    <a:pt x="379207" y="634951"/>
                  </a:lnTo>
                  <a:lnTo>
                    <a:pt x="379207" y="637471"/>
                  </a:lnTo>
                  <a:cubicBezTo>
                    <a:pt x="379207" y="638730"/>
                    <a:pt x="379207" y="641250"/>
                    <a:pt x="379207" y="642510"/>
                  </a:cubicBezTo>
                  <a:cubicBezTo>
                    <a:pt x="379207" y="642510"/>
                    <a:pt x="379207" y="642510"/>
                    <a:pt x="379207" y="642510"/>
                  </a:cubicBezTo>
                  <a:lnTo>
                    <a:pt x="379207" y="642510"/>
                  </a:lnTo>
                  <a:lnTo>
                    <a:pt x="379207" y="642510"/>
                  </a:lnTo>
                  <a:lnTo>
                    <a:pt x="379207" y="645030"/>
                  </a:lnTo>
                  <a:cubicBezTo>
                    <a:pt x="379207" y="647549"/>
                    <a:pt x="379207" y="648809"/>
                    <a:pt x="379207" y="651329"/>
                  </a:cubicBezTo>
                  <a:lnTo>
                    <a:pt x="379207" y="652588"/>
                  </a:lnTo>
                  <a:cubicBezTo>
                    <a:pt x="379207" y="655108"/>
                    <a:pt x="379207" y="657628"/>
                    <a:pt x="377947" y="660147"/>
                  </a:cubicBezTo>
                  <a:cubicBezTo>
                    <a:pt x="376687" y="667706"/>
                    <a:pt x="375427" y="672746"/>
                    <a:pt x="374167" y="677785"/>
                  </a:cubicBezTo>
                  <a:cubicBezTo>
                    <a:pt x="374167" y="677785"/>
                    <a:pt x="374167" y="677785"/>
                    <a:pt x="374167" y="677785"/>
                  </a:cubicBezTo>
                  <a:lnTo>
                    <a:pt x="374167" y="679045"/>
                  </a:lnTo>
                  <a:cubicBezTo>
                    <a:pt x="374167" y="679045"/>
                    <a:pt x="374167" y="679045"/>
                    <a:pt x="374167" y="679045"/>
                  </a:cubicBezTo>
                  <a:cubicBezTo>
                    <a:pt x="372908" y="681564"/>
                    <a:pt x="372908" y="684084"/>
                    <a:pt x="371648" y="687863"/>
                  </a:cubicBezTo>
                  <a:cubicBezTo>
                    <a:pt x="372908" y="686604"/>
                    <a:pt x="372908" y="685344"/>
                    <a:pt x="372908" y="682824"/>
                  </a:cubicBezTo>
                  <a:cubicBezTo>
                    <a:pt x="371648" y="685344"/>
                    <a:pt x="371648" y="686604"/>
                    <a:pt x="370388" y="689123"/>
                  </a:cubicBezTo>
                  <a:cubicBezTo>
                    <a:pt x="370388" y="690383"/>
                    <a:pt x="369128" y="690383"/>
                    <a:pt x="369128" y="691643"/>
                  </a:cubicBezTo>
                  <a:cubicBezTo>
                    <a:pt x="367868" y="692903"/>
                    <a:pt x="367868" y="694163"/>
                    <a:pt x="366609" y="696682"/>
                  </a:cubicBezTo>
                  <a:cubicBezTo>
                    <a:pt x="366609" y="697942"/>
                    <a:pt x="365349" y="69794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0462"/>
                    <a:pt x="365349" y="70046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2981"/>
                    <a:pt x="362829" y="702981"/>
                    <a:pt x="362829" y="702981"/>
                  </a:cubicBezTo>
                  <a:lnTo>
                    <a:pt x="362829" y="704241"/>
                  </a:lnTo>
                  <a:cubicBezTo>
                    <a:pt x="360310" y="706761"/>
                    <a:pt x="359050" y="709280"/>
                    <a:pt x="356530" y="710540"/>
                  </a:cubicBezTo>
                  <a:lnTo>
                    <a:pt x="356530" y="710540"/>
                  </a:lnTo>
                  <a:cubicBezTo>
                    <a:pt x="356530" y="71054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4010" y="711800"/>
                    <a:pt x="354010" y="713060"/>
                    <a:pt x="352751" y="713060"/>
                  </a:cubicBezTo>
                  <a:cubicBezTo>
                    <a:pt x="351491" y="714320"/>
                    <a:pt x="348971" y="715580"/>
                    <a:pt x="347711" y="715580"/>
                  </a:cubicBez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cubicBezTo>
                    <a:pt x="345192" y="715580"/>
                    <a:pt x="343932" y="716839"/>
                    <a:pt x="342672" y="716839"/>
                  </a:cubicBezTo>
                  <a:cubicBezTo>
                    <a:pt x="340152" y="718099"/>
                    <a:pt x="337633" y="719359"/>
                    <a:pt x="335113" y="720619"/>
                  </a:cubicBezTo>
                  <a:lnTo>
                    <a:pt x="335113" y="720619"/>
                  </a:lnTo>
                  <a:cubicBezTo>
                    <a:pt x="331334" y="721879"/>
                    <a:pt x="32881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lnTo>
                    <a:pt x="325034" y="723139"/>
                  </a:lnTo>
                  <a:lnTo>
                    <a:pt x="325034" y="723139"/>
                  </a:ln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6294" y="723139"/>
                    <a:pt x="326294" y="723139"/>
                    <a:pt x="327554" y="723139"/>
                  </a:cubicBezTo>
                  <a:lnTo>
                    <a:pt x="328814" y="723139"/>
                  </a:lnTo>
                  <a:cubicBezTo>
                    <a:pt x="330074" y="723139"/>
                    <a:pt x="331334" y="723139"/>
                    <a:pt x="332593" y="723139"/>
                  </a:cubicBezTo>
                  <a:cubicBezTo>
                    <a:pt x="333853" y="723139"/>
                    <a:pt x="336373" y="723139"/>
                    <a:pt x="337633" y="723139"/>
                  </a:cubicBezTo>
                  <a:cubicBezTo>
                    <a:pt x="343932" y="723139"/>
                    <a:pt x="351491" y="724398"/>
                    <a:pt x="359050" y="724398"/>
                  </a:cubicBezTo>
                  <a:cubicBezTo>
                    <a:pt x="369128" y="724398"/>
                    <a:pt x="379207" y="724398"/>
                    <a:pt x="389286" y="724398"/>
                  </a:cubicBezTo>
                  <a:cubicBezTo>
                    <a:pt x="391805" y="724398"/>
                    <a:pt x="394325" y="724398"/>
                    <a:pt x="398104" y="724398"/>
                  </a:cubicBezTo>
                  <a:lnTo>
                    <a:pt x="400624" y="724398"/>
                  </a:lnTo>
                  <a:lnTo>
                    <a:pt x="400624" y="724398"/>
                  </a:lnTo>
                  <a:cubicBezTo>
                    <a:pt x="403143" y="724398"/>
                    <a:pt x="404403" y="724398"/>
                    <a:pt x="406923" y="724398"/>
                  </a:cubicBezTo>
                  <a:cubicBezTo>
                    <a:pt x="408183" y="724398"/>
                    <a:pt x="408183" y="724398"/>
                    <a:pt x="409443" y="724398"/>
                  </a:cubicBezTo>
                  <a:cubicBezTo>
                    <a:pt x="411962" y="724398"/>
                    <a:pt x="414482" y="724398"/>
                    <a:pt x="417002" y="724398"/>
                  </a:cubicBezTo>
                  <a:cubicBezTo>
                    <a:pt x="418261" y="724398"/>
                    <a:pt x="419521" y="724398"/>
                    <a:pt x="420781" y="724398"/>
                  </a:cubicBezTo>
                  <a:cubicBezTo>
                    <a:pt x="420781" y="724398"/>
                    <a:pt x="422041" y="724398"/>
                    <a:pt x="422041" y="724398"/>
                  </a:cubicBezTo>
                  <a:lnTo>
                    <a:pt x="422041" y="724398"/>
                  </a:lnTo>
                  <a:cubicBezTo>
                    <a:pt x="427080" y="724398"/>
                    <a:pt x="432119" y="724398"/>
                    <a:pt x="435899" y="724398"/>
                  </a:cubicBezTo>
                  <a:cubicBezTo>
                    <a:pt x="438419" y="724398"/>
                    <a:pt x="440938" y="724398"/>
                    <a:pt x="443458" y="724398"/>
                  </a:cubicBezTo>
                  <a:cubicBezTo>
                    <a:pt x="447237" y="724398"/>
                    <a:pt x="451017" y="724398"/>
                    <a:pt x="454796" y="724398"/>
                  </a:cubicBezTo>
                  <a:lnTo>
                    <a:pt x="459835" y="724398"/>
                  </a:lnTo>
                  <a:lnTo>
                    <a:pt x="461095" y="724398"/>
                  </a:lnTo>
                  <a:cubicBezTo>
                    <a:pt x="466135" y="724398"/>
                    <a:pt x="469914" y="724398"/>
                    <a:pt x="474953" y="724398"/>
                  </a:cubicBezTo>
                  <a:cubicBezTo>
                    <a:pt x="477473" y="724398"/>
                    <a:pt x="479993" y="724398"/>
                    <a:pt x="482512" y="724398"/>
                  </a:cubicBezTo>
                  <a:cubicBezTo>
                    <a:pt x="482512" y="724398"/>
                    <a:pt x="483772" y="724398"/>
                    <a:pt x="483772" y="724398"/>
                  </a:cubicBezTo>
                  <a:cubicBezTo>
                    <a:pt x="487552" y="724398"/>
                    <a:pt x="491331" y="724398"/>
                    <a:pt x="495111" y="724398"/>
                  </a:cubicBezTo>
                  <a:cubicBezTo>
                    <a:pt x="501410" y="724398"/>
                    <a:pt x="507709" y="724398"/>
                    <a:pt x="515268" y="723139"/>
                  </a:cubicBezTo>
                  <a:cubicBezTo>
                    <a:pt x="516528" y="723139"/>
                    <a:pt x="516528" y="723139"/>
                    <a:pt x="517787" y="723139"/>
                  </a:cubicBezTo>
                  <a:lnTo>
                    <a:pt x="517787" y="723139"/>
                  </a:lnTo>
                  <a:cubicBezTo>
                    <a:pt x="521567" y="723139"/>
                    <a:pt x="524087" y="723139"/>
                    <a:pt x="527866" y="721879"/>
                  </a:cubicBezTo>
                  <a:lnTo>
                    <a:pt x="527866" y="721879"/>
                  </a:lnTo>
                  <a:cubicBezTo>
                    <a:pt x="530386" y="721879"/>
                    <a:pt x="532905" y="721879"/>
                    <a:pt x="535425" y="720619"/>
                  </a:cubicBezTo>
                  <a:cubicBezTo>
                    <a:pt x="536685" y="720619"/>
                    <a:pt x="536685" y="720619"/>
                    <a:pt x="537945" y="720619"/>
                  </a:cubicBezTo>
                  <a:lnTo>
                    <a:pt x="537945" y="720619"/>
                  </a:lnTo>
                  <a:cubicBezTo>
                    <a:pt x="540464" y="720619"/>
                    <a:pt x="544244" y="720619"/>
                    <a:pt x="546763" y="720619"/>
                  </a:cubicBezTo>
                  <a:cubicBezTo>
                    <a:pt x="549283" y="720619"/>
                    <a:pt x="551803" y="720619"/>
                    <a:pt x="554322" y="720619"/>
                  </a:cubicBezTo>
                  <a:cubicBezTo>
                    <a:pt x="555582" y="720619"/>
                    <a:pt x="556842" y="720619"/>
                    <a:pt x="556842" y="720619"/>
                  </a:cubicBezTo>
                  <a:cubicBezTo>
                    <a:pt x="558102" y="720619"/>
                    <a:pt x="559362" y="720619"/>
                    <a:pt x="560621" y="720619"/>
                  </a:cubicBezTo>
                  <a:lnTo>
                    <a:pt x="560621" y="720619"/>
                  </a:lnTo>
                  <a:lnTo>
                    <a:pt x="560621" y="720619"/>
                  </a:lnTo>
                  <a:cubicBezTo>
                    <a:pt x="560621" y="720619"/>
                    <a:pt x="561881" y="720619"/>
                    <a:pt x="561881" y="720619"/>
                  </a:cubicBezTo>
                  <a:cubicBezTo>
                    <a:pt x="563141" y="720619"/>
                    <a:pt x="564401" y="720619"/>
                    <a:pt x="565661" y="720619"/>
                  </a:cubicBezTo>
                  <a:cubicBezTo>
                    <a:pt x="568180" y="720619"/>
                    <a:pt x="569440" y="720619"/>
                    <a:pt x="571960" y="720619"/>
                  </a:cubicBezTo>
                  <a:cubicBezTo>
                    <a:pt x="573220" y="720619"/>
                    <a:pt x="574480" y="720619"/>
                    <a:pt x="574480" y="720619"/>
                  </a:cubicBezTo>
                  <a:lnTo>
                    <a:pt x="574480" y="720619"/>
                  </a:lnTo>
                  <a:cubicBezTo>
                    <a:pt x="574480" y="720619"/>
                    <a:pt x="575739" y="720619"/>
                    <a:pt x="575739" y="720619"/>
                  </a:cubicBezTo>
                  <a:cubicBezTo>
                    <a:pt x="579519" y="720619"/>
                    <a:pt x="583298" y="720619"/>
                    <a:pt x="587078" y="720619"/>
                  </a:cubicBezTo>
                  <a:cubicBezTo>
                    <a:pt x="588337" y="720619"/>
                    <a:pt x="590857" y="720619"/>
                    <a:pt x="592117" y="720619"/>
                  </a:cubicBezTo>
                  <a:cubicBezTo>
                    <a:pt x="593377" y="720619"/>
                    <a:pt x="595896" y="720619"/>
                    <a:pt x="597156" y="720619"/>
                  </a:cubicBezTo>
                  <a:lnTo>
                    <a:pt x="598416" y="720619"/>
                  </a:lnTo>
                  <a:cubicBezTo>
                    <a:pt x="598416" y="720619"/>
                    <a:pt x="599676" y="720619"/>
                    <a:pt x="599676" y="720619"/>
                  </a:cubicBezTo>
                  <a:cubicBezTo>
                    <a:pt x="602196" y="720619"/>
                    <a:pt x="603455" y="720619"/>
                    <a:pt x="605975" y="720619"/>
                  </a:cubicBezTo>
                  <a:lnTo>
                    <a:pt x="605975" y="720619"/>
                  </a:lnTo>
                  <a:lnTo>
                    <a:pt x="605975" y="720619"/>
                  </a:lnTo>
                  <a:cubicBezTo>
                    <a:pt x="616054" y="721879"/>
                    <a:pt x="627392" y="721879"/>
                    <a:pt x="637471" y="723139"/>
                  </a:cubicBezTo>
                  <a:cubicBezTo>
                    <a:pt x="645029" y="723139"/>
                    <a:pt x="650069" y="723139"/>
                    <a:pt x="656368" y="723139"/>
                  </a:cubicBezTo>
                  <a:cubicBezTo>
                    <a:pt x="656368" y="723139"/>
                    <a:pt x="656368" y="723139"/>
                    <a:pt x="657628" y="723139"/>
                  </a:cubicBezTo>
                  <a:cubicBezTo>
                    <a:pt x="658888" y="723139"/>
                    <a:pt x="658888" y="723139"/>
                    <a:pt x="660148" y="723139"/>
                  </a:cubicBezTo>
                  <a:lnTo>
                    <a:pt x="661407" y="723139"/>
                  </a:lnTo>
                  <a:cubicBezTo>
                    <a:pt x="662667" y="723139"/>
                    <a:pt x="665187" y="723139"/>
                    <a:pt x="666447" y="723139"/>
                  </a:cubicBezTo>
                  <a:cubicBezTo>
                    <a:pt x="667706" y="723139"/>
                    <a:pt x="668966" y="723139"/>
                    <a:pt x="670226" y="723139"/>
                  </a:cubicBezTo>
                  <a:lnTo>
                    <a:pt x="670226" y="723139"/>
                  </a:lnTo>
                  <a:cubicBezTo>
                    <a:pt x="671486" y="723139"/>
                    <a:pt x="672746" y="723139"/>
                    <a:pt x="674005" y="723139"/>
                  </a:cubicBezTo>
                  <a:lnTo>
                    <a:pt x="674005" y="723139"/>
                  </a:lnTo>
                  <a:cubicBezTo>
                    <a:pt x="675265" y="723139"/>
                    <a:pt x="676525" y="723139"/>
                    <a:pt x="677785" y="721879"/>
                  </a:cubicBezTo>
                  <a:cubicBezTo>
                    <a:pt x="679045" y="721879"/>
                    <a:pt x="679045" y="720619"/>
                    <a:pt x="680305" y="720619"/>
                  </a:cubicBezTo>
                  <a:cubicBezTo>
                    <a:pt x="680305" y="720619"/>
                    <a:pt x="680305" y="720619"/>
                    <a:pt x="680305" y="720619"/>
                  </a:cubicBezTo>
                  <a:cubicBezTo>
                    <a:pt x="680305" y="72061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2824" y="718099"/>
                  </a:cubicBezTo>
                  <a:cubicBezTo>
                    <a:pt x="684084" y="716839"/>
                    <a:pt x="684084" y="715580"/>
                    <a:pt x="684084" y="713060"/>
                  </a:cubicBezTo>
                  <a:cubicBezTo>
                    <a:pt x="684084" y="711800"/>
                    <a:pt x="684084" y="709280"/>
                    <a:pt x="684084" y="708021"/>
                  </a:cubicBezTo>
                  <a:cubicBezTo>
                    <a:pt x="684084" y="706761"/>
                    <a:pt x="685344" y="704241"/>
                    <a:pt x="685344" y="702981"/>
                  </a:cubicBezTo>
                  <a:lnTo>
                    <a:pt x="685344" y="702981"/>
                  </a:lnTo>
                  <a:cubicBezTo>
                    <a:pt x="685344" y="701722"/>
                    <a:pt x="685344" y="699202"/>
                    <a:pt x="685344" y="697942"/>
                  </a:cubicBezTo>
                  <a:lnTo>
                    <a:pt x="685344" y="697942"/>
                  </a:lnTo>
                  <a:lnTo>
                    <a:pt x="685344" y="697942"/>
                  </a:lnTo>
                  <a:cubicBezTo>
                    <a:pt x="685344" y="696682"/>
                    <a:pt x="685344" y="695422"/>
                    <a:pt x="685344" y="694163"/>
                  </a:cubicBezTo>
                  <a:cubicBezTo>
                    <a:pt x="685344" y="692903"/>
                    <a:pt x="685344" y="691643"/>
                    <a:pt x="685344" y="689123"/>
                  </a:cubicBezTo>
                  <a:cubicBezTo>
                    <a:pt x="685344" y="689123"/>
                    <a:pt x="685344" y="689123"/>
                    <a:pt x="685344" y="689123"/>
                  </a:cubicBezTo>
                  <a:cubicBezTo>
                    <a:pt x="685344" y="686604"/>
                    <a:pt x="685344" y="684084"/>
                    <a:pt x="685344" y="682824"/>
                  </a:cubicBezTo>
                  <a:lnTo>
                    <a:pt x="685344" y="681564"/>
                  </a:lnTo>
                  <a:lnTo>
                    <a:pt x="685344" y="680305"/>
                  </a:lnTo>
                  <a:cubicBezTo>
                    <a:pt x="685344" y="676525"/>
                    <a:pt x="685344" y="674005"/>
                    <a:pt x="685344" y="671486"/>
                  </a:cubicBezTo>
                  <a:cubicBezTo>
                    <a:pt x="685344" y="667706"/>
                    <a:pt x="685344" y="663927"/>
                    <a:pt x="685344" y="660147"/>
                  </a:cubicBezTo>
                  <a:lnTo>
                    <a:pt x="685344" y="658887"/>
                  </a:lnTo>
                  <a:cubicBezTo>
                    <a:pt x="685344" y="656368"/>
                    <a:pt x="685344" y="653848"/>
                    <a:pt x="685344" y="651329"/>
                  </a:cubicBezTo>
                  <a:cubicBezTo>
                    <a:pt x="685344" y="650069"/>
                    <a:pt x="685344" y="648809"/>
                    <a:pt x="685344" y="648809"/>
                  </a:cubicBezTo>
                  <a:lnTo>
                    <a:pt x="685344" y="647549"/>
                  </a:lnTo>
                  <a:cubicBezTo>
                    <a:pt x="685344" y="646289"/>
                    <a:pt x="685344" y="643770"/>
                    <a:pt x="685344" y="642510"/>
                  </a:cubicBezTo>
                  <a:lnTo>
                    <a:pt x="685344" y="641250"/>
                  </a:lnTo>
                  <a:cubicBezTo>
                    <a:pt x="685344" y="638730"/>
                    <a:pt x="685344" y="636211"/>
                    <a:pt x="685344" y="632431"/>
                  </a:cubicBezTo>
                  <a:cubicBezTo>
                    <a:pt x="685344" y="624872"/>
                    <a:pt x="685344" y="618573"/>
                    <a:pt x="685344" y="612274"/>
                  </a:cubicBezTo>
                  <a:cubicBezTo>
                    <a:pt x="685344" y="607235"/>
                    <a:pt x="685344" y="602195"/>
                    <a:pt x="685344" y="597156"/>
                  </a:cubicBezTo>
                  <a:cubicBezTo>
                    <a:pt x="684084" y="597156"/>
                    <a:pt x="684084" y="595896"/>
                    <a:pt x="684084" y="595896"/>
                  </a:cubicBezTo>
                  <a:cubicBezTo>
                    <a:pt x="684084" y="595896"/>
                    <a:pt x="684084" y="595896"/>
                    <a:pt x="684084" y="595896"/>
                  </a:cubicBezTo>
                  <a:cubicBezTo>
                    <a:pt x="682824" y="594637"/>
                    <a:pt x="681564" y="594637"/>
                    <a:pt x="681564" y="593377"/>
                  </a:cubicBezTo>
                  <a:cubicBezTo>
                    <a:pt x="681564" y="593377"/>
                    <a:pt x="680305" y="592117"/>
                    <a:pt x="680305" y="592117"/>
                  </a:cubicBezTo>
                  <a:cubicBezTo>
                    <a:pt x="679045" y="590857"/>
                    <a:pt x="677785" y="589597"/>
                    <a:pt x="676525" y="588337"/>
                  </a:cubicBezTo>
                  <a:cubicBezTo>
                    <a:pt x="672746" y="584558"/>
                    <a:pt x="668966" y="579519"/>
                    <a:pt x="665187" y="575739"/>
                  </a:cubicBezTo>
                  <a:lnTo>
                    <a:pt x="665187" y="575739"/>
                  </a:lnTo>
                  <a:cubicBezTo>
                    <a:pt x="663927" y="574479"/>
                    <a:pt x="662667" y="573220"/>
                    <a:pt x="662667" y="571960"/>
                  </a:cubicBezTo>
                  <a:lnTo>
                    <a:pt x="661407" y="570700"/>
                  </a:lnTo>
                  <a:cubicBezTo>
                    <a:pt x="660148" y="568180"/>
                    <a:pt x="657628" y="566921"/>
                    <a:pt x="656368" y="564401"/>
                  </a:cubicBezTo>
                  <a:cubicBezTo>
                    <a:pt x="653848" y="561881"/>
                    <a:pt x="652589" y="559361"/>
                    <a:pt x="651329" y="556842"/>
                  </a:cubicBezTo>
                  <a:cubicBezTo>
                    <a:pt x="648809" y="553062"/>
                    <a:pt x="645029" y="548023"/>
                    <a:pt x="642510" y="544244"/>
                  </a:cubicBezTo>
                  <a:cubicBezTo>
                    <a:pt x="641250" y="542984"/>
                    <a:pt x="641250" y="541724"/>
                    <a:pt x="639990" y="540464"/>
                  </a:cubicBezTo>
                  <a:cubicBezTo>
                    <a:pt x="634951" y="534165"/>
                    <a:pt x="631172" y="527866"/>
                    <a:pt x="627392" y="524086"/>
                  </a:cubicBezTo>
                  <a:cubicBezTo>
                    <a:pt x="624872" y="521567"/>
                    <a:pt x="623613" y="517787"/>
                    <a:pt x="621093" y="515268"/>
                  </a:cubicBezTo>
                  <a:cubicBezTo>
                    <a:pt x="619833" y="512748"/>
                    <a:pt x="617313" y="510228"/>
                    <a:pt x="616054" y="507709"/>
                  </a:cubicBezTo>
                  <a:cubicBezTo>
                    <a:pt x="613534" y="503929"/>
                    <a:pt x="611014" y="501410"/>
                    <a:pt x="609755" y="497630"/>
                  </a:cubicBezTo>
                  <a:lnTo>
                    <a:pt x="609755" y="497630"/>
                  </a:lnTo>
                  <a:lnTo>
                    <a:pt x="609755" y="497630"/>
                  </a:lnTo>
                  <a:cubicBezTo>
                    <a:pt x="608495" y="495110"/>
                    <a:pt x="605975" y="492591"/>
                    <a:pt x="604715" y="490071"/>
                  </a:cubicBezTo>
                  <a:cubicBezTo>
                    <a:pt x="600936" y="483772"/>
                    <a:pt x="597156" y="477473"/>
                    <a:pt x="593377" y="472434"/>
                  </a:cubicBezTo>
                  <a:lnTo>
                    <a:pt x="593377" y="471174"/>
                  </a:lnTo>
                  <a:lnTo>
                    <a:pt x="592117" y="469914"/>
                  </a:lnTo>
                  <a:lnTo>
                    <a:pt x="592117" y="469914"/>
                  </a:lnTo>
                  <a:cubicBezTo>
                    <a:pt x="590857" y="467394"/>
                    <a:pt x="588337" y="464875"/>
                    <a:pt x="587078" y="462355"/>
                  </a:cubicBezTo>
                  <a:cubicBezTo>
                    <a:pt x="585818" y="458576"/>
                    <a:pt x="583298" y="456056"/>
                    <a:pt x="582038" y="452277"/>
                  </a:cubicBezTo>
                  <a:cubicBezTo>
                    <a:pt x="579519" y="444717"/>
                    <a:pt x="575739" y="439678"/>
                    <a:pt x="573220" y="433379"/>
                  </a:cubicBezTo>
                  <a:lnTo>
                    <a:pt x="571960" y="430860"/>
                  </a:lnTo>
                  <a:cubicBezTo>
                    <a:pt x="570700" y="428340"/>
                    <a:pt x="569440" y="425820"/>
                    <a:pt x="568180" y="423301"/>
                  </a:cubicBezTo>
                  <a:cubicBezTo>
                    <a:pt x="566920" y="420781"/>
                    <a:pt x="565661" y="418261"/>
                    <a:pt x="564401" y="415742"/>
                  </a:cubicBezTo>
                  <a:lnTo>
                    <a:pt x="563141" y="413222"/>
                  </a:lnTo>
                  <a:cubicBezTo>
                    <a:pt x="561881" y="410702"/>
                    <a:pt x="559362" y="406923"/>
                    <a:pt x="558102" y="403143"/>
                  </a:cubicBezTo>
                  <a:cubicBezTo>
                    <a:pt x="556842" y="400624"/>
                    <a:pt x="556842" y="399364"/>
                    <a:pt x="555582" y="396844"/>
                  </a:cubicBezTo>
                  <a:lnTo>
                    <a:pt x="555582" y="396844"/>
                  </a:lnTo>
                  <a:cubicBezTo>
                    <a:pt x="555582" y="395584"/>
                    <a:pt x="554322" y="395584"/>
                    <a:pt x="554322" y="394325"/>
                  </a:cubicBezTo>
                  <a:cubicBezTo>
                    <a:pt x="551803" y="386766"/>
                    <a:pt x="549283" y="380467"/>
                    <a:pt x="546763" y="374167"/>
                  </a:cubicBezTo>
                  <a:cubicBezTo>
                    <a:pt x="544244" y="367868"/>
                    <a:pt x="541724" y="361569"/>
                    <a:pt x="540464" y="354010"/>
                  </a:cubicBezTo>
                  <a:cubicBezTo>
                    <a:pt x="539204" y="351491"/>
                    <a:pt x="539204" y="347711"/>
                    <a:pt x="537945" y="345192"/>
                  </a:cubicBezTo>
                  <a:lnTo>
                    <a:pt x="537945" y="343932"/>
                  </a:lnTo>
                  <a:cubicBezTo>
                    <a:pt x="537945" y="341412"/>
                    <a:pt x="536685" y="340152"/>
                    <a:pt x="536685" y="337633"/>
                  </a:cubicBezTo>
                  <a:lnTo>
                    <a:pt x="536685" y="337633"/>
                  </a:lnTo>
                  <a:cubicBezTo>
                    <a:pt x="536685" y="336373"/>
                    <a:pt x="536685" y="335113"/>
                    <a:pt x="535425" y="335113"/>
                  </a:cubicBezTo>
                  <a:cubicBezTo>
                    <a:pt x="534165" y="328814"/>
                    <a:pt x="532905" y="321255"/>
                    <a:pt x="531645" y="314956"/>
                  </a:cubicBezTo>
                  <a:lnTo>
                    <a:pt x="531645" y="313696"/>
                  </a:lnTo>
                  <a:cubicBezTo>
                    <a:pt x="531645" y="312436"/>
                    <a:pt x="531645" y="309916"/>
                    <a:pt x="530386" y="308657"/>
                  </a:cubicBezTo>
                  <a:cubicBezTo>
                    <a:pt x="530386" y="307397"/>
                    <a:pt x="530386" y="304877"/>
                    <a:pt x="529126" y="303617"/>
                  </a:cubicBezTo>
                  <a:cubicBezTo>
                    <a:pt x="529126" y="299838"/>
                    <a:pt x="527866" y="297318"/>
                    <a:pt x="527866" y="294799"/>
                  </a:cubicBezTo>
                  <a:lnTo>
                    <a:pt x="527866" y="293539"/>
                  </a:lnTo>
                  <a:cubicBezTo>
                    <a:pt x="527866" y="292279"/>
                    <a:pt x="527866" y="291019"/>
                    <a:pt x="527866" y="289759"/>
                  </a:cubicBezTo>
                  <a:lnTo>
                    <a:pt x="527866" y="288499"/>
                  </a:lnTo>
                  <a:lnTo>
                    <a:pt x="527866" y="287240"/>
                  </a:lnTo>
                  <a:cubicBezTo>
                    <a:pt x="527866" y="285980"/>
                    <a:pt x="527866" y="284720"/>
                    <a:pt x="527866" y="282200"/>
                  </a:cubicBezTo>
                  <a:cubicBezTo>
                    <a:pt x="527866" y="279681"/>
                    <a:pt x="527866" y="277161"/>
                    <a:pt x="527866" y="275901"/>
                  </a:cubicBezTo>
                  <a:cubicBezTo>
                    <a:pt x="527866" y="274641"/>
                    <a:pt x="527866" y="273382"/>
                    <a:pt x="527866" y="272122"/>
                  </a:cubicBezTo>
                  <a:cubicBezTo>
                    <a:pt x="527866" y="268342"/>
                    <a:pt x="527866" y="264563"/>
                    <a:pt x="527866" y="260783"/>
                  </a:cubicBezTo>
                  <a:cubicBezTo>
                    <a:pt x="527866" y="259523"/>
                    <a:pt x="527866" y="258264"/>
                    <a:pt x="527866" y="257004"/>
                  </a:cubicBezTo>
                  <a:cubicBezTo>
                    <a:pt x="527866" y="257004"/>
                    <a:pt x="527866" y="257004"/>
                    <a:pt x="527866" y="255744"/>
                  </a:cubicBezTo>
                  <a:cubicBezTo>
                    <a:pt x="527866" y="254484"/>
                    <a:pt x="527866" y="253224"/>
                    <a:pt x="527866" y="251965"/>
                  </a:cubicBezTo>
                  <a:cubicBezTo>
                    <a:pt x="527866" y="251965"/>
                    <a:pt x="527866" y="251965"/>
                    <a:pt x="527866" y="251965"/>
                  </a:cubicBezTo>
                  <a:cubicBezTo>
                    <a:pt x="527866" y="250705"/>
                    <a:pt x="527866" y="250705"/>
                    <a:pt x="527866" y="249445"/>
                  </a:cubicBezTo>
                  <a:lnTo>
                    <a:pt x="527866" y="249445"/>
                  </a:lnTo>
                  <a:lnTo>
                    <a:pt x="527866" y="249445"/>
                  </a:ln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8185"/>
                    <a:pt x="527866" y="248185"/>
                    <a:pt x="527866" y="246925"/>
                  </a:cubicBezTo>
                  <a:lnTo>
                    <a:pt x="527866" y="245666"/>
                  </a:lnTo>
                  <a:cubicBezTo>
                    <a:pt x="527866" y="243146"/>
                    <a:pt x="527866" y="240626"/>
                    <a:pt x="529126" y="239366"/>
                  </a:cubicBezTo>
                  <a:cubicBezTo>
                    <a:pt x="529126" y="236847"/>
                    <a:pt x="530386" y="234327"/>
                    <a:pt x="531645" y="230548"/>
                  </a:cubicBezTo>
                  <a:cubicBezTo>
                    <a:pt x="532905" y="226768"/>
                    <a:pt x="534165" y="224248"/>
                    <a:pt x="535425" y="221729"/>
                  </a:cubicBezTo>
                  <a:cubicBezTo>
                    <a:pt x="536685" y="219209"/>
                    <a:pt x="539204" y="216690"/>
                    <a:pt x="540464" y="214170"/>
                  </a:cubicBezTo>
                  <a:cubicBezTo>
                    <a:pt x="540464" y="214170"/>
                    <a:pt x="540464" y="214170"/>
                    <a:pt x="540464" y="214170"/>
                  </a:cubicBezTo>
                  <a:cubicBezTo>
                    <a:pt x="540464" y="212910"/>
                    <a:pt x="541724" y="212910"/>
                    <a:pt x="541724" y="211650"/>
                  </a:cubicBezTo>
                  <a:cubicBezTo>
                    <a:pt x="541724" y="211650"/>
                    <a:pt x="542984" y="210390"/>
                    <a:pt x="542984" y="210390"/>
                  </a:cubicBezTo>
                  <a:cubicBezTo>
                    <a:pt x="542984" y="210390"/>
                    <a:pt x="542984" y="210390"/>
                    <a:pt x="542984" y="210390"/>
                  </a:cubicBezTo>
                  <a:cubicBezTo>
                    <a:pt x="542984" y="210390"/>
                    <a:pt x="542984" y="209131"/>
                    <a:pt x="544244" y="209131"/>
                  </a:cubicBezTo>
                  <a:cubicBezTo>
                    <a:pt x="545504" y="207871"/>
                    <a:pt x="546763" y="205351"/>
                    <a:pt x="549283" y="204091"/>
                  </a:cubicBezTo>
                  <a:cubicBezTo>
                    <a:pt x="550543" y="202831"/>
                    <a:pt x="553063" y="200312"/>
                    <a:pt x="555582" y="199052"/>
                  </a:cubicBezTo>
                  <a:cubicBezTo>
                    <a:pt x="556842" y="199052"/>
                    <a:pt x="558102" y="197792"/>
                    <a:pt x="559362" y="197792"/>
                  </a:cubicBezTo>
                  <a:cubicBezTo>
                    <a:pt x="560621" y="197792"/>
                    <a:pt x="561881" y="196532"/>
                    <a:pt x="563141" y="196532"/>
                  </a:cubicBezTo>
                  <a:cubicBezTo>
                    <a:pt x="566920" y="195273"/>
                    <a:pt x="571960" y="194013"/>
                    <a:pt x="575739" y="194013"/>
                  </a:cubicBezTo>
                  <a:cubicBezTo>
                    <a:pt x="576999" y="194013"/>
                    <a:pt x="576999" y="194013"/>
                    <a:pt x="578259" y="194013"/>
                  </a:cubicBezTo>
                  <a:cubicBezTo>
                    <a:pt x="583298" y="194013"/>
                    <a:pt x="589597" y="194013"/>
                    <a:pt x="594637" y="195273"/>
                  </a:cubicBezTo>
                  <a:cubicBezTo>
                    <a:pt x="594637" y="195273"/>
                    <a:pt x="595896" y="195273"/>
                    <a:pt x="595896" y="195273"/>
                  </a:cubicBezTo>
                  <a:cubicBezTo>
                    <a:pt x="599676" y="196532"/>
                    <a:pt x="603455" y="196532"/>
                    <a:pt x="605975" y="197792"/>
                  </a:cubicBezTo>
                  <a:cubicBezTo>
                    <a:pt x="609755" y="199052"/>
                    <a:pt x="612274" y="200312"/>
                    <a:pt x="616054" y="202831"/>
                  </a:cubicBezTo>
                  <a:lnTo>
                    <a:pt x="616054" y="202831"/>
                  </a:lnTo>
                  <a:cubicBezTo>
                    <a:pt x="617313" y="204091"/>
                    <a:pt x="619833" y="205351"/>
                    <a:pt x="621093" y="206611"/>
                  </a:cubicBezTo>
                  <a:cubicBezTo>
                    <a:pt x="621093" y="206611"/>
                    <a:pt x="621093" y="206611"/>
                    <a:pt x="622353" y="206611"/>
                  </a:cubicBezTo>
                  <a:cubicBezTo>
                    <a:pt x="623613" y="207871"/>
                    <a:pt x="624872" y="207871"/>
                    <a:pt x="624872" y="209131"/>
                  </a:cubicBezTo>
                  <a:cubicBezTo>
                    <a:pt x="624872" y="209131"/>
                    <a:pt x="624872" y="209131"/>
                    <a:pt x="626132" y="210390"/>
                  </a:cubicBezTo>
                  <a:cubicBezTo>
                    <a:pt x="627392" y="211650"/>
                    <a:pt x="628652" y="212910"/>
                    <a:pt x="629912" y="214170"/>
                  </a:cubicBezTo>
                  <a:cubicBezTo>
                    <a:pt x="631172" y="215430"/>
                    <a:pt x="631172" y="216690"/>
                    <a:pt x="632431" y="217949"/>
                  </a:cubicBezTo>
                  <a:cubicBezTo>
                    <a:pt x="633691" y="220469"/>
                    <a:pt x="636211" y="224248"/>
                    <a:pt x="637471" y="228028"/>
                  </a:cubicBezTo>
                  <a:cubicBezTo>
                    <a:pt x="638730" y="230548"/>
                    <a:pt x="638730" y="233067"/>
                    <a:pt x="639990" y="235587"/>
                  </a:cubicBezTo>
                  <a:lnTo>
                    <a:pt x="639990" y="236847"/>
                  </a:lnTo>
                  <a:cubicBezTo>
                    <a:pt x="641250" y="240626"/>
                    <a:pt x="641250" y="243146"/>
                    <a:pt x="642510" y="246925"/>
                  </a:cubicBezTo>
                  <a:cubicBezTo>
                    <a:pt x="642510" y="249445"/>
                    <a:pt x="643770" y="250705"/>
                    <a:pt x="643770" y="253224"/>
                  </a:cubicBezTo>
                  <a:lnTo>
                    <a:pt x="643770" y="253224"/>
                  </a:lnTo>
                  <a:cubicBezTo>
                    <a:pt x="643770" y="254484"/>
                    <a:pt x="643770" y="255744"/>
                    <a:pt x="643770" y="257004"/>
                  </a:cubicBezTo>
                  <a:cubicBezTo>
                    <a:pt x="645029" y="262043"/>
                    <a:pt x="646289" y="265823"/>
                    <a:pt x="647549" y="270862"/>
                  </a:cubicBezTo>
                  <a:cubicBezTo>
                    <a:pt x="647549" y="272122"/>
                    <a:pt x="648809" y="274641"/>
                    <a:pt x="648809" y="275901"/>
                  </a:cubicBezTo>
                  <a:lnTo>
                    <a:pt x="648809" y="275901"/>
                  </a:lnTo>
                  <a:cubicBezTo>
                    <a:pt x="650069" y="278421"/>
                    <a:pt x="650069" y="282200"/>
                    <a:pt x="651329" y="284720"/>
                  </a:cubicBezTo>
                  <a:cubicBezTo>
                    <a:pt x="652589" y="288499"/>
                    <a:pt x="653848" y="293539"/>
                    <a:pt x="655108" y="297318"/>
                  </a:cubicBezTo>
                  <a:cubicBezTo>
                    <a:pt x="656368" y="302358"/>
                    <a:pt x="658888" y="306137"/>
                    <a:pt x="660148" y="311176"/>
                  </a:cubicBezTo>
                  <a:cubicBezTo>
                    <a:pt x="660148" y="312436"/>
                    <a:pt x="661407" y="313696"/>
                    <a:pt x="661407" y="314956"/>
                  </a:cubicBezTo>
                  <a:cubicBezTo>
                    <a:pt x="662667" y="317475"/>
                    <a:pt x="663927" y="318735"/>
                    <a:pt x="665187" y="321255"/>
                  </a:cubicBezTo>
                  <a:cubicBezTo>
                    <a:pt x="665187" y="322515"/>
                    <a:pt x="666447" y="323775"/>
                    <a:pt x="666447" y="325034"/>
                  </a:cubicBezTo>
                  <a:cubicBezTo>
                    <a:pt x="667706" y="327554"/>
                    <a:pt x="668966" y="330074"/>
                    <a:pt x="670226" y="331333"/>
                  </a:cubicBezTo>
                  <a:cubicBezTo>
                    <a:pt x="674005" y="337633"/>
                    <a:pt x="677785" y="345192"/>
                    <a:pt x="681564" y="351491"/>
                  </a:cubicBezTo>
                  <a:cubicBezTo>
                    <a:pt x="681564" y="352751"/>
                    <a:pt x="682824" y="352751"/>
                    <a:pt x="682824" y="354010"/>
                  </a:cubicBezTo>
                  <a:cubicBezTo>
                    <a:pt x="686604" y="359050"/>
                    <a:pt x="690383" y="364089"/>
                    <a:pt x="694163" y="369128"/>
                  </a:cubicBezTo>
                  <a:cubicBezTo>
                    <a:pt x="694163" y="369128"/>
                    <a:pt x="695422" y="370388"/>
                    <a:pt x="695422" y="370388"/>
                  </a:cubicBezTo>
                  <a:cubicBezTo>
                    <a:pt x="695422" y="371648"/>
                    <a:pt x="696682" y="371648"/>
                    <a:pt x="696682" y="372908"/>
                  </a:cubicBezTo>
                  <a:cubicBezTo>
                    <a:pt x="696682" y="370388"/>
                    <a:pt x="696682" y="367868"/>
                    <a:pt x="696682" y="365349"/>
                  </a:cubicBezTo>
                  <a:cubicBezTo>
                    <a:pt x="696682" y="364089"/>
                    <a:pt x="696682" y="362829"/>
                    <a:pt x="696682" y="361569"/>
                  </a:cubicBezTo>
                  <a:cubicBezTo>
                    <a:pt x="696682" y="360309"/>
                    <a:pt x="696682" y="359050"/>
                    <a:pt x="696682" y="357790"/>
                  </a:cubicBezTo>
                  <a:lnTo>
                    <a:pt x="696682" y="356530"/>
                  </a:lnTo>
                  <a:cubicBezTo>
                    <a:pt x="696682" y="355270"/>
                    <a:pt x="696682" y="352751"/>
                    <a:pt x="696682" y="351491"/>
                  </a:cubicBezTo>
                  <a:lnTo>
                    <a:pt x="696682" y="351491"/>
                  </a:lnTo>
                  <a:cubicBezTo>
                    <a:pt x="696682" y="348971"/>
                    <a:pt x="696682" y="345192"/>
                    <a:pt x="696682" y="342672"/>
                  </a:cubicBezTo>
                  <a:lnTo>
                    <a:pt x="696682" y="341412"/>
                  </a:lnTo>
                  <a:lnTo>
                    <a:pt x="696682" y="341412"/>
                  </a:lnTo>
                  <a:cubicBezTo>
                    <a:pt x="696682" y="338892"/>
                    <a:pt x="696682" y="337633"/>
                    <a:pt x="696682" y="335113"/>
                  </a:cubicBezTo>
                  <a:lnTo>
                    <a:pt x="696682" y="333853"/>
                  </a:lnTo>
                  <a:cubicBezTo>
                    <a:pt x="696682" y="332593"/>
                    <a:pt x="696682" y="332593"/>
                    <a:pt x="696682" y="331333"/>
                  </a:cubicBezTo>
                  <a:cubicBezTo>
                    <a:pt x="696682" y="330074"/>
                    <a:pt x="696682" y="328814"/>
                    <a:pt x="696682" y="327554"/>
                  </a:cubicBezTo>
                  <a:lnTo>
                    <a:pt x="696682" y="326294"/>
                  </a:lnTo>
                  <a:cubicBezTo>
                    <a:pt x="696682" y="325034"/>
                    <a:pt x="696682" y="322515"/>
                    <a:pt x="696682" y="321255"/>
                  </a:cubicBezTo>
                  <a:cubicBezTo>
                    <a:pt x="696682" y="319995"/>
                    <a:pt x="696682" y="317475"/>
                    <a:pt x="696682" y="316216"/>
                  </a:cubicBezTo>
                  <a:lnTo>
                    <a:pt x="696682" y="314956"/>
                  </a:lnTo>
                  <a:lnTo>
                    <a:pt x="696682" y="313696"/>
                  </a:lnTo>
                  <a:cubicBezTo>
                    <a:pt x="696682" y="312436"/>
                    <a:pt x="696682" y="311176"/>
                    <a:pt x="696682" y="309916"/>
                  </a:cubicBezTo>
                  <a:cubicBezTo>
                    <a:pt x="696682" y="306137"/>
                    <a:pt x="696682" y="302358"/>
                    <a:pt x="696682" y="299838"/>
                  </a:cubicBezTo>
                  <a:cubicBezTo>
                    <a:pt x="696682" y="298578"/>
                    <a:pt x="696682" y="297318"/>
                    <a:pt x="696682" y="296058"/>
                  </a:cubicBezTo>
                  <a:cubicBezTo>
                    <a:pt x="696682" y="294799"/>
                    <a:pt x="696682" y="293539"/>
                    <a:pt x="696682" y="292279"/>
                  </a:cubicBezTo>
                  <a:cubicBezTo>
                    <a:pt x="696682" y="289759"/>
                    <a:pt x="696682" y="285980"/>
                    <a:pt x="696682" y="283460"/>
                  </a:cubicBezTo>
                  <a:cubicBezTo>
                    <a:pt x="696682" y="280940"/>
                    <a:pt x="696682" y="278421"/>
                    <a:pt x="696682" y="274641"/>
                  </a:cubicBezTo>
                  <a:cubicBezTo>
                    <a:pt x="696682" y="274641"/>
                    <a:pt x="696682" y="273382"/>
                    <a:pt x="696682" y="273382"/>
                  </a:cubicBezTo>
                  <a:lnTo>
                    <a:pt x="696682" y="272122"/>
                  </a:lnTo>
                  <a:cubicBezTo>
                    <a:pt x="696682" y="270862"/>
                    <a:pt x="696682" y="269602"/>
                    <a:pt x="696682" y="269602"/>
                  </a:cubicBezTo>
                  <a:cubicBezTo>
                    <a:pt x="696682" y="267083"/>
                    <a:pt x="696682" y="265823"/>
                    <a:pt x="696682" y="263303"/>
                  </a:cubicBezTo>
                  <a:lnTo>
                    <a:pt x="696682" y="263303"/>
                  </a:lnTo>
                  <a:cubicBezTo>
                    <a:pt x="696682" y="262043"/>
                    <a:pt x="696682" y="260783"/>
                    <a:pt x="696682" y="259523"/>
                  </a:cubicBezTo>
                  <a:cubicBezTo>
                    <a:pt x="696682" y="257004"/>
                    <a:pt x="696682" y="253224"/>
                    <a:pt x="696682" y="249445"/>
                  </a:cubicBezTo>
                  <a:cubicBezTo>
                    <a:pt x="696682" y="248185"/>
                    <a:pt x="696682" y="245666"/>
                    <a:pt x="696682" y="244406"/>
                  </a:cubicBezTo>
                  <a:cubicBezTo>
                    <a:pt x="696682" y="243146"/>
                    <a:pt x="696682" y="241886"/>
                    <a:pt x="696682" y="240626"/>
                  </a:cubicBezTo>
                  <a:lnTo>
                    <a:pt x="696682" y="240626"/>
                  </a:lnTo>
                  <a:lnTo>
                    <a:pt x="696682" y="240626"/>
                  </a:lnTo>
                  <a:cubicBezTo>
                    <a:pt x="696682" y="239366"/>
                    <a:pt x="696682" y="236847"/>
                    <a:pt x="696682" y="235587"/>
                  </a:cubicBezTo>
                  <a:cubicBezTo>
                    <a:pt x="696682" y="235587"/>
                    <a:pt x="696682" y="234327"/>
                    <a:pt x="696682" y="234327"/>
                  </a:cubicBezTo>
                  <a:lnTo>
                    <a:pt x="696682" y="233067"/>
                  </a:lnTo>
                  <a:cubicBezTo>
                    <a:pt x="696682" y="233067"/>
                    <a:pt x="696682" y="233067"/>
                    <a:pt x="696682" y="233067"/>
                  </a:cubicBezTo>
                  <a:cubicBezTo>
                    <a:pt x="696682" y="231807"/>
                    <a:pt x="696682" y="231807"/>
                    <a:pt x="697942" y="230548"/>
                  </a:cubicBezTo>
                  <a:lnTo>
                    <a:pt x="697942" y="229288"/>
                  </a:lnTo>
                  <a:cubicBezTo>
                    <a:pt x="697942" y="228028"/>
                    <a:pt x="697942" y="226768"/>
                    <a:pt x="699202" y="225508"/>
                  </a:cubicBezTo>
                  <a:cubicBezTo>
                    <a:pt x="699202" y="225508"/>
                    <a:pt x="699202" y="224248"/>
                    <a:pt x="699202" y="224248"/>
                  </a:cubicBezTo>
                  <a:cubicBezTo>
                    <a:pt x="699202" y="222989"/>
                    <a:pt x="699202" y="221729"/>
                    <a:pt x="700462" y="221729"/>
                  </a:cubicBezTo>
                  <a:cubicBezTo>
                    <a:pt x="700462" y="221729"/>
                    <a:pt x="701722" y="221729"/>
                    <a:pt x="701722" y="221729"/>
                  </a:cubicBezTo>
                  <a:cubicBezTo>
                    <a:pt x="701722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4241" y="222989"/>
                  </a:cubicBezTo>
                  <a:lnTo>
                    <a:pt x="704241" y="222989"/>
                  </a:lnTo>
                  <a:lnTo>
                    <a:pt x="704241" y="222989"/>
                  </a:lnTo>
                  <a:cubicBezTo>
                    <a:pt x="705501" y="222989"/>
                    <a:pt x="706761" y="224248"/>
                    <a:pt x="706761" y="225508"/>
                  </a:cubicBezTo>
                  <a:cubicBezTo>
                    <a:pt x="709281" y="233067"/>
                    <a:pt x="711800" y="239366"/>
                    <a:pt x="715580" y="244406"/>
                  </a:cubicBezTo>
                  <a:cubicBezTo>
                    <a:pt x="716840" y="245666"/>
                    <a:pt x="716840" y="246925"/>
                    <a:pt x="718099" y="248185"/>
                  </a:cubicBezTo>
                  <a:cubicBezTo>
                    <a:pt x="718099" y="249445"/>
                    <a:pt x="719359" y="249445"/>
                    <a:pt x="719359" y="250705"/>
                  </a:cubicBezTo>
                  <a:lnTo>
                    <a:pt x="719359" y="250705"/>
                  </a:lnTo>
                  <a:cubicBezTo>
                    <a:pt x="720619" y="253224"/>
                    <a:pt x="721879" y="255744"/>
                    <a:pt x="723139" y="258264"/>
                  </a:cubicBezTo>
                  <a:lnTo>
                    <a:pt x="724398" y="260783"/>
                  </a:lnTo>
                  <a:cubicBezTo>
                    <a:pt x="725658" y="263303"/>
                    <a:pt x="726918" y="264563"/>
                    <a:pt x="728178" y="267083"/>
                  </a:cubicBezTo>
                  <a:lnTo>
                    <a:pt x="729438" y="268342"/>
                  </a:lnTo>
                  <a:cubicBezTo>
                    <a:pt x="730698" y="270862"/>
                    <a:pt x="731957" y="272122"/>
                    <a:pt x="733217" y="274641"/>
                  </a:cubicBezTo>
                  <a:lnTo>
                    <a:pt x="735737" y="278421"/>
                  </a:lnTo>
                  <a:cubicBezTo>
                    <a:pt x="739516" y="284720"/>
                    <a:pt x="743296" y="291019"/>
                    <a:pt x="745815" y="297318"/>
                  </a:cubicBezTo>
                  <a:cubicBezTo>
                    <a:pt x="747075" y="299838"/>
                    <a:pt x="748335" y="301098"/>
                    <a:pt x="748335" y="303617"/>
                  </a:cubicBezTo>
                  <a:cubicBezTo>
                    <a:pt x="749595" y="304877"/>
                    <a:pt x="749595" y="307397"/>
                    <a:pt x="750855" y="308657"/>
                  </a:cubicBezTo>
                  <a:cubicBezTo>
                    <a:pt x="752114" y="309916"/>
                    <a:pt x="752114" y="311176"/>
                    <a:pt x="753374" y="313696"/>
                  </a:cubicBezTo>
                  <a:cubicBezTo>
                    <a:pt x="754634" y="314956"/>
                    <a:pt x="754634" y="317475"/>
                    <a:pt x="755894" y="318735"/>
                  </a:cubicBezTo>
                  <a:lnTo>
                    <a:pt x="755894" y="318735"/>
                  </a:lnTo>
                  <a:lnTo>
                    <a:pt x="755894" y="318735"/>
                  </a:lnTo>
                  <a:cubicBezTo>
                    <a:pt x="757154" y="321255"/>
                    <a:pt x="758414" y="322515"/>
                    <a:pt x="758414" y="325034"/>
                  </a:cubicBezTo>
                  <a:lnTo>
                    <a:pt x="758414" y="325034"/>
                  </a:lnTo>
                  <a:cubicBezTo>
                    <a:pt x="758414" y="325034"/>
                    <a:pt x="758414" y="325034"/>
                    <a:pt x="758414" y="325034"/>
                  </a:cubicBezTo>
                  <a:lnTo>
                    <a:pt x="758414" y="325034"/>
                  </a:lnTo>
                  <a:cubicBezTo>
                    <a:pt x="759673" y="327554"/>
                    <a:pt x="760933" y="330074"/>
                    <a:pt x="762193" y="332593"/>
                  </a:cubicBezTo>
                  <a:cubicBezTo>
                    <a:pt x="763453" y="336373"/>
                    <a:pt x="765973" y="340152"/>
                    <a:pt x="767232" y="343932"/>
                  </a:cubicBezTo>
                  <a:cubicBezTo>
                    <a:pt x="768492" y="347711"/>
                    <a:pt x="769752" y="350231"/>
                    <a:pt x="771012" y="354010"/>
                  </a:cubicBezTo>
                  <a:lnTo>
                    <a:pt x="771012" y="355270"/>
                  </a:lnTo>
                  <a:cubicBezTo>
                    <a:pt x="772272" y="357790"/>
                    <a:pt x="773532" y="361569"/>
                    <a:pt x="774791" y="365349"/>
                  </a:cubicBezTo>
                  <a:lnTo>
                    <a:pt x="776051" y="367868"/>
                  </a:lnTo>
                  <a:cubicBezTo>
                    <a:pt x="777311" y="369128"/>
                    <a:pt x="777311" y="371648"/>
                    <a:pt x="778571" y="372908"/>
                  </a:cubicBezTo>
                  <a:cubicBezTo>
                    <a:pt x="778571" y="371648"/>
                    <a:pt x="778571" y="370388"/>
                    <a:pt x="778571" y="369128"/>
                  </a:cubicBezTo>
                  <a:cubicBezTo>
                    <a:pt x="778571" y="370388"/>
                    <a:pt x="778571" y="371648"/>
                    <a:pt x="778571" y="372908"/>
                  </a:cubicBezTo>
                  <a:cubicBezTo>
                    <a:pt x="778571" y="371648"/>
                    <a:pt x="778571" y="370388"/>
                    <a:pt x="777311" y="367868"/>
                  </a:cubicBezTo>
                  <a:cubicBezTo>
                    <a:pt x="777311" y="367868"/>
                    <a:pt x="777311" y="367868"/>
                    <a:pt x="777311" y="367868"/>
                  </a:cubicBezTo>
                  <a:cubicBezTo>
                    <a:pt x="777311" y="36786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lnTo>
                    <a:pt x="777311" y="362829"/>
                  </a:lnTo>
                  <a:cubicBezTo>
                    <a:pt x="777311" y="362829"/>
                    <a:pt x="777311" y="362829"/>
                    <a:pt x="777311" y="364089"/>
                  </a:cubicBezTo>
                  <a:cubicBezTo>
                    <a:pt x="777311" y="362829"/>
                    <a:pt x="777311" y="360309"/>
                    <a:pt x="776051" y="359050"/>
                  </a:cubicBezTo>
                  <a:cubicBezTo>
                    <a:pt x="774791" y="355270"/>
                    <a:pt x="774791" y="351491"/>
                    <a:pt x="773532" y="346451"/>
                  </a:cubicBezTo>
                  <a:cubicBezTo>
                    <a:pt x="772272" y="338892"/>
                    <a:pt x="771012" y="331333"/>
                    <a:pt x="769752" y="323775"/>
                  </a:cubicBezTo>
                  <a:cubicBezTo>
                    <a:pt x="769752" y="323775"/>
                    <a:pt x="769752" y="323775"/>
                    <a:pt x="769752" y="323775"/>
                  </a:cubicBezTo>
                  <a:cubicBezTo>
                    <a:pt x="768492" y="316216"/>
                    <a:pt x="767232" y="308657"/>
                    <a:pt x="765973" y="299838"/>
                  </a:cubicBezTo>
                  <a:cubicBezTo>
                    <a:pt x="764713" y="288499"/>
                    <a:pt x="763453" y="277161"/>
                    <a:pt x="762193" y="265823"/>
                  </a:cubicBezTo>
                  <a:cubicBezTo>
                    <a:pt x="762193" y="265823"/>
                    <a:pt x="762193" y="265823"/>
                    <a:pt x="762193" y="265823"/>
                  </a:cubicBezTo>
                  <a:lnTo>
                    <a:pt x="760933" y="262043"/>
                  </a:lnTo>
                  <a:cubicBezTo>
                    <a:pt x="759673" y="258264"/>
                    <a:pt x="759673" y="254484"/>
                    <a:pt x="758414" y="250705"/>
                  </a:cubicBezTo>
                  <a:cubicBezTo>
                    <a:pt x="757154" y="245666"/>
                    <a:pt x="755894" y="241886"/>
                    <a:pt x="754634" y="236847"/>
                  </a:cubicBezTo>
                  <a:cubicBezTo>
                    <a:pt x="753374" y="233067"/>
                    <a:pt x="752114" y="229288"/>
                    <a:pt x="750855" y="225508"/>
                  </a:cubicBezTo>
                  <a:lnTo>
                    <a:pt x="750855" y="221729"/>
                  </a:lnTo>
                  <a:lnTo>
                    <a:pt x="750855" y="217949"/>
                  </a:lnTo>
                  <a:cubicBezTo>
                    <a:pt x="750855" y="212910"/>
                    <a:pt x="750855" y="207871"/>
                    <a:pt x="749595" y="202831"/>
                  </a:cubicBezTo>
                  <a:lnTo>
                    <a:pt x="749595" y="201572"/>
                  </a:lnTo>
                  <a:cubicBezTo>
                    <a:pt x="749595" y="200312"/>
                    <a:pt x="749595" y="199052"/>
                    <a:pt x="748335" y="197792"/>
                  </a:cubicBezTo>
                  <a:lnTo>
                    <a:pt x="748335" y="197792"/>
                  </a:lnTo>
                  <a:lnTo>
                    <a:pt x="748335" y="197792"/>
                  </a:lnTo>
                  <a:cubicBezTo>
                    <a:pt x="747075" y="191493"/>
                    <a:pt x="745815" y="185194"/>
                    <a:pt x="743296" y="178895"/>
                  </a:cubicBezTo>
                  <a:cubicBezTo>
                    <a:pt x="742036" y="172596"/>
                    <a:pt x="739516" y="166297"/>
                    <a:pt x="736997" y="158738"/>
                  </a:cubicBezTo>
                  <a:cubicBezTo>
                    <a:pt x="735737" y="156218"/>
                    <a:pt x="735737" y="154958"/>
                    <a:pt x="734477" y="152439"/>
                  </a:cubicBezTo>
                  <a:cubicBezTo>
                    <a:pt x="733217" y="147399"/>
                    <a:pt x="730698" y="142360"/>
                    <a:pt x="729438" y="137321"/>
                  </a:cubicBezTo>
                  <a:cubicBezTo>
                    <a:pt x="726918" y="131022"/>
                    <a:pt x="724398" y="124722"/>
                    <a:pt x="721879" y="118423"/>
                  </a:cubicBezTo>
                  <a:lnTo>
                    <a:pt x="720619" y="117163"/>
                  </a:lnTo>
                  <a:cubicBezTo>
                    <a:pt x="719359" y="114644"/>
                    <a:pt x="718099" y="113384"/>
                    <a:pt x="718099" y="110864"/>
                  </a:cubicBezTo>
                  <a:cubicBezTo>
                    <a:pt x="716840" y="107085"/>
                    <a:pt x="714320" y="103305"/>
                    <a:pt x="713060" y="99526"/>
                  </a:cubicBezTo>
                  <a:lnTo>
                    <a:pt x="713060" y="98266"/>
                  </a:lnTo>
                  <a:cubicBezTo>
                    <a:pt x="710540" y="91967"/>
                    <a:pt x="708021" y="84408"/>
                    <a:pt x="702981" y="79369"/>
                  </a:cubicBezTo>
                  <a:cubicBezTo>
                    <a:pt x="700462" y="75589"/>
                    <a:pt x="697942" y="73070"/>
                    <a:pt x="695422" y="70550"/>
                  </a:cubicBezTo>
                  <a:cubicBezTo>
                    <a:pt x="692903" y="68030"/>
                    <a:pt x="690383" y="65511"/>
                    <a:pt x="687864" y="62991"/>
                  </a:cubicBezTo>
                  <a:lnTo>
                    <a:pt x="686604" y="61731"/>
                  </a:lnTo>
                  <a:cubicBezTo>
                    <a:pt x="684084" y="59212"/>
                    <a:pt x="681564" y="56692"/>
                    <a:pt x="679045" y="54172"/>
                  </a:cubicBezTo>
                  <a:cubicBezTo>
                    <a:pt x="676525" y="51653"/>
                    <a:pt x="672746" y="49133"/>
                    <a:pt x="670226" y="47873"/>
                  </a:cubicBezTo>
                  <a:cubicBezTo>
                    <a:pt x="666447" y="45354"/>
                    <a:pt x="662667" y="42834"/>
                    <a:pt x="660148" y="41574"/>
                  </a:cubicBezTo>
                  <a:cubicBezTo>
                    <a:pt x="656368" y="40314"/>
                    <a:pt x="652589" y="37795"/>
                    <a:pt x="650069" y="36535"/>
                  </a:cubicBezTo>
                  <a:lnTo>
                    <a:pt x="650069" y="36535"/>
                  </a:lnTo>
                  <a:cubicBezTo>
                    <a:pt x="647549" y="35275"/>
                    <a:pt x="643770" y="34015"/>
                    <a:pt x="641250" y="32755"/>
                  </a:cubicBezTo>
                  <a:cubicBezTo>
                    <a:pt x="639990" y="32755"/>
                    <a:pt x="638730" y="31496"/>
                    <a:pt x="637471" y="31496"/>
                  </a:cubicBezTo>
                  <a:cubicBezTo>
                    <a:pt x="634951" y="30236"/>
                    <a:pt x="633691" y="30236"/>
                    <a:pt x="631172" y="28976"/>
                  </a:cubicBezTo>
                  <a:lnTo>
                    <a:pt x="628652" y="27716"/>
                  </a:lnTo>
                  <a:cubicBezTo>
                    <a:pt x="628652" y="27716"/>
                    <a:pt x="628652" y="27716"/>
                    <a:pt x="627392" y="27716"/>
                  </a:cubicBezTo>
                  <a:cubicBezTo>
                    <a:pt x="626132" y="26456"/>
                    <a:pt x="624872" y="26456"/>
                    <a:pt x="622353" y="25196"/>
                  </a:cubicBezTo>
                  <a:cubicBezTo>
                    <a:pt x="618573" y="23937"/>
                    <a:pt x="613534" y="23937"/>
                    <a:pt x="609755" y="22677"/>
                  </a:cubicBezTo>
                  <a:cubicBezTo>
                    <a:pt x="604715" y="21417"/>
                    <a:pt x="599676" y="20157"/>
                    <a:pt x="595896" y="18897"/>
                  </a:cubicBezTo>
                  <a:lnTo>
                    <a:pt x="595896" y="18897"/>
                  </a:lnTo>
                  <a:lnTo>
                    <a:pt x="590857" y="17637"/>
                  </a:lnTo>
                  <a:cubicBezTo>
                    <a:pt x="585818" y="16378"/>
                    <a:pt x="579519" y="15118"/>
                    <a:pt x="574480" y="12598"/>
                  </a:cubicBezTo>
                  <a:cubicBezTo>
                    <a:pt x="570700" y="11338"/>
                    <a:pt x="565661" y="10078"/>
                    <a:pt x="561881" y="8819"/>
                  </a:cubicBezTo>
                  <a:cubicBezTo>
                    <a:pt x="558102" y="7559"/>
                    <a:pt x="555582" y="6299"/>
                    <a:pt x="551803" y="6299"/>
                  </a:cubicBezTo>
                  <a:lnTo>
                    <a:pt x="550543" y="6299"/>
                  </a:lnTo>
                  <a:cubicBezTo>
                    <a:pt x="546763" y="5039"/>
                    <a:pt x="544244" y="3779"/>
                    <a:pt x="540464" y="3779"/>
                  </a:cubicBezTo>
                  <a:cubicBezTo>
                    <a:pt x="537945" y="3779"/>
                    <a:pt x="535425" y="2520"/>
                    <a:pt x="534165" y="2520"/>
                  </a:cubicBezTo>
                  <a:cubicBezTo>
                    <a:pt x="532905" y="2520"/>
                    <a:pt x="531645" y="2520"/>
                    <a:pt x="530386" y="1260"/>
                  </a:cubicBezTo>
                  <a:cubicBezTo>
                    <a:pt x="529126" y="1260"/>
                    <a:pt x="527866" y="126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37945" y="13858"/>
                    <a:pt x="537945" y="15118"/>
                    <a:pt x="537945" y="16378"/>
                  </a:cubicBezTo>
                  <a:close/>
                  <a:moveTo>
                    <a:pt x="162517" y="388025"/>
                  </a:moveTo>
                  <a:lnTo>
                    <a:pt x="162517" y="388025"/>
                  </a:lnTo>
                  <a:lnTo>
                    <a:pt x="162517" y="388025"/>
                  </a:lnTo>
                  <a:lnTo>
                    <a:pt x="162517" y="388025"/>
                  </a:lnTo>
                  <a:close/>
                  <a:moveTo>
                    <a:pt x="354010" y="725658"/>
                  </a:moveTo>
                  <a:cubicBezTo>
                    <a:pt x="352751" y="725658"/>
                    <a:pt x="352751" y="726918"/>
                    <a:pt x="351491" y="726918"/>
                  </a:cubicBezTo>
                  <a:cubicBezTo>
                    <a:pt x="352751" y="725658"/>
                    <a:pt x="354010" y="725658"/>
                    <a:pt x="354010" y="72565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/>
            <p:cNvSpPr/>
            <p:nvPr/>
          </p:nvSpPr>
          <p:spPr>
            <a:xfrm>
              <a:off x="2847916" y="3134201"/>
              <a:ext cx="340152" cy="730698"/>
            </a:xfrm>
            <a:custGeom>
              <a:avLst/>
              <a:gdLst>
                <a:gd name="connsiteX0" fmla="*/ 313696 w 340152"/>
                <a:gd name="connsiteY0" fmla="*/ 645030 h 730697"/>
                <a:gd name="connsiteX1" fmla="*/ 279681 w 340152"/>
                <a:gd name="connsiteY1" fmla="*/ 495110 h 730697"/>
                <a:gd name="connsiteX2" fmla="*/ 269602 w 340152"/>
                <a:gd name="connsiteY2" fmla="*/ 479993 h 730697"/>
                <a:gd name="connsiteX3" fmla="*/ 269602 w 340152"/>
                <a:gd name="connsiteY3" fmla="*/ 478733 h 730697"/>
                <a:gd name="connsiteX4" fmla="*/ 268342 w 340152"/>
                <a:gd name="connsiteY4" fmla="*/ 477473 h 730697"/>
                <a:gd name="connsiteX5" fmla="*/ 268342 w 340152"/>
                <a:gd name="connsiteY5" fmla="*/ 477473 h 730697"/>
                <a:gd name="connsiteX6" fmla="*/ 263303 w 340152"/>
                <a:gd name="connsiteY6" fmla="*/ 469914 h 730697"/>
                <a:gd name="connsiteX7" fmla="*/ 258264 w 340152"/>
                <a:gd name="connsiteY7" fmla="*/ 459836 h 730697"/>
                <a:gd name="connsiteX8" fmla="*/ 249445 w 340152"/>
                <a:gd name="connsiteY8" fmla="*/ 440938 h 730697"/>
                <a:gd name="connsiteX9" fmla="*/ 248185 w 340152"/>
                <a:gd name="connsiteY9" fmla="*/ 438418 h 730697"/>
                <a:gd name="connsiteX10" fmla="*/ 244406 w 340152"/>
                <a:gd name="connsiteY10" fmla="*/ 430860 h 730697"/>
                <a:gd name="connsiteX11" fmla="*/ 240626 w 340152"/>
                <a:gd name="connsiteY11" fmla="*/ 423301 h 730697"/>
                <a:gd name="connsiteX12" fmla="*/ 239366 w 340152"/>
                <a:gd name="connsiteY12" fmla="*/ 420781 h 730697"/>
                <a:gd name="connsiteX13" fmla="*/ 234327 w 340152"/>
                <a:gd name="connsiteY13" fmla="*/ 410702 h 730697"/>
                <a:gd name="connsiteX14" fmla="*/ 231808 w 340152"/>
                <a:gd name="connsiteY14" fmla="*/ 404403 h 730697"/>
                <a:gd name="connsiteX15" fmla="*/ 231808 w 340152"/>
                <a:gd name="connsiteY15" fmla="*/ 404403 h 730697"/>
                <a:gd name="connsiteX16" fmla="*/ 230548 w 340152"/>
                <a:gd name="connsiteY16" fmla="*/ 401884 h 730697"/>
                <a:gd name="connsiteX17" fmla="*/ 222989 w 340152"/>
                <a:gd name="connsiteY17" fmla="*/ 381726 h 730697"/>
                <a:gd name="connsiteX18" fmla="*/ 216690 w 340152"/>
                <a:gd name="connsiteY18" fmla="*/ 361569 h 730697"/>
                <a:gd name="connsiteX19" fmla="*/ 214170 w 340152"/>
                <a:gd name="connsiteY19" fmla="*/ 352751 h 730697"/>
                <a:gd name="connsiteX20" fmla="*/ 214170 w 340152"/>
                <a:gd name="connsiteY20" fmla="*/ 351491 h 730697"/>
                <a:gd name="connsiteX21" fmla="*/ 212910 w 340152"/>
                <a:gd name="connsiteY21" fmla="*/ 345192 h 730697"/>
                <a:gd name="connsiteX22" fmla="*/ 212910 w 340152"/>
                <a:gd name="connsiteY22" fmla="*/ 345192 h 730697"/>
                <a:gd name="connsiteX23" fmla="*/ 211650 w 340152"/>
                <a:gd name="connsiteY23" fmla="*/ 342672 h 730697"/>
                <a:gd name="connsiteX24" fmla="*/ 207871 w 340152"/>
                <a:gd name="connsiteY24" fmla="*/ 322515 h 730697"/>
                <a:gd name="connsiteX25" fmla="*/ 207871 w 340152"/>
                <a:gd name="connsiteY25" fmla="*/ 321255 h 730697"/>
                <a:gd name="connsiteX26" fmla="*/ 206611 w 340152"/>
                <a:gd name="connsiteY26" fmla="*/ 316216 h 730697"/>
                <a:gd name="connsiteX27" fmla="*/ 205351 w 340152"/>
                <a:gd name="connsiteY27" fmla="*/ 311176 h 730697"/>
                <a:gd name="connsiteX28" fmla="*/ 204092 w 340152"/>
                <a:gd name="connsiteY28" fmla="*/ 302358 h 730697"/>
                <a:gd name="connsiteX29" fmla="*/ 204092 w 340152"/>
                <a:gd name="connsiteY29" fmla="*/ 301098 h 730697"/>
                <a:gd name="connsiteX30" fmla="*/ 204092 w 340152"/>
                <a:gd name="connsiteY30" fmla="*/ 297318 h 730697"/>
                <a:gd name="connsiteX31" fmla="*/ 204092 w 340152"/>
                <a:gd name="connsiteY31" fmla="*/ 296058 h 730697"/>
                <a:gd name="connsiteX32" fmla="*/ 204092 w 340152"/>
                <a:gd name="connsiteY32" fmla="*/ 294799 h 730697"/>
                <a:gd name="connsiteX33" fmla="*/ 204092 w 340152"/>
                <a:gd name="connsiteY33" fmla="*/ 289759 h 730697"/>
                <a:gd name="connsiteX34" fmla="*/ 204092 w 340152"/>
                <a:gd name="connsiteY34" fmla="*/ 283460 h 730697"/>
                <a:gd name="connsiteX35" fmla="*/ 204092 w 340152"/>
                <a:gd name="connsiteY35" fmla="*/ 279681 h 730697"/>
                <a:gd name="connsiteX36" fmla="*/ 204092 w 340152"/>
                <a:gd name="connsiteY36" fmla="*/ 268342 h 730697"/>
                <a:gd name="connsiteX37" fmla="*/ 204092 w 340152"/>
                <a:gd name="connsiteY37" fmla="*/ 264563 h 730697"/>
                <a:gd name="connsiteX38" fmla="*/ 204092 w 340152"/>
                <a:gd name="connsiteY38" fmla="*/ 263303 h 730697"/>
                <a:gd name="connsiteX39" fmla="*/ 204092 w 340152"/>
                <a:gd name="connsiteY39" fmla="*/ 259523 h 730697"/>
                <a:gd name="connsiteX40" fmla="*/ 204092 w 340152"/>
                <a:gd name="connsiteY40" fmla="*/ 259523 h 730697"/>
                <a:gd name="connsiteX41" fmla="*/ 204092 w 340152"/>
                <a:gd name="connsiteY41" fmla="*/ 257004 h 730697"/>
                <a:gd name="connsiteX42" fmla="*/ 204092 w 340152"/>
                <a:gd name="connsiteY42" fmla="*/ 257004 h 730697"/>
                <a:gd name="connsiteX43" fmla="*/ 204092 w 340152"/>
                <a:gd name="connsiteY43" fmla="*/ 257004 h 730697"/>
                <a:gd name="connsiteX44" fmla="*/ 204092 w 340152"/>
                <a:gd name="connsiteY44" fmla="*/ 257004 h 730697"/>
                <a:gd name="connsiteX45" fmla="*/ 204092 w 340152"/>
                <a:gd name="connsiteY45" fmla="*/ 257004 h 730697"/>
                <a:gd name="connsiteX46" fmla="*/ 204092 w 340152"/>
                <a:gd name="connsiteY46" fmla="*/ 257004 h 730697"/>
                <a:gd name="connsiteX47" fmla="*/ 204092 w 340152"/>
                <a:gd name="connsiteY47" fmla="*/ 257004 h 730697"/>
                <a:gd name="connsiteX48" fmla="*/ 204092 w 340152"/>
                <a:gd name="connsiteY48" fmla="*/ 257004 h 730697"/>
                <a:gd name="connsiteX49" fmla="*/ 204092 w 340152"/>
                <a:gd name="connsiteY49" fmla="*/ 254484 h 730697"/>
                <a:gd name="connsiteX50" fmla="*/ 204092 w 340152"/>
                <a:gd name="connsiteY50" fmla="*/ 253224 h 730697"/>
                <a:gd name="connsiteX51" fmla="*/ 205351 w 340152"/>
                <a:gd name="connsiteY51" fmla="*/ 246925 h 730697"/>
                <a:gd name="connsiteX52" fmla="*/ 207871 w 340152"/>
                <a:gd name="connsiteY52" fmla="*/ 238107 h 730697"/>
                <a:gd name="connsiteX53" fmla="*/ 211650 w 340152"/>
                <a:gd name="connsiteY53" fmla="*/ 229288 h 730697"/>
                <a:gd name="connsiteX54" fmla="*/ 216690 w 340152"/>
                <a:gd name="connsiteY54" fmla="*/ 221729 h 730697"/>
                <a:gd name="connsiteX55" fmla="*/ 216690 w 340152"/>
                <a:gd name="connsiteY55" fmla="*/ 221729 h 730697"/>
                <a:gd name="connsiteX56" fmla="*/ 217949 w 340152"/>
                <a:gd name="connsiteY56" fmla="*/ 219209 h 730697"/>
                <a:gd name="connsiteX57" fmla="*/ 219209 w 340152"/>
                <a:gd name="connsiteY57" fmla="*/ 217949 h 730697"/>
                <a:gd name="connsiteX58" fmla="*/ 219209 w 340152"/>
                <a:gd name="connsiteY58" fmla="*/ 217949 h 730697"/>
                <a:gd name="connsiteX59" fmla="*/ 220469 w 340152"/>
                <a:gd name="connsiteY59" fmla="*/ 216690 h 730697"/>
                <a:gd name="connsiteX60" fmla="*/ 224249 w 340152"/>
                <a:gd name="connsiteY60" fmla="*/ 212910 h 730697"/>
                <a:gd name="connsiteX61" fmla="*/ 229288 w 340152"/>
                <a:gd name="connsiteY61" fmla="*/ 16378 h 730697"/>
                <a:gd name="connsiteX62" fmla="*/ 222989 w 340152"/>
                <a:gd name="connsiteY62" fmla="*/ 15118 h 730697"/>
                <a:gd name="connsiteX63" fmla="*/ 216690 w 340152"/>
                <a:gd name="connsiteY63" fmla="*/ 13858 h 730697"/>
                <a:gd name="connsiteX64" fmla="*/ 212910 w 340152"/>
                <a:gd name="connsiteY64" fmla="*/ 12598 h 730697"/>
                <a:gd name="connsiteX65" fmla="*/ 209131 w 340152"/>
                <a:gd name="connsiteY65" fmla="*/ 11338 h 730697"/>
                <a:gd name="connsiteX66" fmla="*/ 209131 w 340152"/>
                <a:gd name="connsiteY66" fmla="*/ 11338 h 730697"/>
                <a:gd name="connsiteX67" fmla="*/ 209131 w 340152"/>
                <a:gd name="connsiteY67" fmla="*/ 11338 h 730697"/>
                <a:gd name="connsiteX68" fmla="*/ 209131 w 340152"/>
                <a:gd name="connsiteY68" fmla="*/ 11338 h 730697"/>
                <a:gd name="connsiteX69" fmla="*/ 209131 w 340152"/>
                <a:gd name="connsiteY69" fmla="*/ 13858 h 730697"/>
                <a:gd name="connsiteX70" fmla="*/ 209131 w 340152"/>
                <a:gd name="connsiteY70" fmla="*/ 13858 h 730697"/>
                <a:gd name="connsiteX71" fmla="*/ 209131 w 340152"/>
                <a:gd name="connsiteY71" fmla="*/ 13858 h 730697"/>
                <a:gd name="connsiteX72" fmla="*/ 209131 w 340152"/>
                <a:gd name="connsiteY72" fmla="*/ 15118 h 730697"/>
                <a:gd name="connsiteX73" fmla="*/ 209131 w 340152"/>
                <a:gd name="connsiteY73" fmla="*/ 15118 h 730697"/>
                <a:gd name="connsiteX74" fmla="*/ 209131 w 340152"/>
                <a:gd name="connsiteY74" fmla="*/ 13858 h 730697"/>
                <a:gd name="connsiteX75" fmla="*/ 209131 w 340152"/>
                <a:gd name="connsiteY75" fmla="*/ 13858 h 730697"/>
                <a:gd name="connsiteX76" fmla="*/ 209131 w 340152"/>
                <a:gd name="connsiteY76" fmla="*/ 13858 h 730697"/>
                <a:gd name="connsiteX77" fmla="*/ 209131 w 340152"/>
                <a:gd name="connsiteY77" fmla="*/ 15118 h 730697"/>
                <a:gd name="connsiteX78" fmla="*/ 207871 w 340152"/>
                <a:gd name="connsiteY78" fmla="*/ 20157 h 730697"/>
                <a:gd name="connsiteX79" fmla="*/ 209131 w 340152"/>
                <a:gd name="connsiteY79" fmla="*/ 15118 h 730697"/>
                <a:gd name="connsiteX80" fmla="*/ 207871 w 340152"/>
                <a:gd name="connsiteY80" fmla="*/ 21417 h 730697"/>
                <a:gd name="connsiteX81" fmla="*/ 207871 w 340152"/>
                <a:gd name="connsiteY81" fmla="*/ 23937 h 730697"/>
                <a:gd name="connsiteX82" fmla="*/ 206611 w 340152"/>
                <a:gd name="connsiteY82" fmla="*/ 28976 h 730697"/>
                <a:gd name="connsiteX83" fmla="*/ 202832 w 340152"/>
                <a:gd name="connsiteY83" fmla="*/ 35275 h 730697"/>
                <a:gd name="connsiteX84" fmla="*/ 197792 w 340152"/>
                <a:gd name="connsiteY84" fmla="*/ 41574 h 730697"/>
                <a:gd name="connsiteX85" fmla="*/ 190233 w 340152"/>
                <a:gd name="connsiteY85" fmla="*/ 46613 h 730697"/>
                <a:gd name="connsiteX86" fmla="*/ 176375 w 340152"/>
                <a:gd name="connsiteY86" fmla="*/ 52913 h 730697"/>
                <a:gd name="connsiteX87" fmla="*/ 167557 w 340152"/>
                <a:gd name="connsiteY87" fmla="*/ 55432 h 730697"/>
                <a:gd name="connsiteX88" fmla="*/ 158738 w 340152"/>
                <a:gd name="connsiteY88" fmla="*/ 56692 h 730697"/>
                <a:gd name="connsiteX89" fmla="*/ 157478 w 340152"/>
                <a:gd name="connsiteY89" fmla="*/ 56692 h 730697"/>
                <a:gd name="connsiteX90" fmla="*/ 147399 w 340152"/>
                <a:gd name="connsiteY90" fmla="*/ 56692 h 730697"/>
                <a:gd name="connsiteX91" fmla="*/ 137321 w 340152"/>
                <a:gd name="connsiteY91" fmla="*/ 55432 h 730697"/>
                <a:gd name="connsiteX92" fmla="*/ 118424 w 340152"/>
                <a:gd name="connsiteY92" fmla="*/ 50393 h 730697"/>
                <a:gd name="connsiteX93" fmla="*/ 112124 w 340152"/>
                <a:gd name="connsiteY93" fmla="*/ 46613 h 730697"/>
                <a:gd name="connsiteX94" fmla="*/ 110864 w 340152"/>
                <a:gd name="connsiteY94" fmla="*/ 45354 h 730697"/>
                <a:gd name="connsiteX95" fmla="*/ 102046 w 340152"/>
                <a:gd name="connsiteY95" fmla="*/ 40314 h 730697"/>
                <a:gd name="connsiteX96" fmla="*/ 88188 w 340152"/>
                <a:gd name="connsiteY96" fmla="*/ 27716 h 730697"/>
                <a:gd name="connsiteX97" fmla="*/ 83148 w 340152"/>
                <a:gd name="connsiteY97" fmla="*/ 21417 h 730697"/>
                <a:gd name="connsiteX98" fmla="*/ 79369 w 340152"/>
                <a:gd name="connsiteY98" fmla="*/ 12598 h 730697"/>
                <a:gd name="connsiteX99" fmla="*/ 78109 w 340152"/>
                <a:gd name="connsiteY99" fmla="*/ 8819 h 730697"/>
                <a:gd name="connsiteX100" fmla="*/ 78109 w 340152"/>
                <a:gd name="connsiteY100" fmla="*/ 7559 h 730697"/>
                <a:gd name="connsiteX101" fmla="*/ 78109 w 340152"/>
                <a:gd name="connsiteY101" fmla="*/ 3779 h 730697"/>
                <a:gd name="connsiteX102" fmla="*/ 78109 w 340152"/>
                <a:gd name="connsiteY102" fmla="*/ 0 h 730697"/>
                <a:gd name="connsiteX103" fmla="*/ 78109 w 340152"/>
                <a:gd name="connsiteY103" fmla="*/ 0 h 730697"/>
                <a:gd name="connsiteX104" fmla="*/ 78109 w 340152"/>
                <a:gd name="connsiteY104" fmla="*/ 0 h 730697"/>
                <a:gd name="connsiteX105" fmla="*/ 78109 w 340152"/>
                <a:gd name="connsiteY105" fmla="*/ 0 h 730697"/>
                <a:gd name="connsiteX106" fmla="*/ 78109 w 340152"/>
                <a:gd name="connsiteY106" fmla="*/ 0 h 730697"/>
                <a:gd name="connsiteX107" fmla="*/ 78109 w 340152"/>
                <a:gd name="connsiteY107" fmla="*/ 0 h 730697"/>
                <a:gd name="connsiteX108" fmla="*/ 78109 w 340152"/>
                <a:gd name="connsiteY108" fmla="*/ 0 h 730697"/>
                <a:gd name="connsiteX109" fmla="*/ 78109 w 340152"/>
                <a:gd name="connsiteY109" fmla="*/ 0 h 730697"/>
                <a:gd name="connsiteX110" fmla="*/ 74330 w 340152"/>
                <a:gd name="connsiteY110" fmla="*/ 1260 h 730697"/>
                <a:gd name="connsiteX111" fmla="*/ 74330 w 340152"/>
                <a:gd name="connsiteY111" fmla="*/ 1260 h 730697"/>
                <a:gd name="connsiteX112" fmla="*/ 73070 w 340152"/>
                <a:gd name="connsiteY112" fmla="*/ 1260 h 730697"/>
                <a:gd name="connsiteX113" fmla="*/ 54172 w 340152"/>
                <a:gd name="connsiteY113" fmla="*/ 323775 h 730697"/>
                <a:gd name="connsiteX114" fmla="*/ 39055 w 340152"/>
                <a:gd name="connsiteY114" fmla="*/ 476213 h 730697"/>
                <a:gd name="connsiteX115" fmla="*/ 25196 w 340152"/>
                <a:gd name="connsiteY115" fmla="*/ 573220 h 730697"/>
                <a:gd name="connsiteX116" fmla="*/ 25196 w 340152"/>
                <a:gd name="connsiteY116" fmla="*/ 573220 h 730697"/>
                <a:gd name="connsiteX117" fmla="*/ 25196 w 340152"/>
                <a:gd name="connsiteY117" fmla="*/ 573220 h 730697"/>
                <a:gd name="connsiteX118" fmla="*/ 27716 w 340152"/>
                <a:gd name="connsiteY118" fmla="*/ 576999 h 730697"/>
                <a:gd name="connsiteX119" fmla="*/ 25196 w 340152"/>
                <a:gd name="connsiteY119" fmla="*/ 573220 h 730697"/>
                <a:gd name="connsiteX120" fmla="*/ 30236 w 340152"/>
                <a:gd name="connsiteY120" fmla="*/ 580778 h 730697"/>
                <a:gd name="connsiteX121" fmla="*/ 28976 w 340152"/>
                <a:gd name="connsiteY121" fmla="*/ 578259 h 730697"/>
                <a:gd name="connsiteX122" fmla="*/ 30236 w 340152"/>
                <a:gd name="connsiteY122" fmla="*/ 580778 h 730697"/>
                <a:gd name="connsiteX123" fmla="*/ 30236 w 340152"/>
                <a:gd name="connsiteY123" fmla="*/ 580778 h 730697"/>
                <a:gd name="connsiteX124" fmla="*/ 30236 w 340152"/>
                <a:gd name="connsiteY124" fmla="*/ 580778 h 730697"/>
                <a:gd name="connsiteX125" fmla="*/ 31496 w 340152"/>
                <a:gd name="connsiteY125" fmla="*/ 582038 h 730697"/>
                <a:gd name="connsiteX126" fmla="*/ 32755 w 340152"/>
                <a:gd name="connsiteY126" fmla="*/ 583298 h 730697"/>
                <a:gd name="connsiteX127" fmla="*/ 37795 w 340152"/>
                <a:gd name="connsiteY127" fmla="*/ 592117 h 730697"/>
                <a:gd name="connsiteX128" fmla="*/ 37795 w 340152"/>
                <a:gd name="connsiteY128" fmla="*/ 592117 h 730697"/>
                <a:gd name="connsiteX129" fmla="*/ 40314 w 340152"/>
                <a:gd name="connsiteY129" fmla="*/ 597156 h 730697"/>
                <a:gd name="connsiteX130" fmla="*/ 40314 w 340152"/>
                <a:gd name="connsiteY130" fmla="*/ 597156 h 730697"/>
                <a:gd name="connsiteX131" fmla="*/ 40314 w 340152"/>
                <a:gd name="connsiteY131" fmla="*/ 597156 h 730697"/>
                <a:gd name="connsiteX132" fmla="*/ 41574 w 340152"/>
                <a:gd name="connsiteY132" fmla="*/ 599676 h 730697"/>
                <a:gd name="connsiteX133" fmla="*/ 47873 w 340152"/>
                <a:gd name="connsiteY133" fmla="*/ 613534 h 730697"/>
                <a:gd name="connsiteX134" fmla="*/ 47873 w 340152"/>
                <a:gd name="connsiteY134" fmla="*/ 614794 h 730697"/>
                <a:gd name="connsiteX135" fmla="*/ 47873 w 340152"/>
                <a:gd name="connsiteY135" fmla="*/ 614794 h 730697"/>
                <a:gd name="connsiteX136" fmla="*/ 47873 w 340152"/>
                <a:gd name="connsiteY136" fmla="*/ 614794 h 730697"/>
                <a:gd name="connsiteX137" fmla="*/ 50393 w 340152"/>
                <a:gd name="connsiteY137" fmla="*/ 623613 h 730697"/>
                <a:gd name="connsiteX138" fmla="*/ 50393 w 340152"/>
                <a:gd name="connsiteY138" fmla="*/ 624872 h 730697"/>
                <a:gd name="connsiteX139" fmla="*/ 52913 w 340152"/>
                <a:gd name="connsiteY139" fmla="*/ 632431 h 730697"/>
                <a:gd name="connsiteX140" fmla="*/ 52913 w 340152"/>
                <a:gd name="connsiteY140" fmla="*/ 637471 h 730697"/>
                <a:gd name="connsiteX141" fmla="*/ 52913 w 340152"/>
                <a:gd name="connsiteY141" fmla="*/ 639990 h 730697"/>
                <a:gd name="connsiteX142" fmla="*/ 52913 w 340152"/>
                <a:gd name="connsiteY142" fmla="*/ 642510 h 730697"/>
                <a:gd name="connsiteX143" fmla="*/ 52913 w 340152"/>
                <a:gd name="connsiteY143" fmla="*/ 647549 h 730697"/>
                <a:gd name="connsiteX144" fmla="*/ 52913 w 340152"/>
                <a:gd name="connsiteY144" fmla="*/ 647549 h 730697"/>
                <a:gd name="connsiteX145" fmla="*/ 52913 w 340152"/>
                <a:gd name="connsiteY145" fmla="*/ 647549 h 730697"/>
                <a:gd name="connsiteX146" fmla="*/ 52913 w 340152"/>
                <a:gd name="connsiteY146" fmla="*/ 647549 h 730697"/>
                <a:gd name="connsiteX147" fmla="*/ 52913 w 340152"/>
                <a:gd name="connsiteY147" fmla="*/ 650069 h 730697"/>
                <a:gd name="connsiteX148" fmla="*/ 52913 w 340152"/>
                <a:gd name="connsiteY148" fmla="*/ 656368 h 730697"/>
                <a:gd name="connsiteX149" fmla="*/ 52913 w 340152"/>
                <a:gd name="connsiteY149" fmla="*/ 657628 h 730697"/>
                <a:gd name="connsiteX150" fmla="*/ 51653 w 340152"/>
                <a:gd name="connsiteY150" fmla="*/ 665187 h 730697"/>
                <a:gd name="connsiteX151" fmla="*/ 47873 w 340152"/>
                <a:gd name="connsiteY151" fmla="*/ 682824 h 730697"/>
                <a:gd name="connsiteX152" fmla="*/ 47873 w 340152"/>
                <a:gd name="connsiteY152" fmla="*/ 682824 h 730697"/>
                <a:gd name="connsiteX153" fmla="*/ 47873 w 340152"/>
                <a:gd name="connsiteY153" fmla="*/ 684084 h 730697"/>
                <a:gd name="connsiteX154" fmla="*/ 47873 w 340152"/>
                <a:gd name="connsiteY154" fmla="*/ 684084 h 730697"/>
                <a:gd name="connsiteX155" fmla="*/ 45354 w 340152"/>
                <a:gd name="connsiteY155" fmla="*/ 691643 h 730697"/>
                <a:gd name="connsiteX156" fmla="*/ 46614 w 340152"/>
                <a:gd name="connsiteY156" fmla="*/ 687863 h 730697"/>
                <a:gd name="connsiteX157" fmla="*/ 45354 w 340152"/>
                <a:gd name="connsiteY157" fmla="*/ 692903 h 730697"/>
                <a:gd name="connsiteX158" fmla="*/ 45354 w 340152"/>
                <a:gd name="connsiteY158" fmla="*/ 691643 h 730697"/>
                <a:gd name="connsiteX159" fmla="*/ 44094 w 340152"/>
                <a:gd name="connsiteY159" fmla="*/ 694163 h 730697"/>
                <a:gd name="connsiteX160" fmla="*/ 42834 w 340152"/>
                <a:gd name="connsiteY160" fmla="*/ 696682 h 730697"/>
                <a:gd name="connsiteX161" fmla="*/ 40314 w 340152"/>
                <a:gd name="connsiteY161" fmla="*/ 701722 h 730697"/>
                <a:gd name="connsiteX162" fmla="*/ 39055 w 340152"/>
                <a:gd name="connsiteY162" fmla="*/ 704241 h 730697"/>
                <a:gd name="connsiteX163" fmla="*/ 39055 w 340152"/>
                <a:gd name="connsiteY163" fmla="*/ 705501 h 730697"/>
                <a:gd name="connsiteX164" fmla="*/ 39055 w 340152"/>
                <a:gd name="connsiteY164" fmla="*/ 704241 h 730697"/>
                <a:gd name="connsiteX165" fmla="*/ 37795 w 340152"/>
                <a:gd name="connsiteY165" fmla="*/ 706761 h 730697"/>
                <a:gd name="connsiteX166" fmla="*/ 39055 w 340152"/>
                <a:gd name="connsiteY166" fmla="*/ 705501 h 730697"/>
                <a:gd name="connsiteX167" fmla="*/ 37795 w 340152"/>
                <a:gd name="connsiteY167" fmla="*/ 708021 h 730697"/>
                <a:gd name="connsiteX168" fmla="*/ 37795 w 340152"/>
                <a:gd name="connsiteY168" fmla="*/ 708021 h 730697"/>
                <a:gd name="connsiteX169" fmla="*/ 37795 w 340152"/>
                <a:gd name="connsiteY169" fmla="*/ 708021 h 730697"/>
                <a:gd name="connsiteX170" fmla="*/ 36535 w 340152"/>
                <a:gd name="connsiteY170" fmla="*/ 709280 h 730697"/>
                <a:gd name="connsiteX171" fmla="*/ 36535 w 340152"/>
                <a:gd name="connsiteY171" fmla="*/ 710540 h 730697"/>
                <a:gd name="connsiteX172" fmla="*/ 30236 w 340152"/>
                <a:gd name="connsiteY172" fmla="*/ 716839 h 730697"/>
                <a:gd name="connsiteX173" fmla="*/ 30236 w 340152"/>
                <a:gd name="connsiteY173" fmla="*/ 716839 h 730697"/>
                <a:gd name="connsiteX174" fmla="*/ 28976 w 340152"/>
                <a:gd name="connsiteY174" fmla="*/ 718099 h 730697"/>
                <a:gd name="connsiteX175" fmla="*/ 28976 w 340152"/>
                <a:gd name="connsiteY175" fmla="*/ 718099 h 730697"/>
                <a:gd name="connsiteX176" fmla="*/ 28976 w 340152"/>
                <a:gd name="connsiteY176" fmla="*/ 718099 h 730697"/>
                <a:gd name="connsiteX177" fmla="*/ 26456 w 340152"/>
                <a:gd name="connsiteY177" fmla="*/ 719359 h 730697"/>
                <a:gd name="connsiteX178" fmla="*/ 21417 w 340152"/>
                <a:gd name="connsiteY178" fmla="*/ 721879 h 730697"/>
                <a:gd name="connsiteX179" fmla="*/ 21417 w 340152"/>
                <a:gd name="connsiteY179" fmla="*/ 721879 h 730697"/>
                <a:gd name="connsiteX180" fmla="*/ 21417 w 340152"/>
                <a:gd name="connsiteY180" fmla="*/ 721879 h 730697"/>
                <a:gd name="connsiteX181" fmla="*/ 21417 w 340152"/>
                <a:gd name="connsiteY181" fmla="*/ 721879 h 730697"/>
                <a:gd name="connsiteX182" fmla="*/ 17638 w 340152"/>
                <a:gd name="connsiteY182" fmla="*/ 723139 h 730697"/>
                <a:gd name="connsiteX183" fmla="*/ 10079 w 340152"/>
                <a:gd name="connsiteY183" fmla="*/ 726918 h 730697"/>
                <a:gd name="connsiteX184" fmla="*/ 10079 w 340152"/>
                <a:gd name="connsiteY184" fmla="*/ 726918 h 730697"/>
                <a:gd name="connsiteX185" fmla="*/ 0 w 340152"/>
                <a:gd name="connsiteY185" fmla="*/ 729438 h 730697"/>
                <a:gd name="connsiteX186" fmla="*/ 0 w 340152"/>
                <a:gd name="connsiteY186" fmla="*/ 729438 h 730697"/>
                <a:gd name="connsiteX187" fmla="*/ 0 w 340152"/>
                <a:gd name="connsiteY187" fmla="*/ 729438 h 730697"/>
                <a:gd name="connsiteX188" fmla="*/ 0 w 340152"/>
                <a:gd name="connsiteY188" fmla="*/ 729438 h 730697"/>
                <a:gd name="connsiteX189" fmla="*/ 0 w 340152"/>
                <a:gd name="connsiteY189" fmla="*/ 729438 h 730697"/>
                <a:gd name="connsiteX190" fmla="*/ 0 w 340152"/>
                <a:gd name="connsiteY190" fmla="*/ 729438 h 730697"/>
                <a:gd name="connsiteX191" fmla="*/ 0 w 340152"/>
                <a:gd name="connsiteY191" fmla="*/ 729438 h 730697"/>
                <a:gd name="connsiteX192" fmla="*/ 0 w 340152"/>
                <a:gd name="connsiteY192" fmla="*/ 729438 h 730697"/>
                <a:gd name="connsiteX193" fmla="*/ 2520 w 340152"/>
                <a:gd name="connsiteY193" fmla="*/ 729438 h 730697"/>
                <a:gd name="connsiteX194" fmla="*/ 3780 w 340152"/>
                <a:gd name="connsiteY194" fmla="*/ 729438 h 730697"/>
                <a:gd name="connsiteX195" fmla="*/ 7559 w 340152"/>
                <a:gd name="connsiteY195" fmla="*/ 729438 h 730697"/>
                <a:gd name="connsiteX196" fmla="*/ 12598 w 340152"/>
                <a:gd name="connsiteY196" fmla="*/ 729438 h 730697"/>
                <a:gd name="connsiteX197" fmla="*/ 34015 w 340152"/>
                <a:gd name="connsiteY197" fmla="*/ 730698 h 730697"/>
                <a:gd name="connsiteX198" fmla="*/ 64251 w 340152"/>
                <a:gd name="connsiteY198" fmla="*/ 730698 h 730697"/>
                <a:gd name="connsiteX199" fmla="*/ 73070 w 340152"/>
                <a:gd name="connsiteY199" fmla="*/ 730698 h 730697"/>
                <a:gd name="connsiteX200" fmla="*/ 75589 w 340152"/>
                <a:gd name="connsiteY200" fmla="*/ 730698 h 730697"/>
                <a:gd name="connsiteX201" fmla="*/ 75589 w 340152"/>
                <a:gd name="connsiteY201" fmla="*/ 730698 h 730697"/>
                <a:gd name="connsiteX202" fmla="*/ 81889 w 340152"/>
                <a:gd name="connsiteY202" fmla="*/ 730698 h 730697"/>
                <a:gd name="connsiteX203" fmla="*/ 84408 w 340152"/>
                <a:gd name="connsiteY203" fmla="*/ 730698 h 730697"/>
                <a:gd name="connsiteX204" fmla="*/ 91967 w 340152"/>
                <a:gd name="connsiteY204" fmla="*/ 730698 h 730697"/>
                <a:gd name="connsiteX205" fmla="*/ 95747 w 340152"/>
                <a:gd name="connsiteY205" fmla="*/ 730698 h 730697"/>
                <a:gd name="connsiteX206" fmla="*/ 97007 w 340152"/>
                <a:gd name="connsiteY206" fmla="*/ 730698 h 730697"/>
                <a:gd name="connsiteX207" fmla="*/ 97007 w 340152"/>
                <a:gd name="connsiteY207" fmla="*/ 730698 h 730697"/>
                <a:gd name="connsiteX208" fmla="*/ 110864 w 340152"/>
                <a:gd name="connsiteY208" fmla="*/ 730698 h 730697"/>
                <a:gd name="connsiteX209" fmla="*/ 118424 w 340152"/>
                <a:gd name="connsiteY209" fmla="*/ 730698 h 730697"/>
                <a:gd name="connsiteX210" fmla="*/ 129762 w 340152"/>
                <a:gd name="connsiteY210" fmla="*/ 730698 h 730697"/>
                <a:gd name="connsiteX211" fmla="*/ 134801 w 340152"/>
                <a:gd name="connsiteY211" fmla="*/ 730698 h 730697"/>
                <a:gd name="connsiteX212" fmla="*/ 136061 w 340152"/>
                <a:gd name="connsiteY212" fmla="*/ 730698 h 730697"/>
                <a:gd name="connsiteX213" fmla="*/ 149919 w 340152"/>
                <a:gd name="connsiteY213" fmla="*/ 730698 h 730697"/>
                <a:gd name="connsiteX214" fmla="*/ 157478 w 340152"/>
                <a:gd name="connsiteY214" fmla="*/ 730698 h 730697"/>
                <a:gd name="connsiteX215" fmla="*/ 158738 w 340152"/>
                <a:gd name="connsiteY215" fmla="*/ 730698 h 730697"/>
                <a:gd name="connsiteX216" fmla="*/ 170076 w 340152"/>
                <a:gd name="connsiteY216" fmla="*/ 730698 h 730697"/>
                <a:gd name="connsiteX217" fmla="*/ 190233 w 340152"/>
                <a:gd name="connsiteY217" fmla="*/ 729438 h 730697"/>
                <a:gd name="connsiteX218" fmla="*/ 192753 w 340152"/>
                <a:gd name="connsiteY218" fmla="*/ 729438 h 730697"/>
                <a:gd name="connsiteX219" fmla="*/ 192753 w 340152"/>
                <a:gd name="connsiteY219" fmla="*/ 729438 h 730697"/>
                <a:gd name="connsiteX220" fmla="*/ 202832 w 340152"/>
                <a:gd name="connsiteY220" fmla="*/ 728178 h 730697"/>
                <a:gd name="connsiteX221" fmla="*/ 202832 w 340152"/>
                <a:gd name="connsiteY221" fmla="*/ 728178 h 730697"/>
                <a:gd name="connsiteX222" fmla="*/ 210391 w 340152"/>
                <a:gd name="connsiteY222" fmla="*/ 726918 h 730697"/>
                <a:gd name="connsiteX223" fmla="*/ 212910 w 340152"/>
                <a:gd name="connsiteY223" fmla="*/ 726918 h 730697"/>
                <a:gd name="connsiteX224" fmla="*/ 212910 w 340152"/>
                <a:gd name="connsiteY224" fmla="*/ 726918 h 730697"/>
                <a:gd name="connsiteX225" fmla="*/ 221729 w 340152"/>
                <a:gd name="connsiteY225" fmla="*/ 726918 h 730697"/>
                <a:gd name="connsiteX226" fmla="*/ 229288 w 340152"/>
                <a:gd name="connsiteY226" fmla="*/ 726918 h 730697"/>
                <a:gd name="connsiteX227" fmla="*/ 231808 w 340152"/>
                <a:gd name="connsiteY227" fmla="*/ 726918 h 730697"/>
                <a:gd name="connsiteX228" fmla="*/ 235587 w 340152"/>
                <a:gd name="connsiteY228" fmla="*/ 726918 h 730697"/>
                <a:gd name="connsiteX229" fmla="*/ 235587 w 340152"/>
                <a:gd name="connsiteY229" fmla="*/ 726918 h 730697"/>
                <a:gd name="connsiteX230" fmla="*/ 235587 w 340152"/>
                <a:gd name="connsiteY230" fmla="*/ 726918 h 730697"/>
                <a:gd name="connsiteX231" fmla="*/ 236847 w 340152"/>
                <a:gd name="connsiteY231" fmla="*/ 726918 h 730697"/>
                <a:gd name="connsiteX232" fmla="*/ 240626 w 340152"/>
                <a:gd name="connsiteY232" fmla="*/ 726918 h 730697"/>
                <a:gd name="connsiteX233" fmla="*/ 246925 w 340152"/>
                <a:gd name="connsiteY233" fmla="*/ 726918 h 730697"/>
                <a:gd name="connsiteX234" fmla="*/ 249445 w 340152"/>
                <a:gd name="connsiteY234" fmla="*/ 726918 h 730697"/>
                <a:gd name="connsiteX235" fmla="*/ 249445 w 340152"/>
                <a:gd name="connsiteY235" fmla="*/ 726918 h 730697"/>
                <a:gd name="connsiteX236" fmla="*/ 250705 w 340152"/>
                <a:gd name="connsiteY236" fmla="*/ 726918 h 730697"/>
                <a:gd name="connsiteX237" fmla="*/ 262043 w 340152"/>
                <a:gd name="connsiteY237" fmla="*/ 726918 h 730697"/>
                <a:gd name="connsiteX238" fmla="*/ 267083 w 340152"/>
                <a:gd name="connsiteY238" fmla="*/ 726918 h 730697"/>
                <a:gd name="connsiteX239" fmla="*/ 272122 w 340152"/>
                <a:gd name="connsiteY239" fmla="*/ 726918 h 730697"/>
                <a:gd name="connsiteX240" fmla="*/ 273382 w 340152"/>
                <a:gd name="connsiteY240" fmla="*/ 726918 h 730697"/>
                <a:gd name="connsiteX241" fmla="*/ 274642 w 340152"/>
                <a:gd name="connsiteY241" fmla="*/ 726918 h 730697"/>
                <a:gd name="connsiteX242" fmla="*/ 280941 w 340152"/>
                <a:gd name="connsiteY242" fmla="*/ 726918 h 730697"/>
                <a:gd name="connsiteX243" fmla="*/ 280941 w 340152"/>
                <a:gd name="connsiteY243" fmla="*/ 726918 h 730697"/>
                <a:gd name="connsiteX244" fmla="*/ 280941 w 340152"/>
                <a:gd name="connsiteY244" fmla="*/ 726918 h 730697"/>
                <a:gd name="connsiteX245" fmla="*/ 312436 w 340152"/>
                <a:gd name="connsiteY245" fmla="*/ 729438 h 730697"/>
                <a:gd name="connsiteX246" fmla="*/ 331334 w 340152"/>
                <a:gd name="connsiteY246" fmla="*/ 729438 h 730697"/>
                <a:gd name="connsiteX247" fmla="*/ 332593 w 340152"/>
                <a:gd name="connsiteY247" fmla="*/ 729438 h 730697"/>
                <a:gd name="connsiteX248" fmla="*/ 335113 w 340152"/>
                <a:gd name="connsiteY248" fmla="*/ 729438 h 730697"/>
                <a:gd name="connsiteX249" fmla="*/ 336373 w 340152"/>
                <a:gd name="connsiteY249" fmla="*/ 729438 h 730697"/>
                <a:gd name="connsiteX250" fmla="*/ 341412 w 340152"/>
                <a:gd name="connsiteY250" fmla="*/ 729438 h 730697"/>
                <a:gd name="connsiteX251" fmla="*/ 345192 w 340152"/>
                <a:gd name="connsiteY251" fmla="*/ 729438 h 730697"/>
                <a:gd name="connsiteX252" fmla="*/ 348971 w 340152"/>
                <a:gd name="connsiteY252" fmla="*/ 729438 h 730697"/>
                <a:gd name="connsiteX253" fmla="*/ 348971 w 340152"/>
                <a:gd name="connsiteY253" fmla="*/ 729438 h 730697"/>
                <a:gd name="connsiteX254" fmla="*/ 350231 w 340152"/>
                <a:gd name="connsiteY254" fmla="*/ 729438 h 730697"/>
                <a:gd name="connsiteX255" fmla="*/ 313696 w 340152"/>
                <a:gd name="connsiteY255" fmla="*/ 645030 h 7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340152" h="730697">
                  <a:moveTo>
                    <a:pt x="313696" y="645030"/>
                  </a:moveTo>
                  <a:cubicBezTo>
                    <a:pt x="299838" y="600936"/>
                    <a:pt x="282201" y="553062"/>
                    <a:pt x="279681" y="495110"/>
                  </a:cubicBezTo>
                  <a:cubicBezTo>
                    <a:pt x="275901" y="490071"/>
                    <a:pt x="273382" y="485032"/>
                    <a:pt x="269602" y="479993"/>
                  </a:cubicBezTo>
                  <a:lnTo>
                    <a:pt x="269602" y="478733"/>
                  </a:lnTo>
                  <a:lnTo>
                    <a:pt x="268342" y="477473"/>
                  </a:lnTo>
                  <a:lnTo>
                    <a:pt x="268342" y="477473"/>
                  </a:lnTo>
                  <a:cubicBezTo>
                    <a:pt x="267083" y="474953"/>
                    <a:pt x="264563" y="472434"/>
                    <a:pt x="263303" y="469914"/>
                  </a:cubicBezTo>
                  <a:cubicBezTo>
                    <a:pt x="262043" y="466135"/>
                    <a:pt x="259524" y="463615"/>
                    <a:pt x="258264" y="459836"/>
                  </a:cubicBezTo>
                  <a:cubicBezTo>
                    <a:pt x="255744" y="452277"/>
                    <a:pt x="251965" y="447237"/>
                    <a:pt x="249445" y="440938"/>
                  </a:cubicBezTo>
                  <a:lnTo>
                    <a:pt x="248185" y="438418"/>
                  </a:lnTo>
                  <a:cubicBezTo>
                    <a:pt x="246925" y="435899"/>
                    <a:pt x="245666" y="433379"/>
                    <a:pt x="244406" y="430860"/>
                  </a:cubicBezTo>
                  <a:cubicBezTo>
                    <a:pt x="243146" y="428340"/>
                    <a:pt x="241886" y="425820"/>
                    <a:pt x="240626" y="423301"/>
                  </a:cubicBezTo>
                  <a:lnTo>
                    <a:pt x="239366" y="420781"/>
                  </a:lnTo>
                  <a:cubicBezTo>
                    <a:pt x="238107" y="418261"/>
                    <a:pt x="235587" y="414482"/>
                    <a:pt x="234327" y="410702"/>
                  </a:cubicBezTo>
                  <a:cubicBezTo>
                    <a:pt x="233067" y="408183"/>
                    <a:pt x="233067" y="406923"/>
                    <a:pt x="231808" y="404403"/>
                  </a:cubicBezTo>
                  <a:lnTo>
                    <a:pt x="231808" y="404403"/>
                  </a:lnTo>
                  <a:cubicBezTo>
                    <a:pt x="231808" y="403143"/>
                    <a:pt x="230548" y="403143"/>
                    <a:pt x="230548" y="401884"/>
                  </a:cubicBezTo>
                  <a:cubicBezTo>
                    <a:pt x="228028" y="394325"/>
                    <a:pt x="225508" y="388025"/>
                    <a:pt x="222989" y="381726"/>
                  </a:cubicBezTo>
                  <a:cubicBezTo>
                    <a:pt x="220469" y="375427"/>
                    <a:pt x="217949" y="369128"/>
                    <a:pt x="216690" y="361569"/>
                  </a:cubicBezTo>
                  <a:cubicBezTo>
                    <a:pt x="215430" y="359050"/>
                    <a:pt x="215430" y="355270"/>
                    <a:pt x="214170" y="352751"/>
                  </a:cubicBezTo>
                  <a:lnTo>
                    <a:pt x="214170" y="351491"/>
                  </a:lnTo>
                  <a:cubicBezTo>
                    <a:pt x="214170" y="348971"/>
                    <a:pt x="212910" y="347711"/>
                    <a:pt x="212910" y="345192"/>
                  </a:cubicBezTo>
                  <a:lnTo>
                    <a:pt x="212910" y="345192"/>
                  </a:lnTo>
                  <a:cubicBezTo>
                    <a:pt x="212910" y="343932"/>
                    <a:pt x="212910" y="342672"/>
                    <a:pt x="211650" y="342672"/>
                  </a:cubicBezTo>
                  <a:cubicBezTo>
                    <a:pt x="210391" y="336373"/>
                    <a:pt x="209131" y="328814"/>
                    <a:pt x="207871" y="322515"/>
                  </a:cubicBezTo>
                  <a:lnTo>
                    <a:pt x="207871" y="321255"/>
                  </a:lnTo>
                  <a:cubicBezTo>
                    <a:pt x="207871" y="319995"/>
                    <a:pt x="207871" y="317475"/>
                    <a:pt x="206611" y="316216"/>
                  </a:cubicBezTo>
                  <a:cubicBezTo>
                    <a:pt x="206611" y="314956"/>
                    <a:pt x="206611" y="312436"/>
                    <a:pt x="205351" y="311176"/>
                  </a:cubicBezTo>
                  <a:cubicBezTo>
                    <a:pt x="205351" y="307397"/>
                    <a:pt x="204092" y="304877"/>
                    <a:pt x="204092" y="302358"/>
                  </a:cubicBezTo>
                  <a:lnTo>
                    <a:pt x="204092" y="301098"/>
                  </a:lnTo>
                  <a:cubicBezTo>
                    <a:pt x="204092" y="299838"/>
                    <a:pt x="204092" y="298578"/>
                    <a:pt x="204092" y="297318"/>
                  </a:cubicBezTo>
                  <a:lnTo>
                    <a:pt x="204092" y="296058"/>
                  </a:lnTo>
                  <a:lnTo>
                    <a:pt x="204092" y="294799"/>
                  </a:lnTo>
                  <a:cubicBezTo>
                    <a:pt x="204092" y="293539"/>
                    <a:pt x="204092" y="292279"/>
                    <a:pt x="204092" y="289759"/>
                  </a:cubicBezTo>
                  <a:cubicBezTo>
                    <a:pt x="204092" y="287240"/>
                    <a:pt x="204092" y="284720"/>
                    <a:pt x="204092" y="283460"/>
                  </a:cubicBezTo>
                  <a:cubicBezTo>
                    <a:pt x="204092" y="282200"/>
                    <a:pt x="204092" y="280940"/>
                    <a:pt x="204092" y="279681"/>
                  </a:cubicBezTo>
                  <a:cubicBezTo>
                    <a:pt x="204092" y="275901"/>
                    <a:pt x="204092" y="272122"/>
                    <a:pt x="204092" y="268342"/>
                  </a:cubicBezTo>
                  <a:cubicBezTo>
                    <a:pt x="204092" y="267083"/>
                    <a:pt x="204092" y="265823"/>
                    <a:pt x="204092" y="264563"/>
                  </a:cubicBezTo>
                  <a:cubicBezTo>
                    <a:pt x="204092" y="264563"/>
                    <a:pt x="204092" y="264563"/>
                    <a:pt x="204092" y="263303"/>
                  </a:cubicBezTo>
                  <a:cubicBezTo>
                    <a:pt x="204092" y="262043"/>
                    <a:pt x="204092" y="260783"/>
                    <a:pt x="204092" y="259523"/>
                  </a:cubicBezTo>
                  <a:cubicBezTo>
                    <a:pt x="204092" y="259523"/>
                    <a:pt x="204092" y="259523"/>
                    <a:pt x="204092" y="259523"/>
                  </a:cubicBezTo>
                  <a:cubicBezTo>
                    <a:pt x="204092" y="258264"/>
                    <a:pt x="204092" y="258264"/>
                    <a:pt x="204092" y="257004"/>
                  </a:cubicBezTo>
                  <a:lnTo>
                    <a:pt x="204092" y="257004"/>
                  </a:lnTo>
                  <a:lnTo>
                    <a:pt x="204092" y="257004"/>
                  </a:ln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5744"/>
                    <a:pt x="204092" y="255744"/>
                    <a:pt x="204092" y="254484"/>
                  </a:cubicBezTo>
                  <a:lnTo>
                    <a:pt x="204092" y="253224"/>
                  </a:lnTo>
                  <a:cubicBezTo>
                    <a:pt x="204092" y="250705"/>
                    <a:pt x="204092" y="248185"/>
                    <a:pt x="205351" y="246925"/>
                  </a:cubicBezTo>
                  <a:cubicBezTo>
                    <a:pt x="205351" y="244406"/>
                    <a:pt x="206611" y="241886"/>
                    <a:pt x="207871" y="238107"/>
                  </a:cubicBezTo>
                  <a:cubicBezTo>
                    <a:pt x="209131" y="234327"/>
                    <a:pt x="210391" y="231807"/>
                    <a:pt x="211650" y="229288"/>
                  </a:cubicBezTo>
                  <a:cubicBezTo>
                    <a:pt x="212910" y="226768"/>
                    <a:pt x="215430" y="224248"/>
                    <a:pt x="216690" y="221729"/>
                  </a:cubicBezTo>
                  <a:cubicBezTo>
                    <a:pt x="216690" y="221729"/>
                    <a:pt x="216690" y="221729"/>
                    <a:pt x="216690" y="221729"/>
                  </a:cubicBezTo>
                  <a:cubicBezTo>
                    <a:pt x="216690" y="220469"/>
                    <a:pt x="217949" y="220469"/>
                    <a:pt x="217949" y="219209"/>
                  </a:cubicBezTo>
                  <a:cubicBezTo>
                    <a:pt x="217949" y="219209"/>
                    <a:pt x="219209" y="217949"/>
                    <a:pt x="219209" y="217949"/>
                  </a:cubicBezTo>
                  <a:cubicBezTo>
                    <a:pt x="219209" y="217949"/>
                    <a:pt x="219209" y="217949"/>
                    <a:pt x="219209" y="217949"/>
                  </a:cubicBezTo>
                  <a:cubicBezTo>
                    <a:pt x="219209" y="217949"/>
                    <a:pt x="219209" y="216690"/>
                    <a:pt x="220469" y="216690"/>
                  </a:cubicBezTo>
                  <a:cubicBezTo>
                    <a:pt x="221729" y="215430"/>
                    <a:pt x="222989" y="214170"/>
                    <a:pt x="224249" y="212910"/>
                  </a:cubicBezTo>
                  <a:cubicBezTo>
                    <a:pt x="217949" y="144880"/>
                    <a:pt x="220469" y="78109"/>
                    <a:pt x="229288" y="16378"/>
                  </a:cubicBezTo>
                  <a:cubicBezTo>
                    <a:pt x="226768" y="15118"/>
                    <a:pt x="224249" y="15118"/>
                    <a:pt x="222989" y="15118"/>
                  </a:cubicBezTo>
                  <a:cubicBezTo>
                    <a:pt x="220469" y="15118"/>
                    <a:pt x="217949" y="13858"/>
                    <a:pt x="216690" y="13858"/>
                  </a:cubicBezTo>
                  <a:cubicBezTo>
                    <a:pt x="215430" y="13858"/>
                    <a:pt x="214170" y="13858"/>
                    <a:pt x="212910" y="12598"/>
                  </a:cubicBezTo>
                  <a:cubicBezTo>
                    <a:pt x="211650" y="12598"/>
                    <a:pt x="210391" y="1259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2598"/>
                    <a:pt x="209131" y="13858"/>
                    <a:pt x="209131" y="13858"/>
                  </a:cubicBezTo>
                  <a:cubicBezTo>
                    <a:pt x="209131" y="13858"/>
                    <a:pt x="209131" y="13858"/>
                    <a:pt x="209131" y="13858"/>
                  </a:cubicBez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5118"/>
                    <a:pt x="209131" y="15118"/>
                    <a:pt x="209131" y="15118"/>
                  </a:cubicBezTo>
                  <a:cubicBezTo>
                    <a:pt x="209131" y="15118"/>
                    <a:pt x="209131" y="13858"/>
                    <a:pt x="209131" y="13858"/>
                  </a:cubicBezTo>
                  <a:lnTo>
                    <a:pt x="209131" y="13858"/>
                  </a:ln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6378"/>
                    <a:pt x="209131" y="18897"/>
                    <a:pt x="207871" y="20157"/>
                  </a:cubicBezTo>
                  <a:cubicBezTo>
                    <a:pt x="207871" y="18897"/>
                    <a:pt x="207871" y="16378"/>
                    <a:pt x="209131" y="15118"/>
                  </a:cubicBezTo>
                  <a:cubicBezTo>
                    <a:pt x="209131" y="17637"/>
                    <a:pt x="209131" y="18897"/>
                    <a:pt x="207871" y="21417"/>
                  </a:cubicBezTo>
                  <a:cubicBezTo>
                    <a:pt x="207871" y="22677"/>
                    <a:pt x="207871" y="22677"/>
                    <a:pt x="207871" y="23937"/>
                  </a:cubicBezTo>
                  <a:cubicBezTo>
                    <a:pt x="207871" y="25196"/>
                    <a:pt x="206611" y="27716"/>
                    <a:pt x="206611" y="28976"/>
                  </a:cubicBezTo>
                  <a:cubicBezTo>
                    <a:pt x="205351" y="30236"/>
                    <a:pt x="205351" y="32755"/>
                    <a:pt x="202832" y="35275"/>
                  </a:cubicBezTo>
                  <a:cubicBezTo>
                    <a:pt x="201572" y="36535"/>
                    <a:pt x="200312" y="39054"/>
                    <a:pt x="197792" y="41574"/>
                  </a:cubicBezTo>
                  <a:cubicBezTo>
                    <a:pt x="195273" y="42834"/>
                    <a:pt x="194013" y="44094"/>
                    <a:pt x="190233" y="46613"/>
                  </a:cubicBezTo>
                  <a:cubicBezTo>
                    <a:pt x="185194" y="49133"/>
                    <a:pt x="181415" y="51653"/>
                    <a:pt x="176375" y="52913"/>
                  </a:cubicBezTo>
                  <a:cubicBezTo>
                    <a:pt x="173856" y="54172"/>
                    <a:pt x="171336" y="55432"/>
                    <a:pt x="167557" y="55432"/>
                  </a:cubicBezTo>
                  <a:cubicBezTo>
                    <a:pt x="163777" y="56692"/>
                    <a:pt x="161257" y="56692"/>
                    <a:pt x="158738" y="56692"/>
                  </a:cubicBezTo>
                  <a:cubicBezTo>
                    <a:pt x="158738" y="56692"/>
                    <a:pt x="157478" y="56692"/>
                    <a:pt x="157478" y="56692"/>
                  </a:cubicBezTo>
                  <a:cubicBezTo>
                    <a:pt x="153699" y="56692"/>
                    <a:pt x="151179" y="56692"/>
                    <a:pt x="147399" y="56692"/>
                  </a:cubicBezTo>
                  <a:cubicBezTo>
                    <a:pt x="143620" y="56692"/>
                    <a:pt x="141100" y="56692"/>
                    <a:pt x="137321" y="55432"/>
                  </a:cubicBezTo>
                  <a:cubicBezTo>
                    <a:pt x="129762" y="54172"/>
                    <a:pt x="123463" y="52913"/>
                    <a:pt x="118424" y="50393"/>
                  </a:cubicBezTo>
                  <a:cubicBezTo>
                    <a:pt x="115904" y="49133"/>
                    <a:pt x="113384" y="47873"/>
                    <a:pt x="112124" y="46613"/>
                  </a:cubicBezTo>
                  <a:lnTo>
                    <a:pt x="110864" y="45354"/>
                  </a:lnTo>
                  <a:cubicBezTo>
                    <a:pt x="107085" y="44094"/>
                    <a:pt x="104565" y="41574"/>
                    <a:pt x="102046" y="40314"/>
                  </a:cubicBezTo>
                  <a:cubicBezTo>
                    <a:pt x="97007" y="36535"/>
                    <a:pt x="91967" y="32755"/>
                    <a:pt x="88188" y="27716"/>
                  </a:cubicBezTo>
                  <a:cubicBezTo>
                    <a:pt x="85668" y="25196"/>
                    <a:pt x="84408" y="23937"/>
                    <a:pt x="83148" y="21417"/>
                  </a:cubicBezTo>
                  <a:cubicBezTo>
                    <a:pt x="81889" y="18897"/>
                    <a:pt x="80629" y="15118"/>
                    <a:pt x="79369" y="12598"/>
                  </a:cubicBezTo>
                  <a:cubicBezTo>
                    <a:pt x="79369" y="11338"/>
                    <a:pt x="78109" y="10078"/>
                    <a:pt x="78109" y="8819"/>
                  </a:cubicBezTo>
                  <a:lnTo>
                    <a:pt x="78109" y="7559"/>
                  </a:lnTo>
                  <a:cubicBezTo>
                    <a:pt x="78109" y="6299"/>
                    <a:pt x="76849" y="5039"/>
                    <a:pt x="78109" y="3779"/>
                  </a:cubicBezTo>
                  <a:cubicBezTo>
                    <a:pt x="78109" y="2520"/>
                    <a:pt x="78109" y="126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cubicBezTo>
                    <a:pt x="78109" y="0"/>
                    <a:pt x="78109" y="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cubicBezTo>
                    <a:pt x="76849" y="0"/>
                    <a:pt x="75589" y="1260"/>
                    <a:pt x="74330" y="1260"/>
                  </a:cubicBezTo>
                  <a:lnTo>
                    <a:pt x="74330" y="1260"/>
                  </a:lnTo>
                  <a:lnTo>
                    <a:pt x="73070" y="1260"/>
                  </a:lnTo>
                  <a:cubicBezTo>
                    <a:pt x="84408" y="105825"/>
                    <a:pt x="80629" y="217949"/>
                    <a:pt x="54172" y="323775"/>
                  </a:cubicBezTo>
                  <a:cubicBezTo>
                    <a:pt x="49133" y="374167"/>
                    <a:pt x="45354" y="425820"/>
                    <a:pt x="39055" y="476213"/>
                  </a:cubicBezTo>
                  <a:cubicBezTo>
                    <a:pt x="35275" y="507709"/>
                    <a:pt x="31496" y="540464"/>
                    <a:pt x="25196" y="573220"/>
                  </a:cubicBezTo>
                  <a:lnTo>
                    <a:pt x="25196" y="573220"/>
                  </a:lnTo>
                  <a:cubicBezTo>
                    <a:pt x="25196" y="573220"/>
                    <a:pt x="25196" y="573220"/>
                    <a:pt x="25196" y="573220"/>
                  </a:cubicBezTo>
                  <a:cubicBezTo>
                    <a:pt x="26456" y="574479"/>
                    <a:pt x="26456" y="575739"/>
                    <a:pt x="27716" y="576999"/>
                  </a:cubicBezTo>
                  <a:cubicBezTo>
                    <a:pt x="26456" y="575739"/>
                    <a:pt x="26456" y="574479"/>
                    <a:pt x="25196" y="573220"/>
                  </a:cubicBezTo>
                  <a:cubicBezTo>
                    <a:pt x="26456" y="575739"/>
                    <a:pt x="28976" y="578259"/>
                    <a:pt x="30236" y="580778"/>
                  </a:cubicBezTo>
                  <a:cubicBezTo>
                    <a:pt x="30236" y="579519"/>
                    <a:pt x="28976" y="579519"/>
                    <a:pt x="28976" y="578259"/>
                  </a:cubicBezTo>
                  <a:cubicBezTo>
                    <a:pt x="28976" y="579519"/>
                    <a:pt x="30236" y="579519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2038"/>
                    <a:pt x="31496" y="582038"/>
                  </a:cubicBezTo>
                  <a:cubicBezTo>
                    <a:pt x="31496" y="582038"/>
                    <a:pt x="32755" y="583298"/>
                    <a:pt x="32755" y="583298"/>
                  </a:cubicBezTo>
                  <a:cubicBezTo>
                    <a:pt x="34015" y="585818"/>
                    <a:pt x="36535" y="588337"/>
                    <a:pt x="37795" y="592117"/>
                  </a:cubicBezTo>
                  <a:cubicBezTo>
                    <a:pt x="37795" y="592117"/>
                    <a:pt x="37795" y="592117"/>
                    <a:pt x="37795" y="592117"/>
                  </a:cubicBezTo>
                  <a:cubicBezTo>
                    <a:pt x="39055" y="593377"/>
                    <a:pt x="40314" y="595896"/>
                    <a:pt x="40314" y="597156"/>
                  </a:cubicBezTo>
                  <a:lnTo>
                    <a:pt x="40314" y="597156"/>
                  </a:lnTo>
                  <a:lnTo>
                    <a:pt x="40314" y="597156"/>
                  </a:lnTo>
                  <a:cubicBezTo>
                    <a:pt x="40314" y="598416"/>
                    <a:pt x="41574" y="598416"/>
                    <a:pt x="41574" y="599676"/>
                  </a:cubicBezTo>
                  <a:cubicBezTo>
                    <a:pt x="44094" y="604715"/>
                    <a:pt x="45354" y="608495"/>
                    <a:pt x="47873" y="613534"/>
                  </a:cubicBezTo>
                  <a:cubicBezTo>
                    <a:pt x="47873" y="613534"/>
                    <a:pt x="47873" y="614794"/>
                    <a:pt x="47873" y="614794"/>
                  </a:cubicBezTo>
                  <a:lnTo>
                    <a:pt x="47873" y="614794"/>
                  </a:lnTo>
                  <a:lnTo>
                    <a:pt x="47873" y="614794"/>
                  </a:lnTo>
                  <a:cubicBezTo>
                    <a:pt x="49133" y="617313"/>
                    <a:pt x="50393" y="621093"/>
                    <a:pt x="50393" y="623613"/>
                  </a:cubicBezTo>
                  <a:lnTo>
                    <a:pt x="50393" y="624872"/>
                  </a:lnTo>
                  <a:cubicBezTo>
                    <a:pt x="51653" y="627392"/>
                    <a:pt x="51653" y="629912"/>
                    <a:pt x="52913" y="632431"/>
                  </a:cubicBezTo>
                  <a:cubicBezTo>
                    <a:pt x="52913" y="633691"/>
                    <a:pt x="52913" y="634951"/>
                    <a:pt x="52913" y="637471"/>
                  </a:cubicBezTo>
                  <a:lnTo>
                    <a:pt x="52913" y="639990"/>
                  </a:lnTo>
                  <a:lnTo>
                    <a:pt x="52913" y="642510"/>
                  </a:lnTo>
                  <a:cubicBezTo>
                    <a:pt x="52913" y="643770"/>
                    <a:pt x="52913" y="646289"/>
                    <a:pt x="52913" y="647549"/>
                  </a:cubicBezTo>
                  <a:cubicBezTo>
                    <a:pt x="52913" y="647549"/>
                    <a:pt x="52913" y="647549"/>
                    <a:pt x="52913" y="647549"/>
                  </a:cubicBezTo>
                  <a:lnTo>
                    <a:pt x="52913" y="647549"/>
                  </a:lnTo>
                  <a:lnTo>
                    <a:pt x="52913" y="647549"/>
                  </a:lnTo>
                  <a:lnTo>
                    <a:pt x="52913" y="650069"/>
                  </a:lnTo>
                  <a:cubicBezTo>
                    <a:pt x="52913" y="652588"/>
                    <a:pt x="52913" y="653848"/>
                    <a:pt x="52913" y="656368"/>
                  </a:cubicBezTo>
                  <a:lnTo>
                    <a:pt x="52913" y="657628"/>
                  </a:lnTo>
                  <a:cubicBezTo>
                    <a:pt x="52913" y="660147"/>
                    <a:pt x="52913" y="662667"/>
                    <a:pt x="51653" y="665187"/>
                  </a:cubicBezTo>
                  <a:cubicBezTo>
                    <a:pt x="50393" y="672746"/>
                    <a:pt x="49133" y="677785"/>
                    <a:pt x="47873" y="682824"/>
                  </a:cubicBezTo>
                  <a:cubicBezTo>
                    <a:pt x="47873" y="682824"/>
                    <a:pt x="47873" y="682824"/>
                    <a:pt x="47873" y="682824"/>
                  </a:cubicBezTo>
                  <a:lnTo>
                    <a:pt x="47873" y="684084"/>
                  </a:lnTo>
                  <a:cubicBezTo>
                    <a:pt x="47873" y="684084"/>
                    <a:pt x="47873" y="684084"/>
                    <a:pt x="47873" y="684084"/>
                  </a:cubicBezTo>
                  <a:cubicBezTo>
                    <a:pt x="46614" y="686604"/>
                    <a:pt x="46614" y="689123"/>
                    <a:pt x="45354" y="691643"/>
                  </a:cubicBezTo>
                  <a:cubicBezTo>
                    <a:pt x="45354" y="690383"/>
                    <a:pt x="46614" y="689123"/>
                    <a:pt x="46614" y="687863"/>
                  </a:cubicBezTo>
                  <a:cubicBezTo>
                    <a:pt x="46614" y="689123"/>
                    <a:pt x="45354" y="690383"/>
                    <a:pt x="45354" y="692903"/>
                  </a:cubicBezTo>
                  <a:cubicBezTo>
                    <a:pt x="45354" y="692903"/>
                    <a:pt x="45354" y="692903"/>
                    <a:pt x="45354" y="691643"/>
                  </a:cubicBezTo>
                  <a:cubicBezTo>
                    <a:pt x="45354" y="692903"/>
                    <a:pt x="45354" y="692903"/>
                    <a:pt x="44094" y="694163"/>
                  </a:cubicBezTo>
                  <a:cubicBezTo>
                    <a:pt x="44094" y="695422"/>
                    <a:pt x="42834" y="695422"/>
                    <a:pt x="42834" y="696682"/>
                  </a:cubicBezTo>
                  <a:cubicBezTo>
                    <a:pt x="41574" y="697942"/>
                    <a:pt x="41574" y="699202"/>
                    <a:pt x="40314" y="701722"/>
                  </a:cubicBezTo>
                  <a:cubicBezTo>
                    <a:pt x="40314" y="702981"/>
                    <a:pt x="39055" y="702981"/>
                    <a:pt x="39055" y="704241"/>
                  </a:cubicBezTo>
                  <a:cubicBezTo>
                    <a:pt x="39055" y="704241"/>
                    <a:pt x="39055" y="704241"/>
                    <a:pt x="39055" y="705501"/>
                  </a:cubicBezTo>
                  <a:cubicBezTo>
                    <a:pt x="39055" y="705501"/>
                    <a:pt x="39055" y="705501"/>
                    <a:pt x="39055" y="704241"/>
                  </a:cubicBezTo>
                  <a:cubicBezTo>
                    <a:pt x="39055" y="705501"/>
                    <a:pt x="37795" y="705501"/>
                    <a:pt x="37795" y="706761"/>
                  </a:cubicBezTo>
                  <a:cubicBezTo>
                    <a:pt x="37795" y="706761"/>
                    <a:pt x="39055" y="705501"/>
                    <a:pt x="39055" y="705501"/>
                  </a:cubicBezTo>
                  <a:cubicBezTo>
                    <a:pt x="39055" y="706761"/>
                    <a:pt x="37795" y="70676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9280"/>
                    <a:pt x="36535" y="709280"/>
                    <a:pt x="36535" y="709280"/>
                  </a:cubicBezTo>
                  <a:lnTo>
                    <a:pt x="36535" y="710540"/>
                  </a:lnTo>
                  <a:cubicBezTo>
                    <a:pt x="34015" y="713060"/>
                    <a:pt x="32755" y="715580"/>
                    <a:pt x="30236" y="716839"/>
                  </a:cubicBezTo>
                  <a:lnTo>
                    <a:pt x="30236" y="716839"/>
                  </a:lnTo>
                  <a:cubicBezTo>
                    <a:pt x="30236" y="71683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7716" y="718099"/>
                    <a:pt x="27716" y="719359"/>
                    <a:pt x="26456" y="719359"/>
                  </a:cubicBezTo>
                  <a:cubicBezTo>
                    <a:pt x="25196" y="720619"/>
                    <a:pt x="22677" y="721879"/>
                    <a:pt x="21417" y="721879"/>
                  </a:cubicBezTo>
                  <a:lnTo>
                    <a:pt x="21417" y="721879"/>
                  </a:lnTo>
                  <a:lnTo>
                    <a:pt x="21417" y="721879"/>
                  </a:lnTo>
                  <a:lnTo>
                    <a:pt x="21417" y="721879"/>
                  </a:lnTo>
                  <a:cubicBezTo>
                    <a:pt x="20157" y="721879"/>
                    <a:pt x="18897" y="723139"/>
                    <a:pt x="17638" y="723139"/>
                  </a:cubicBezTo>
                  <a:cubicBezTo>
                    <a:pt x="15118" y="724398"/>
                    <a:pt x="12598" y="725658"/>
                    <a:pt x="10079" y="726918"/>
                  </a:cubicBezTo>
                  <a:lnTo>
                    <a:pt x="10079" y="726918"/>
                  </a:lnTo>
                  <a:cubicBezTo>
                    <a:pt x="6299" y="728178"/>
                    <a:pt x="378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lnTo>
                    <a:pt x="0" y="729438"/>
                  </a:lnTo>
                  <a:lnTo>
                    <a:pt x="0" y="729438"/>
                  </a:lnTo>
                  <a:cubicBezTo>
                    <a:pt x="0" y="729438"/>
                    <a:pt x="0" y="729438"/>
                    <a:pt x="0" y="729438"/>
                  </a:cubicBezTo>
                  <a:cubicBezTo>
                    <a:pt x="1260" y="729438"/>
                    <a:pt x="1260" y="729438"/>
                    <a:pt x="2520" y="729438"/>
                  </a:cubicBezTo>
                  <a:lnTo>
                    <a:pt x="3780" y="729438"/>
                  </a:lnTo>
                  <a:cubicBezTo>
                    <a:pt x="5039" y="729438"/>
                    <a:pt x="6299" y="729438"/>
                    <a:pt x="7559" y="729438"/>
                  </a:cubicBezTo>
                  <a:cubicBezTo>
                    <a:pt x="8819" y="729438"/>
                    <a:pt x="11339" y="729438"/>
                    <a:pt x="12598" y="729438"/>
                  </a:cubicBezTo>
                  <a:cubicBezTo>
                    <a:pt x="18897" y="729438"/>
                    <a:pt x="26456" y="730698"/>
                    <a:pt x="34015" y="730698"/>
                  </a:cubicBezTo>
                  <a:cubicBezTo>
                    <a:pt x="44094" y="730698"/>
                    <a:pt x="54172" y="730698"/>
                    <a:pt x="64251" y="730698"/>
                  </a:cubicBezTo>
                  <a:cubicBezTo>
                    <a:pt x="66771" y="730698"/>
                    <a:pt x="69290" y="730698"/>
                    <a:pt x="73070" y="730698"/>
                  </a:cubicBezTo>
                  <a:lnTo>
                    <a:pt x="75589" y="730698"/>
                  </a:lnTo>
                  <a:lnTo>
                    <a:pt x="75589" y="730698"/>
                  </a:lnTo>
                  <a:cubicBezTo>
                    <a:pt x="78109" y="730698"/>
                    <a:pt x="79369" y="730698"/>
                    <a:pt x="81889" y="730698"/>
                  </a:cubicBezTo>
                  <a:cubicBezTo>
                    <a:pt x="83148" y="730698"/>
                    <a:pt x="83148" y="730698"/>
                    <a:pt x="84408" y="730698"/>
                  </a:cubicBezTo>
                  <a:cubicBezTo>
                    <a:pt x="86928" y="730698"/>
                    <a:pt x="89448" y="730698"/>
                    <a:pt x="91967" y="730698"/>
                  </a:cubicBezTo>
                  <a:cubicBezTo>
                    <a:pt x="93227" y="730698"/>
                    <a:pt x="94487" y="730698"/>
                    <a:pt x="95747" y="730698"/>
                  </a:cubicBezTo>
                  <a:cubicBezTo>
                    <a:pt x="95747" y="730698"/>
                    <a:pt x="97007" y="730698"/>
                    <a:pt x="97007" y="730698"/>
                  </a:cubicBezTo>
                  <a:lnTo>
                    <a:pt x="97007" y="730698"/>
                  </a:lnTo>
                  <a:cubicBezTo>
                    <a:pt x="102046" y="730698"/>
                    <a:pt x="107085" y="730698"/>
                    <a:pt x="110864" y="730698"/>
                  </a:cubicBezTo>
                  <a:cubicBezTo>
                    <a:pt x="113384" y="730698"/>
                    <a:pt x="115904" y="730698"/>
                    <a:pt x="118424" y="730698"/>
                  </a:cubicBezTo>
                  <a:cubicBezTo>
                    <a:pt x="122203" y="730698"/>
                    <a:pt x="125982" y="730698"/>
                    <a:pt x="129762" y="730698"/>
                  </a:cubicBezTo>
                  <a:lnTo>
                    <a:pt x="134801" y="730698"/>
                  </a:lnTo>
                  <a:lnTo>
                    <a:pt x="136061" y="730698"/>
                  </a:lnTo>
                  <a:cubicBezTo>
                    <a:pt x="141100" y="730698"/>
                    <a:pt x="144880" y="730698"/>
                    <a:pt x="149919" y="730698"/>
                  </a:cubicBezTo>
                  <a:cubicBezTo>
                    <a:pt x="152439" y="730698"/>
                    <a:pt x="154958" y="730698"/>
                    <a:pt x="157478" y="730698"/>
                  </a:cubicBezTo>
                  <a:cubicBezTo>
                    <a:pt x="157478" y="730698"/>
                    <a:pt x="158738" y="730698"/>
                    <a:pt x="158738" y="730698"/>
                  </a:cubicBezTo>
                  <a:cubicBezTo>
                    <a:pt x="162517" y="730698"/>
                    <a:pt x="166297" y="730698"/>
                    <a:pt x="170076" y="730698"/>
                  </a:cubicBezTo>
                  <a:cubicBezTo>
                    <a:pt x="176375" y="730698"/>
                    <a:pt x="182674" y="730698"/>
                    <a:pt x="190233" y="729438"/>
                  </a:cubicBezTo>
                  <a:cubicBezTo>
                    <a:pt x="191493" y="729438"/>
                    <a:pt x="191493" y="729438"/>
                    <a:pt x="192753" y="729438"/>
                  </a:cubicBezTo>
                  <a:lnTo>
                    <a:pt x="192753" y="729438"/>
                  </a:lnTo>
                  <a:cubicBezTo>
                    <a:pt x="196533" y="729438"/>
                    <a:pt x="199052" y="729438"/>
                    <a:pt x="202832" y="728178"/>
                  </a:cubicBezTo>
                  <a:lnTo>
                    <a:pt x="202832" y="728178"/>
                  </a:lnTo>
                  <a:cubicBezTo>
                    <a:pt x="205351" y="728178"/>
                    <a:pt x="207871" y="728178"/>
                    <a:pt x="210391" y="726918"/>
                  </a:cubicBezTo>
                  <a:cubicBezTo>
                    <a:pt x="211650" y="726918"/>
                    <a:pt x="211650" y="726918"/>
                    <a:pt x="212910" y="726918"/>
                  </a:cubicBezTo>
                  <a:lnTo>
                    <a:pt x="212910" y="726918"/>
                  </a:lnTo>
                  <a:cubicBezTo>
                    <a:pt x="215430" y="726918"/>
                    <a:pt x="219209" y="726918"/>
                    <a:pt x="221729" y="726918"/>
                  </a:cubicBezTo>
                  <a:cubicBezTo>
                    <a:pt x="224249" y="726918"/>
                    <a:pt x="226768" y="726918"/>
                    <a:pt x="229288" y="726918"/>
                  </a:cubicBezTo>
                  <a:cubicBezTo>
                    <a:pt x="230548" y="726918"/>
                    <a:pt x="231808" y="726918"/>
                    <a:pt x="231808" y="726918"/>
                  </a:cubicBezTo>
                  <a:cubicBezTo>
                    <a:pt x="233067" y="726918"/>
                    <a:pt x="234327" y="726918"/>
                    <a:pt x="235587" y="726918"/>
                  </a:cubicBezTo>
                  <a:lnTo>
                    <a:pt x="235587" y="726918"/>
                  </a:lnTo>
                  <a:lnTo>
                    <a:pt x="235587" y="726918"/>
                  </a:lnTo>
                  <a:cubicBezTo>
                    <a:pt x="235587" y="726918"/>
                    <a:pt x="236847" y="726918"/>
                    <a:pt x="236847" y="726918"/>
                  </a:cubicBezTo>
                  <a:cubicBezTo>
                    <a:pt x="238107" y="726918"/>
                    <a:pt x="239366" y="726918"/>
                    <a:pt x="240626" y="726918"/>
                  </a:cubicBezTo>
                  <a:cubicBezTo>
                    <a:pt x="243146" y="726918"/>
                    <a:pt x="244406" y="726918"/>
                    <a:pt x="246925" y="726918"/>
                  </a:cubicBezTo>
                  <a:cubicBezTo>
                    <a:pt x="248185" y="726918"/>
                    <a:pt x="249445" y="726918"/>
                    <a:pt x="249445" y="726918"/>
                  </a:cubicBezTo>
                  <a:lnTo>
                    <a:pt x="249445" y="726918"/>
                  </a:lnTo>
                  <a:cubicBezTo>
                    <a:pt x="249445" y="726918"/>
                    <a:pt x="250705" y="726918"/>
                    <a:pt x="250705" y="726918"/>
                  </a:cubicBezTo>
                  <a:cubicBezTo>
                    <a:pt x="254484" y="726918"/>
                    <a:pt x="258264" y="726918"/>
                    <a:pt x="262043" y="726918"/>
                  </a:cubicBezTo>
                  <a:cubicBezTo>
                    <a:pt x="263303" y="726918"/>
                    <a:pt x="265823" y="726918"/>
                    <a:pt x="267083" y="726918"/>
                  </a:cubicBezTo>
                  <a:cubicBezTo>
                    <a:pt x="268342" y="726918"/>
                    <a:pt x="270862" y="726918"/>
                    <a:pt x="272122" y="726918"/>
                  </a:cubicBezTo>
                  <a:lnTo>
                    <a:pt x="273382" y="726918"/>
                  </a:lnTo>
                  <a:cubicBezTo>
                    <a:pt x="273382" y="726918"/>
                    <a:pt x="274642" y="726918"/>
                    <a:pt x="274642" y="726918"/>
                  </a:cubicBezTo>
                  <a:cubicBezTo>
                    <a:pt x="277161" y="726918"/>
                    <a:pt x="278421" y="726918"/>
                    <a:pt x="280941" y="726918"/>
                  </a:cubicBezTo>
                  <a:lnTo>
                    <a:pt x="280941" y="726918"/>
                  </a:lnTo>
                  <a:lnTo>
                    <a:pt x="280941" y="726918"/>
                  </a:lnTo>
                  <a:cubicBezTo>
                    <a:pt x="291019" y="728178"/>
                    <a:pt x="302358" y="728178"/>
                    <a:pt x="312436" y="729438"/>
                  </a:cubicBezTo>
                  <a:cubicBezTo>
                    <a:pt x="319995" y="729438"/>
                    <a:pt x="325034" y="729438"/>
                    <a:pt x="331334" y="729438"/>
                  </a:cubicBezTo>
                  <a:cubicBezTo>
                    <a:pt x="331334" y="729438"/>
                    <a:pt x="331334" y="729438"/>
                    <a:pt x="332593" y="729438"/>
                  </a:cubicBezTo>
                  <a:cubicBezTo>
                    <a:pt x="333853" y="729438"/>
                    <a:pt x="333853" y="729438"/>
                    <a:pt x="335113" y="729438"/>
                  </a:cubicBezTo>
                  <a:lnTo>
                    <a:pt x="336373" y="729438"/>
                  </a:lnTo>
                  <a:cubicBezTo>
                    <a:pt x="337633" y="729438"/>
                    <a:pt x="340152" y="729438"/>
                    <a:pt x="341412" y="729438"/>
                  </a:cubicBezTo>
                  <a:cubicBezTo>
                    <a:pt x="342672" y="729438"/>
                    <a:pt x="343932" y="729438"/>
                    <a:pt x="345192" y="729438"/>
                  </a:cubicBezTo>
                  <a:cubicBezTo>
                    <a:pt x="346451" y="729438"/>
                    <a:pt x="347711" y="729438"/>
                    <a:pt x="348971" y="729438"/>
                  </a:cubicBezTo>
                  <a:lnTo>
                    <a:pt x="348971" y="729438"/>
                  </a:lnTo>
                  <a:cubicBezTo>
                    <a:pt x="348971" y="729438"/>
                    <a:pt x="350231" y="729438"/>
                    <a:pt x="350231" y="729438"/>
                  </a:cubicBezTo>
                  <a:cubicBezTo>
                    <a:pt x="333853" y="705501"/>
                    <a:pt x="323775" y="676525"/>
                    <a:pt x="313696" y="645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/>
            <p:cNvSpPr/>
            <p:nvPr/>
          </p:nvSpPr>
          <p:spPr>
            <a:xfrm>
              <a:off x="2869333" y="3859859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2520 w 0"/>
                <a:gd name="connsiteY1" fmla="*/ 0 h 0"/>
                <a:gd name="connsiteX2" fmla="*/ 0 w 0"/>
                <a:gd name="connsiteY2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1260" y="1260"/>
                    <a:pt x="1260" y="0"/>
                    <a:pt x="2520" y="0"/>
                  </a:cubicBezTo>
                  <a:cubicBezTo>
                    <a:pt x="2520" y="0"/>
                    <a:pt x="1260" y="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/>
            <p:cNvSpPr/>
            <p:nvPr/>
          </p:nvSpPr>
          <p:spPr>
            <a:xfrm>
              <a:off x="3305232" y="3509628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/>
            <p:cNvSpPr/>
            <p:nvPr/>
          </p:nvSpPr>
          <p:spPr>
            <a:xfrm>
              <a:off x="3224603" y="3369788"/>
              <a:ext cx="88188" cy="340152"/>
            </a:xfrm>
            <a:custGeom>
              <a:avLst/>
              <a:gdLst>
                <a:gd name="connsiteX0" fmla="*/ 61731 w 88187"/>
                <a:gd name="connsiteY0" fmla="*/ 103305 h 340152"/>
                <a:gd name="connsiteX1" fmla="*/ 61731 w 88187"/>
                <a:gd name="connsiteY1" fmla="*/ 103305 h 340152"/>
                <a:gd name="connsiteX2" fmla="*/ 59212 w 88187"/>
                <a:gd name="connsiteY2" fmla="*/ 97006 h 340152"/>
                <a:gd name="connsiteX3" fmla="*/ 59212 w 88187"/>
                <a:gd name="connsiteY3" fmla="*/ 97006 h 340152"/>
                <a:gd name="connsiteX4" fmla="*/ 59212 w 88187"/>
                <a:gd name="connsiteY4" fmla="*/ 97006 h 340152"/>
                <a:gd name="connsiteX5" fmla="*/ 56692 w 88187"/>
                <a:gd name="connsiteY5" fmla="*/ 91967 h 340152"/>
                <a:gd name="connsiteX6" fmla="*/ 54172 w 88187"/>
                <a:gd name="connsiteY6" fmla="*/ 86928 h 340152"/>
                <a:gd name="connsiteX7" fmla="*/ 51653 w 88187"/>
                <a:gd name="connsiteY7" fmla="*/ 81889 h 340152"/>
                <a:gd name="connsiteX8" fmla="*/ 49133 w 88187"/>
                <a:gd name="connsiteY8" fmla="*/ 75589 h 340152"/>
                <a:gd name="connsiteX9" fmla="*/ 39054 w 88187"/>
                <a:gd name="connsiteY9" fmla="*/ 56692 h 340152"/>
                <a:gd name="connsiteX10" fmla="*/ 36535 w 88187"/>
                <a:gd name="connsiteY10" fmla="*/ 52913 h 340152"/>
                <a:gd name="connsiteX11" fmla="*/ 32755 w 88187"/>
                <a:gd name="connsiteY11" fmla="*/ 46613 h 340152"/>
                <a:gd name="connsiteX12" fmla="*/ 31496 w 88187"/>
                <a:gd name="connsiteY12" fmla="*/ 45354 h 340152"/>
                <a:gd name="connsiteX13" fmla="*/ 27716 w 88187"/>
                <a:gd name="connsiteY13" fmla="*/ 39054 h 340152"/>
                <a:gd name="connsiteX14" fmla="*/ 26456 w 88187"/>
                <a:gd name="connsiteY14" fmla="*/ 36535 h 340152"/>
                <a:gd name="connsiteX15" fmla="*/ 22677 w 88187"/>
                <a:gd name="connsiteY15" fmla="*/ 28976 h 340152"/>
                <a:gd name="connsiteX16" fmla="*/ 22677 w 88187"/>
                <a:gd name="connsiteY16" fmla="*/ 28976 h 340152"/>
                <a:gd name="connsiteX17" fmla="*/ 21417 w 88187"/>
                <a:gd name="connsiteY17" fmla="*/ 26456 h 340152"/>
                <a:gd name="connsiteX18" fmla="*/ 18897 w 88187"/>
                <a:gd name="connsiteY18" fmla="*/ 22677 h 340152"/>
                <a:gd name="connsiteX19" fmla="*/ 10079 w 88187"/>
                <a:gd name="connsiteY19" fmla="*/ 3780 h 340152"/>
                <a:gd name="connsiteX20" fmla="*/ 7559 w 88187"/>
                <a:gd name="connsiteY20" fmla="*/ 1260 h 340152"/>
                <a:gd name="connsiteX21" fmla="*/ 7559 w 88187"/>
                <a:gd name="connsiteY21" fmla="*/ 1260 h 340152"/>
                <a:gd name="connsiteX22" fmla="*/ 6299 w 88187"/>
                <a:gd name="connsiteY22" fmla="*/ 1260 h 340152"/>
                <a:gd name="connsiteX23" fmla="*/ 6299 w 88187"/>
                <a:gd name="connsiteY23" fmla="*/ 1260 h 340152"/>
                <a:gd name="connsiteX24" fmla="*/ 6299 w 88187"/>
                <a:gd name="connsiteY24" fmla="*/ 1260 h 340152"/>
                <a:gd name="connsiteX25" fmla="*/ 6299 w 88187"/>
                <a:gd name="connsiteY25" fmla="*/ 1260 h 340152"/>
                <a:gd name="connsiteX26" fmla="*/ 6299 w 88187"/>
                <a:gd name="connsiteY26" fmla="*/ 0 h 340152"/>
                <a:gd name="connsiteX27" fmla="*/ 6299 w 88187"/>
                <a:gd name="connsiteY27" fmla="*/ 0 h 340152"/>
                <a:gd name="connsiteX28" fmla="*/ 6299 w 88187"/>
                <a:gd name="connsiteY28" fmla="*/ 0 h 340152"/>
                <a:gd name="connsiteX29" fmla="*/ 6299 w 88187"/>
                <a:gd name="connsiteY29" fmla="*/ 0 h 340152"/>
                <a:gd name="connsiteX30" fmla="*/ 6299 w 88187"/>
                <a:gd name="connsiteY30" fmla="*/ 0 h 340152"/>
                <a:gd name="connsiteX31" fmla="*/ 6299 w 88187"/>
                <a:gd name="connsiteY31" fmla="*/ 0 h 340152"/>
                <a:gd name="connsiteX32" fmla="*/ 6299 w 88187"/>
                <a:gd name="connsiteY32" fmla="*/ 0 h 340152"/>
                <a:gd name="connsiteX33" fmla="*/ 5039 w 88187"/>
                <a:gd name="connsiteY33" fmla="*/ 0 h 340152"/>
                <a:gd name="connsiteX34" fmla="*/ 3780 w 88187"/>
                <a:gd name="connsiteY34" fmla="*/ 0 h 340152"/>
                <a:gd name="connsiteX35" fmla="*/ 2520 w 88187"/>
                <a:gd name="connsiteY35" fmla="*/ 2520 h 340152"/>
                <a:gd name="connsiteX36" fmla="*/ 2520 w 88187"/>
                <a:gd name="connsiteY36" fmla="*/ 3780 h 340152"/>
                <a:gd name="connsiteX37" fmla="*/ 1260 w 88187"/>
                <a:gd name="connsiteY37" fmla="*/ 7559 h 340152"/>
                <a:gd name="connsiteX38" fmla="*/ 1260 w 88187"/>
                <a:gd name="connsiteY38" fmla="*/ 8819 h 340152"/>
                <a:gd name="connsiteX39" fmla="*/ 0 w 88187"/>
                <a:gd name="connsiteY39" fmla="*/ 11338 h 340152"/>
                <a:gd name="connsiteX40" fmla="*/ 0 w 88187"/>
                <a:gd name="connsiteY40" fmla="*/ 11338 h 340152"/>
                <a:gd name="connsiteX41" fmla="*/ 0 w 88187"/>
                <a:gd name="connsiteY41" fmla="*/ 12598 h 340152"/>
                <a:gd name="connsiteX42" fmla="*/ 0 w 88187"/>
                <a:gd name="connsiteY42" fmla="*/ 13858 h 340152"/>
                <a:gd name="connsiteX43" fmla="*/ 0 w 88187"/>
                <a:gd name="connsiteY43" fmla="*/ 18897 h 340152"/>
                <a:gd name="connsiteX44" fmla="*/ 0 w 88187"/>
                <a:gd name="connsiteY44" fmla="*/ 18897 h 340152"/>
                <a:gd name="connsiteX45" fmla="*/ 0 w 88187"/>
                <a:gd name="connsiteY45" fmla="*/ 18897 h 340152"/>
                <a:gd name="connsiteX46" fmla="*/ 0 w 88187"/>
                <a:gd name="connsiteY46" fmla="*/ 22677 h 340152"/>
                <a:gd name="connsiteX47" fmla="*/ 0 w 88187"/>
                <a:gd name="connsiteY47" fmla="*/ 27716 h 340152"/>
                <a:gd name="connsiteX48" fmla="*/ 0 w 88187"/>
                <a:gd name="connsiteY48" fmla="*/ 37795 h 340152"/>
                <a:gd name="connsiteX49" fmla="*/ 0 w 88187"/>
                <a:gd name="connsiteY49" fmla="*/ 41574 h 340152"/>
                <a:gd name="connsiteX50" fmla="*/ 0 w 88187"/>
                <a:gd name="connsiteY50" fmla="*/ 41574 h 340152"/>
                <a:gd name="connsiteX51" fmla="*/ 0 w 88187"/>
                <a:gd name="connsiteY51" fmla="*/ 47873 h 340152"/>
                <a:gd name="connsiteX52" fmla="*/ 0 w 88187"/>
                <a:gd name="connsiteY52" fmla="*/ 50393 h 340152"/>
                <a:gd name="connsiteX53" fmla="*/ 0 w 88187"/>
                <a:gd name="connsiteY53" fmla="*/ 51653 h 340152"/>
                <a:gd name="connsiteX54" fmla="*/ 0 w 88187"/>
                <a:gd name="connsiteY54" fmla="*/ 52913 h 340152"/>
                <a:gd name="connsiteX55" fmla="*/ 0 w 88187"/>
                <a:gd name="connsiteY55" fmla="*/ 61731 h 340152"/>
                <a:gd name="connsiteX56" fmla="*/ 0 w 88187"/>
                <a:gd name="connsiteY56" fmla="*/ 70550 h 340152"/>
                <a:gd name="connsiteX57" fmla="*/ 0 w 88187"/>
                <a:gd name="connsiteY57" fmla="*/ 74330 h 340152"/>
                <a:gd name="connsiteX58" fmla="*/ 0 w 88187"/>
                <a:gd name="connsiteY58" fmla="*/ 78109 h 340152"/>
                <a:gd name="connsiteX59" fmla="*/ 0 w 88187"/>
                <a:gd name="connsiteY59" fmla="*/ 88188 h 340152"/>
                <a:gd name="connsiteX60" fmla="*/ 0 w 88187"/>
                <a:gd name="connsiteY60" fmla="*/ 91967 h 340152"/>
                <a:gd name="connsiteX61" fmla="*/ 0 w 88187"/>
                <a:gd name="connsiteY61" fmla="*/ 93227 h 340152"/>
                <a:gd name="connsiteX62" fmla="*/ 0 w 88187"/>
                <a:gd name="connsiteY62" fmla="*/ 94487 h 340152"/>
                <a:gd name="connsiteX63" fmla="*/ 0 w 88187"/>
                <a:gd name="connsiteY63" fmla="*/ 99526 h 340152"/>
                <a:gd name="connsiteX64" fmla="*/ 0 w 88187"/>
                <a:gd name="connsiteY64" fmla="*/ 104565 h 340152"/>
                <a:gd name="connsiteX65" fmla="*/ 0 w 88187"/>
                <a:gd name="connsiteY65" fmla="*/ 105825 h 340152"/>
                <a:gd name="connsiteX66" fmla="*/ 0 w 88187"/>
                <a:gd name="connsiteY66" fmla="*/ 109605 h 340152"/>
                <a:gd name="connsiteX67" fmla="*/ 0 w 88187"/>
                <a:gd name="connsiteY67" fmla="*/ 112124 h 340152"/>
                <a:gd name="connsiteX68" fmla="*/ 0 w 88187"/>
                <a:gd name="connsiteY68" fmla="*/ 113384 h 340152"/>
                <a:gd name="connsiteX69" fmla="*/ 0 w 88187"/>
                <a:gd name="connsiteY69" fmla="*/ 119683 h 340152"/>
                <a:gd name="connsiteX70" fmla="*/ 0 w 88187"/>
                <a:gd name="connsiteY70" fmla="*/ 119683 h 340152"/>
                <a:gd name="connsiteX71" fmla="*/ 0 w 88187"/>
                <a:gd name="connsiteY71" fmla="*/ 120943 h 340152"/>
                <a:gd name="connsiteX72" fmla="*/ 0 w 88187"/>
                <a:gd name="connsiteY72" fmla="*/ 129762 h 340152"/>
                <a:gd name="connsiteX73" fmla="*/ 0 w 88187"/>
                <a:gd name="connsiteY73" fmla="*/ 129762 h 340152"/>
                <a:gd name="connsiteX74" fmla="*/ 0 w 88187"/>
                <a:gd name="connsiteY74" fmla="*/ 134801 h 340152"/>
                <a:gd name="connsiteX75" fmla="*/ 0 w 88187"/>
                <a:gd name="connsiteY75" fmla="*/ 136061 h 340152"/>
                <a:gd name="connsiteX76" fmla="*/ 0 w 88187"/>
                <a:gd name="connsiteY76" fmla="*/ 139840 h 340152"/>
                <a:gd name="connsiteX77" fmla="*/ 0 w 88187"/>
                <a:gd name="connsiteY77" fmla="*/ 143620 h 340152"/>
                <a:gd name="connsiteX78" fmla="*/ 0 w 88187"/>
                <a:gd name="connsiteY78" fmla="*/ 151179 h 340152"/>
                <a:gd name="connsiteX79" fmla="*/ 0 w 88187"/>
                <a:gd name="connsiteY79" fmla="*/ 152439 h 340152"/>
                <a:gd name="connsiteX80" fmla="*/ 1260 w 88187"/>
                <a:gd name="connsiteY80" fmla="*/ 154958 h 340152"/>
                <a:gd name="connsiteX81" fmla="*/ 1260 w 88187"/>
                <a:gd name="connsiteY81" fmla="*/ 154958 h 340152"/>
                <a:gd name="connsiteX82" fmla="*/ 2520 w 88187"/>
                <a:gd name="connsiteY82" fmla="*/ 157478 h 340152"/>
                <a:gd name="connsiteX83" fmla="*/ 5039 w 88187"/>
                <a:gd name="connsiteY83" fmla="*/ 161257 h 340152"/>
                <a:gd name="connsiteX84" fmla="*/ 5039 w 88187"/>
                <a:gd name="connsiteY84" fmla="*/ 161257 h 340152"/>
                <a:gd name="connsiteX85" fmla="*/ 7559 w 88187"/>
                <a:gd name="connsiteY85" fmla="*/ 163777 h 340152"/>
                <a:gd name="connsiteX86" fmla="*/ 11338 w 88187"/>
                <a:gd name="connsiteY86" fmla="*/ 167557 h 340152"/>
                <a:gd name="connsiteX87" fmla="*/ 12598 w 88187"/>
                <a:gd name="connsiteY87" fmla="*/ 168816 h 340152"/>
                <a:gd name="connsiteX88" fmla="*/ 12598 w 88187"/>
                <a:gd name="connsiteY88" fmla="*/ 168816 h 340152"/>
                <a:gd name="connsiteX89" fmla="*/ 20157 w 88187"/>
                <a:gd name="connsiteY89" fmla="*/ 178895 h 340152"/>
                <a:gd name="connsiteX90" fmla="*/ 22677 w 88187"/>
                <a:gd name="connsiteY90" fmla="*/ 182674 h 340152"/>
                <a:gd name="connsiteX91" fmla="*/ 31496 w 88187"/>
                <a:gd name="connsiteY91" fmla="*/ 196532 h 340152"/>
                <a:gd name="connsiteX92" fmla="*/ 34015 w 88187"/>
                <a:gd name="connsiteY92" fmla="*/ 201572 h 340152"/>
                <a:gd name="connsiteX93" fmla="*/ 36535 w 88187"/>
                <a:gd name="connsiteY93" fmla="*/ 205351 h 340152"/>
                <a:gd name="connsiteX94" fmla="*/ 36535 w 88187"/>
                <a:gd name="connsiteY94" fmla="*/ 206611 h 340152"/>
                <a:gd name="connsiteX95" fmla="*/ 37795 w 88187"/>
                <a:gd name="connsiteY95" fmla="*/ 207871 h 340152"/>
                <a:gd name="connsiteX96" fmla="*/ 37795 w 88187"/>
                <a:gd name="connsiteY96" fmla="*/ 207871 h 340152"/>
                <a:gd name="connsiteX97" fmla="*/ 37795 w 88187"/>
                <a:gd name="connsiteY97" fmla="*/ 207871 h 340152"/>
                <a:gd name="connsiteX98" fmla="*/ 41574 w 88187"/>
                <a:gd name="connsiteY98" fmla="*/ 212910 h 340152"/>
                <a:gd name="connsiteX99" fmla="*/ 47873 w 88187"/>
                <a:gd name="connsiteY99" fmla="*/ 225508 h 340152"/>
                <a:gd name="connsiteX100" fmla="*/ 47873 w 88187"/>
                <a:gd name="connsiteY100" fmla="*/ 225508 h 340152"/>
                <a:gd name="connsiteX101" fmla="*/ 47873 w 88187"/>
                <a:gd name="connsiteY101" fmla="*/ 225508 h 340152"/>
                <a:gd name="connsiteX102" fmla="*/ 47873 w 88187"/>
                <a:gd name="connsiteY102" fmla="*/ 225508 h 340152"/>
                <a:gd name="connsiteX103" fmla="*/ 50393 w 88187"/>
                <a:gd name="connsiteY103" fmla="*/ 228028 h 340152"/>
                <a:gd name="connsiteX104" fmla="*/ 50393 w 88187"/>
                <a:gd name="connsiteY104" fmla="*/ 228028 h 340152"/>
                <a:gd name="connsiteX105" fmla="*/ 50393 w 88187"/>
                <a:gd name="connsiteY105" fmla="*/ 228028 h 340152"/>
                <a:gd name="connsiteX106" fmla="*/ 51653 w 88187"/>
                <a:gd name="connsiteY106" fmla="*/ 229288 h 340152"/>
                <a:gd name="connsiteX107" fmla="*/ 55432 w 88187"/>
                <a:gd name="connsiteY107" fmla="*/ 234327 h 340152"/>
                <a:gd name="connsiteX108" fmla="*/ 56692 w 88187"/>
                <a:gd name="connsiteY108" fmla="*/ 236847 h 340152"/>
                <a:gd name="connsiteX109" fmla="*/ 60472 w 88187"/>
                <a:gd name="connsiteY109" fmla="*/ 243146 h 340152"/>
                <a:gd name="connsiteX110" fmla="*/ 60472 w 88187"/>
                <a:gd name="connsiteY110" fmla="*/ 243146 h 340152"/>
                <a:gd name="connsiteX111" fmla="*/ 64251 w 88187"/>
                <a:gd name="connsiteY111" fmla="*/ 250705 h 340152"/>
                <a:gd name="connsiteX112" fmla="*/ 65511 w 88187"/>
                <a:gd name="connsiteY112" fmla="*/ 251965 h 340152"/>
                <a:gd name="connsiteX113" fmla="*/ 66771 w 88187"/>
                <a:gd name="connsiteY113" fmla="*/ 254484 h 340152"/>
                <a:gd name="connsiteX114" fmla="*/ 66771 w 88187"/>
                <a:gd name="connsiteY114" fmla="*/ 254484 h 340152"/>
                <a:gd name="connsiteX115" fmla="*/ 66771 w 88187"/>
                <a:gd name="connsiteY115" fmla="*/ 255744 h 340152"/>
                <a:gd name="connsiteX116" fmla="*/ 70550 w 88187"/>
                <a:gd name="connsiteY116" fmla="*/ 263303 h 340152"/>
                <a:gd name="connsiteX117" fmla="*/ 74329 w 88187"/>
                <a:gd name="connsiteY117" fmla="*/ 270862 h 340152"/>
                <a:gd name="connsiteX118" fmla="*/ 78109 w 88187"/>
                <a:gd name="connsiteY118" fmla="*/ 277161 h 340152"/>
                <a:gd name="connsiteX119" fmla="*/ 84408 w 88187"/>
                <a:gd name="connsiteY119" fmla="*/ 289759 h 340152"/>
                <a:gd name="connsiteX120" fmla="*/ 84408 w 88187"/>
                <a:gd name="connsiteY120" fmla="*/ 291019 h 340152"/>
                <a:gd name="connsiteX121" fmla="*/ 85668 w 88187"/>
                <a:gd name="connsiteY121" fmla="*/ 293539 h 340152"/>
                <a:gd name="connsiteX122" fmla="*/ 85668 w 88187"/>
                <a:gd name="connsiteY122" fmla="*/ 294799 h 340152"/>
                <a:gd name="connsiteX123" fmla="*/ 93227 w 88187"/>
                <a:gd name="connsiteY123" fmla="*/ 313696 h 340152"/>
                <a:gd name="connsiteX124" fmla="*/ 94487 w 88187"/>
                <a:gd name="connsiteY124" fmla="*/ 317475 h 340152"/>
                <a:gd name="connsiteX125" fmla="*/ 94487 w 88187"/>
                <a:gd name="connsiteY125" fmla="*/ 318735 h 340152"/>
                <a:gd name="connsiteX126" fmla="*/ 95746 w 88187"/>
                <a:gd name="connsiteY126" fmla="*/ 323775 h 340152"/>
                <a:gd name="connsiteX127" fmla="*/ 95746 w 88187"/>
                <a:gd name="connsiteY127" fmla="*/ 323775 h 340152"/>
                <a:gd name="connsiteX128" fmla="*/ 95746 w 88187"/>
                <a:gd name="connsiteY128" fmla="*/ 323775 h 340152"/>
                <a:gd name="connsiteX129" fmla="*/ 95746 w 88187"/>
                <a:gd name="connsiteY129" fmla="*/ 326294 h 340152"/>
                <a:gd name="connsiteX130" fmla="*/ 97006 w 88187"/>
                <a:gd name="connsiteY130" fmla="*/ 331334 h 340152"/>
                <a:gd name="connsiteX131" fmla="*/ 97006 w 88187"/>
                <a:gd name="connsiteY131" fmla="*/ 333853 h 340152"/>
                <a:gd name="connsiteX132" fmla="*/ 97006 w 88187"/>
                <a:gd name="connsiteY132" fmla="*/ 333853 h 340152"/>
                <a:gd name="connsiteX133" fmla="*/ 97006 w 88187"/>
                <a:gd name="connsiteY133" fmla="*/ 336373 h 340152"/>
                <a:gd name="connsiteX134" fmla="*/ 97006 w 88187"/>
                <a:gd name="connsiteY134" fmla="*/ 338892 h 340152"/>
                <a:gd name="connsiteX135" fmla="*/ 97006 w 88187"/>
                <a:gd name="connsiteY135" fmla="*/ 341412 h 340152"/>
                <a:gd name="connsiteX136" fmla="*/ 97006 w 88187"/>
                <a:gd name="connsiteY136" fmla="*/ 342672 h 340152"/>
                <a:gd name="connsiteX137" fmla="*/ 97006 w 88187"/>
                <a:gd name="connsiteY137" fmla="*/ 342672 h 340152"/>
                <a:gd name="connsiteX138" fmla="*/ 97006 w 88187"/>
                <a:gd name="connsiteY138" fmla="*/ 343932 h 340152"/>
                <a:gd name="connsiteX139" fmla="*/ 97006 w 88187"/>
                <a:gd name="connsiteY139" fmla="*/ 343932 h 340152"/>
                <a:gd name="connsiteX140" fmla="*/ 97006 w 88187"/>
                <a:gd name="connsiteY140" fmla="*/ 343932 h 340152"/>
                <a:gd name="connsiteX141" fmla="*/ 97006 w 88187"/>
                <a:gd name="connsiteY141" fmla="*/ 343932 h 340152"/>
                <a:gd name="connsiteX142" fmla="*/ 97006 w 88187"/>
                <a:gd name="connsiteY142" fmla="*/ 343932 h 340152"/>
                <a:gd name="connsiteX143" fmla="*/ 97006 w 88187"/>
                <a:gd name="connsiteY143" fmla="*/ 343932 h 340152"/>
                <a:gd name="connsiteX144" fmla="*/ 97006 w 88187"/>
                <a:gd name="connsiteY144" fmla="*/ 342672 h 340152"/>
                <a:gd name="connsiteX145" fmla="*/ 98266 w 88187"/>
                <a:gd name="connsiteY145" fmla="*/ 332593 h 340152"/>
                <a:gd name="connsiteX146" fmla="*/ 98266 w 88187"/>
                <a:gd name="connsiteY146" fmla="*/ 332593 h 340152"/>
                <a:gd name="connsiteX147" fmla="*/ 98266 w 88187"/>
                <a:gd name="connsiteY147" fmla="*/ 331334 h 340152"/>
                <a:gd name="connsiteX148" fmla="*/ 98266 w 88187"/>
                <a:gd name="connsiteY148" fmla="*/ 330074 h 340152"/>
                <a:gd name="connsiteX149" fmla="*/ 98266 w 88187"/>
                <a:gd name="connsiteY149" fmla="*/ 321255 h 340152"/>
                <a:gd name="connsiteX150" fmla="*/ 98266 w 88187"/>
                <a:gd name="connsiteY150" fmla="*/ 321255 h 340152"/>
                <a:gd name="connsiteX151" fmla="*/ 98266 w 88187"/>
                <a:gd name="connsiteY151" fmla="*/ 309916 h 340152"/>
                <a:gd name="connsiteX152" fmla="*/ 98266 w 88187"/>
                <a:gd name="connsiteY152" fmla="*/ 307397 h 340152"/>
                <a:gd name="connsiteX153" fmla="*/ 98266 w 88187"/>
                <a:gd name="connsiteY153" fmla="*/ 303617 h 340152"/>
                <a:gd name="connsiteX154" fmla="*/ 98266 w 88187"/>
                <a:gd name="connsiteY154" fmla="*/ 289759 h 340152"/>
                <a:gd name="connsiteX155" fmla="*/ 98266 w 88187"/>
                <a:gd name="connsiteY155" fmla="*/ 280941 h 340152"/>
                <a:gd name="connsiteX156" fmla="*/ 98266 w 88187"/>
                <a:gd name="connsiteY156" fmla="*/ 272122 h 340152"/>
                <a:gd name="connsiteX157" fmla="*/ 98266 w 88187"/>
                <a:gd name="connsiteY157" fmla="*/ 268342 h 340152"/>
                <a:gd name="connsiteX158" fmla="*/ 97006 w 88187"/>
                <a:gd name="connsiteY158" fmla="*/ 248185 h 340152"/>
                <a:gd name="connsiteX159" fmla="*/ 95746 w 88187"/>
                <a:gd name="connsiteY159" fmla="*/ 226768 h 340152"/>
                <a:gd name="connsiteX160" fmla="*/ 95746 w 88187"/>
                <a:gd name="connsiteY160" fmla="*/ 219209 h 340152"/>
                <a:gd name="connsiteX161" fmla="*/ 94487 w 88187"/>
                <a:gd name="connsiteY161" fmla="*/ 210390 h 340152"/>
                <a:gd name="connsiteX162" fmla="*/ 91967 w 88187"/>
                <a:gd name="connsiteY162" fmla="*/ 190233 h 340152"/>
                <a:gd name="connsiteX163" fmla="*/ 89447 w 88187"/>
                <a:gd name="connsiteY163" fmla="*/ 168816 h 340152"/>
                <a:gd name="connsiteX164" fmla="*/ 88188 w 88187"/>
                <a:gd name="connsiteY164" fmla="*/ 152439 h 340152"/>
                <a:gd name="connsiteX165" fmla="*/ 85668 w 88187"/>
                <a:gd name="connsiteY165" fmla="*/ 147399 h 340152"/>
                <a:gd name="connsiteX166" fmla="*/ 84408 w 88187"/>
                <a:gd name="connsiteY166" fmla="*/ 144880 h 340152"/>
                <a:gd name="connsiteX167" fmla="*/ 80629 w 88187"/>
                <a:gd name="connsiteY167" fmla="*/ 134801 h 340152"/>
                <a:gd name="connsiteX168" fmla="*/ 80629 w 88187"/>
                <a:gd name="connsiteY168" fmla="*/ 133541 h 340152"/>
                <a:gd name="connsiteX169" fmla="*/ 76849 w 88187"/>
                <a:gd name="connsiteY169" fmla="*/ 123463 h 340152"/>
                <a:gd name="connsiteX170" fmla="*/ 71810 w 88187"/>
                <a:gd name="connsiteY170" fmla="*/ 112124 h 340152"/>
                <a:gd name="connsiteX171" fmla="*/ 61731 w 88187"/>
                <a:gd name="connsiteY171" fmla="*/ 103305 h 340152"/>
                <a:gd name="connsiteX172" fmla="*/ 61731 w 88187"/>
                <a:gd name="connsiteY172" fmla="*/ 103305 h 340152"/>
                <a:gd name="connsiteX173" fmla="*/ 61731 w 88187"/>
                <a:gd name="connsiteY173" fmla="*/ 103305 h 340152"/>
                <a:gd name="connsiteX174" fmla="*/ 7559 w 88187"/>
                <a:gd name="connsiteY174" fmla="*/ 142360 h 340152"/>
                <a:gd name="connsiteX175" fmla="*/ 7559 w 88187"/>
                <a:gd name="connsiteY175" fmla="*/ 142360 h 340152"/>
                <a:gd name="connsiteX176" fmla="*/ 7559 w 88187"/>
                <a:gd name="connsiteY176" fmla="*/ 142360 h 34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88187" h="340152">
                  <a:moveTo>
                    <a:pt x="61731" y="103305"/>
                  </a:moveTo>
                  <a:lnTo>
                    <a:pt x="61731" y="103305"/>
                  </a:lnTo>
                  <a:cubicBezTo>
                    <a:pt x="60472" y="100786"/>
                    <a:pt x="59212" y="99526"/>
                    <a:pt x="59212" y="97006"/>
                  </a:cubicBezTo>
                  <a:lnTo>
                    <a:pt x="59212" y="97006"/>
                  </a:lnTo>
                  <a:lnTo>
                    <a:pt x="59212" y="97006"/>
                  </a:lnTo>
                  <a:cubicBezTo>
                    <a:pt x="57952" y="95746"/>
                    <a:pt x="57952" y="93227"/>
                    <a:pt x="56692" y="91967"/>
                  </a:cubicBezTo>
                  <a:cubicBezTo>
                    <a:pt x="55432" y="90707"/>
                    <a:pt x="55432" y="89447"/>
                    <a:pt x="54172" y="86928"/>
                  </a:cubicBezTo>
                  <a:cubicBezTo>
                    <a:pt x="52913" y="85668"/>
                    <a:pt x="52913" y="83148"/>
                    <a:pt x="51653" y="81889"/>
                  </a:cubicBezTo>
                  <a:cubicBezTo>
                    <a:pt x="50393" y="79369"/>
                    <a:pt x="49133" y="78109"/>
                    <a:pt x="49133" y="75589"/>
                  </a:cubicBezTo>
                  <a:cubicBezTo>
                    <a:pt x="45354" y="69290"/>
                    <a:pt x="42834" y="62991"/>
                    <a:pt x="39054" y="56692"/>
                  </a:cubicBezTo>
                  <a:lnTo>
                    <a:pt x="36535" y="52913"/>
                  </a:lnTo>
                  <a:cubicBezTo>
                    <a:pt x="35275" y="50393"/>
                    <a:pt x="34015" y="49133"/>
                    <a:pt x="32755" y="46613"/>
                  </a:cubicBezTo>
                  <a:lnTo>
                    <a:pt x="31496" y="45354"/>
                  </a:lnTo>
                  <a:cubicBezTo>
                    <a:pt x="30236" y="42834"/>
                    <a:pt x="28976" y="41574"/>
                    <a:pt x="27716" y="39054"/>
                  </a:cubicBezTo>
                  <a:lnTo>
                    <a:pt x="26456" y="36535"/>
                  </a:lnTo>
                  <a:cubicBezTo>
                    <a:pt x="25196" y="34015"/>
                    <a:pt x="23937" y="31496"/>
                    <a:pt x="22677" y="28976"/>
                  </a:cubicBezTo>
                  <a:lnTo>
                    <a:pt x="22677" y="28976"/>
                  </a:lnTo>
                  <a:cubicBezTo>
                    <a:pt x="22677" y="27716"/>
                    <a:pt x="21417" y="27716"/>
                    <a:pt x="21417" y="26456"/>
                  </a:cubicBezTo>
                  <a:cubicBezTo>
                    <a:pt x="20157" y="25196"/>
                    <a:pt x="20157" y="23937"/>
                    <a:pt x="18897" y="22677"/>
                  </a:cubicBezTo>
                  <a:cubicBezTo>
                    <a:pt x="16378" y="16378"/>
                    <a:pt x="13858" y="11338"/>
                    <a:pt x="10079" y="3780"/>
                  </a:cubicBezTo>
                  <a:cubicBezTo>
                    <a:pt x="10079" y="2520"/>
                    <a:pt x="8819" y="1260"/>
                    <a:pt x="7559" y="1260"/>
                  </a:cubicBezTo>
                  <a:lnTo>
                    <a:pt x="7559" y="1260"/>
                  </a:lnTo>
                  <a:cubicBezTo>
                    <a:pt x="7559" y="1260"/>
                    <a:pt x="755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5039" y="0"/>
                  </a:cubicBezTo>
                  <a:cubicBezTo>
                    <a:pt x="5039" y="0"/>
                    <a:pt x="3780" y="0"/>
                    <a:pt x="3780" y="0"/>
                  </a:cubicBezTo>
                  <a:cubicBezTo>
                    <a:pt x="2520" y="0"/>
                    <a:pt x="2520" y="1260"/>
                    <a:pt x="2520" y="2520"/>
                  </a:cubicBezTo>
                  <a:cubicBezTo>
                    <a:pt x="2520" y="2520"/>
                    <a:pt x="2520" y="2520"/>
                    <a:pt x="2520" y="3780"/>
                  </a:cubicBezTo>
                  <a:cubicBezTo>
                    <a:pt x="1260" y="5039"/>
                    <a:pt x="1260" y="6299"/>
                    <a:pt x="1260" y="7559"/>
                  </a:cubicBezTo>
                  <a:lnTo>
                    <a:pt x="1260" y="8819"/>
                  </a:lnTo>
                  <a:cubicBezTo>
                    <a:pt x="1260" y="8819"/>
                    <a:pt x="1260" y="10079"/>
                    <a:pt x="0" y="11338"/>
                  </a:cubicBezTo>
                  <a:cubicBezTo>
                    <a:pt x="0" y="11338"/>
                    <a:pt x="0" y="11338"/>
                    <a:pt x="0" y="11338"/>
                  </a:cubicBezTo>
                  <a:lnTo>
                    <a:pt x="0" y="12598"/>
                  </a:lnTo>
                  <a:cubicBezTo>
                    <a:pt x="0" y="12598"/>
                    <a:pt x="0" y="13858"/>
                    <a:pt x="0" y="13858"/>
                  </a:cubicBezTo>
                  <a:cubicBezTo>
                    <a:pt x="0" y="15118"/>
                    <a:pt x="0" y="17637"/>
                    <a:pt x="0" y="18897"/>
                  </a:cubicBezTo>
                  <a:lnTo>
                    <a:pt x="0" y="18897"/>
                  </a:lnTo>
                  <a:lnTo>
                    <a:pt x="0" y="18897"/>
                  </a:lnTo>
                  <a:cubicBezTo>
                    <a:pt x="0" y="20157"/>
                    <a:pt x="0" y="21417"/>
                    <a:pt x="0" y="22677"/>
                  </a:cubicBezTo>
                  <a:cubicBezTo>
                    <a:pt x="0" y="23937"/>
                    <a:pt x="0" y="26456"/>
                    <a:pt x="0" y="27716"/>
                  </a:cubicBezTo>
                  <a:cubicBezTo>
                    <a:pt x="0" y="31496"/>
                    <a:pt x="0" y="35275"/>
                    <a:pt x="0" y="37795"/>
                  </a:cubicBezTo>
                  <a:cubicBezTo>
                    <a:pt x="0" y="39054"/>
                    <a:pt x="0" y="40314"/>
                    <a:pt x="0" y="41574"/>
                  </a:cubicBezTo>
                  <a:lnTo>
                    <a:pt x="0" y="41574"/>
                  </a:lnTo>
                  <a:cubicBezTo>
                    <a:pt x="0" y="44094"/>
                    <a:pt x="0" y="45354"/>
                    <a:pt x="0" y="47873"/>
                  </a:cubicBezTo>
                  <a:cubicBezTo>
                    <a:pt x="0" y="49133"/>
                    <a:pt x="0" y="50393"/>
                    <a:pt x="0" y="50393"/>
                  </a:cubicBezTo>
                  <a:lnTo>
                    <a:pt x="0" y="51653"/>
                  </a:lnTo>
                  <a:cubicBezTo>
                    <a:pt x="0" y="51653"/>
                    <a:pt x="0" y="52913"/>
                    <a:pt x="0" y="52913"/>
                  </a:cubicBezTo>
                  <a:cubicBezTo>
                    <a:pt x="0" y="55432"/>
                    <a:pt x="0" y="57952"/>
                    <a:pt x="0" y="61731"/>
                  </a:cubicBezTo>
                  <a:cubicBezTo>
                    <a:pt x="0" y="64251"/>
                    <a:pt x="0" y="68030"/>
                    <a:pt x="0" y="70550"/>
                  </a:cubicBezTo>
                  <a:cubicBezTo>
                    <a:pt x="0" y="71810"/>
                    <a:pt x="0" y="73070"/>
                    <a:pt x="0" y="74330"/>
                  </a:cubicBezTo>
                  <a:cubicBezTo>
                    <a:pt x="0" y="75589"/>
                    <a:pt x="0" y="76849"/>
                    <a:pt x="0" y="78109"/>
                  </a:cubicBezTo>
                  <a:cubicBezTo>
                    <a:pt x="0" y="80629"/>
                    <a:pt x="0" y="84408"/>
                    <a:pt x="0" y="88188"/>
                  </a:cubicBezTo>
                  <a:cubicBezTo>
                    <a:pt x="0" y="89447"/>
                    <a:pt x="0" y="90707"/>
                    <a:pt x="0" y="91967"/>
                  </a:cubicBezTo>
                  <a:lnTo>
                    <a:pt x="0" y="93227"/>
                  </a:lnTo>
                  <a:lnTo>
                    <a:pt x="0" y="94487"/>
                  </a:lnTo>
                  <a:cubicBezTo>
                    <a:pt x="0" y="95746"/>
                    <a:pt x="0" y="98266"/>
                    <a:pt x="0" y="99526"/>
                  </a:cubicBezTo>
                  <a:cubicBezTo>
                    <a:pt x="0" y="100786"/>
                    <a:pt x="0" y="103305"/>
                    <a:pt x="0" y="104565"/>
                  </a:cubicBezTo>
                  <a:lnTo>
                    <a:pt x="0" y="105825"/>
                  </a:lnTo>
                  <a:cubicBezTo>
                    <a:pt x="0" y="107085"/>
                    <a:pt x="0" y="108345"/>
                    <a:pt x="0" y="109605"/>
                  </a:cubicBezTo>
                  <a:cubicBezTo>
                    <a:pt x="0" y="110864"/>
                    <a:pt x="0" y="110864"/>
                    <a:pt x="0" y="112124"/>
                  </a:cubicBezTo>
                  <a:lnTo>
                    <a:pt x="0" y="113384"/>
                  </a:lnTo>
                  <a:cubicBezTo>
                    <a:pt x="0" y="115904"/>
                    <a:pt x="0" y="117164"/>
                    <a:pt x="0" y="119683"/>
                  </a:cubicBezTo>
                  <a:lnTo>
                    <a:pt x="0" y="119683"/>
                  </a:lnTo>
                  <a:lnTo>
                    <a:pt x="0" y="120943"/>
                  </a:lnTo>
                  <a:cubicBezTo>
                    <a:pt x="0" y="123463"/>
                    <a:pt x="0" y="125982"/>
                    <a:pt x="0" y="129762"/>
                  </a:cubicBezTo>
                  <a:lnTo>
                    <a:pt x="0" y="129762"/>
                  </a:lnTo>
                  <a:cubicBezTo>
                    <a:pt x="0" y="131022"/>
                    <a:pt x="0" y="133541"/>
                    <a:pt x="0" y="134801"/>
                  </a:cubicBezTo>
                  <a:lnTo>
                    <a:pt x="0" y="136061"/>
                  </a:lnTo>
                  <a:cubicBezTo>
                    <a:pt x="0" y="137321"/>
                    <a:pt x="0" y="138581"/>
                    <a:pt x="0" y="139840"/>
                  </a:cubicBezTo>
                  <a:cubicBezTo>
                    <a:pt x="0" y="141100"/>
                    <a:pt x="0" y="142360"/>
                    <a:pt x="0" y="143620"/>
                  </a:cubicBezTo>
                  <a:cubicBezTo>
                    <a:pt x="0" y="146139"/>
                    <a:pt x="0" y="148659"/>
                    <a:pt x="0" y="151179"/>
                  </a:cubicBezTo>
                  <a:cubicBezTo>
                    <a:pt x="0" y="151179"/>
                    <a:pt x="0" y="151179"/>
                    <a:pt x="0" y="152439"/>
                  </a:cubicBezTo>
                  <a:cubicBezTo>
                    <a:pt x="0" y="153698"/>
                    <a:pt x="1260" y="153698"/>
                    <a:pt x="1260" y="154958"/>
                  </a:cubicBezTo>
                  <a:lnTo>
                    <a:pt x="1260" y="154958"/>
                  </a:lnTo>
                  <a:cubicBezTo>
                    <a:pt x="1260" y="156218"/>
                    <a:pt x="2520" y="156218"/>
                    <a:pt x="2520" y="157478"/>
                  </a:cubicBezTo>
                  <a:cubicBezTo>
                    <a:pt x="3780" y="158738"/>
                    <a:pt x="5039" y="159998"/>
                    <a:pt x="5039" y="161257"/>
                  </a:cubicBezTo>
                  <a:lnTo>
                    <a:pt x="5039" y="161257"/>
                  </a:lnTo>
                  <a:cubicBezTo>
                    <a:pt x="6299" y="162517"/>
                    <a:pt x="6299" y="163777"/>
                    <a:pt x="7559" y="163777"/>
                  </a:cubicBezTo>
                  <a:cubicBezTo>
                    <a:pt x="8819" y="165037"/>
                    <a:pt x="10079" y="166297"/>
                    <a:pt x="11338" y="167557"/>
                  </a:cubicBezTo>
                  <a:cubicBezTo>
                    <a:pt x="11338" y="167557"/>
                    <a:pt x="12598" y="168816"/>
                    <a:pt x="12598" y="168816"/>
                  </a:cubicBezTo>
                  <a:lnTo>
                    <a:pt x="12598" y="168816"/>
                  </a:lnTo>
                  <a:cubicBezTo>
                    <a:pt x="15118" y="171336"/>
                    <a:pt x="17637" y="175115"/>
                    <a:pt x="20157" y="178895"/>
                  </a:cubicBezTo>
                  <a:cubicBezTo>
                    <a:pt x="21417" y="180155"/>
                    <a:pt x="21417" y="181414"/>
                    <a:pt x="22677" y="182674"/>
                  </a:cubicBezTo>
                  <a:cubicBezTo>
                    <a:pt x="26456" y="187714"/>
                    <a:pt x="28976" y="191493"/>
                    <a:pt x="31496" y="196532"/>
                  </a:cubicBezTo>
                  <a:cubicBezTo>
                    <a:pt x="32755" y="197792"/>
                    <a:pt x="32755" y="199052"/>
                    <a:pt x="34015" y="201572"/>
                  </a:cubicBezTo>
                  <a:cubicBezTo>
                    <a:pt x="35275" y="202831"/>
                    <a:pt x="35275" y="204091"/>
                    <a:pt x="36535" y="205351"/>
                  </a:cubicBezTo>
                  <a:lnTo>
                    <a:pt x="36535" y="206611"/>
                  </a:lnTo>
                  <a:lnTo>
                    <a:pt x="37795" y="207871"/>
                  </a:lnTo>
                  <a:lnTo>
                    <a:pt x="37795" y="207871"/>
                  </a:lnTo>
                  <a:lnTo>
                    <a:pt x="37795" y="207871"/>
                  </a:lnTo>
                  <a:cubicBezTo>
                    <a:pt x="39054" y="209131"/>
                    <a:pt x="40314" y="211650"/>
                    <a:pt x="41574" y="212910"/>
                  </a:cubicBezTo>
                  <a:cubicBezTo>
                    <a:pt x="44094" y="216690"/>
                    <a:pt x="45354" y="220469"/>
                    <a:pt x="47873" y="225508"/>
                  </a:cubicBezTo>
                  <a:lnTo>
                    <a:pt x="47873" y="225508"/>
                  </a:lnTo>
                  <a:lnTo>
                    <a:pt x="47873" y="225508"/>
                  </a:lnTo>
                  <a:lnTo>
                    <a:pt x="47873" y="225508"/>
                  </a:lnTo>
                  <a:cubicBezTo>
                    <a:pt x="49133" y="226768"/>
                    <a:pt x="49133" y="226768"/>
                    <a:pt x="50393" y="228028"/>
                  </a:cubicBezTo>
                  <a:lnTo>
                    <a:pt x="50393" y="228028"/>
                  </a:lnTo>
                  <a:lnTo>
                    <a:pt x="50393" y="228028"/>
                  </a:lnTo>
                  <a:cubicBezTo>
                    <a:pt x="50393" y="228028"/>
                    <a:pt x="51653" y="229288"/>
                    <a:pt x="51653" y="229288"/>
                  </a:cubicBezTo>
                  <a:cubicBezTo>
                    <a:pt x="52913" y="230548"/>
                    <a:pt x="54172" y="231807"/>
                    <a:pt x="55432" y="234327"/>
                  </a:cubicBezTo>
                  <a:cubicBezTo>
                    <a:pt x="55432" y="235587"/>
                    <a:pt x="56692" y="235587"/>
                    <a:pt x="56692" y="236847"/>
                  </a:cubicBezTo>
                  <a:cubicBezTo>
                    <a:pt x="57952" y="238107"/>
                    <a:pt x="59212" y="240626"/>
                    <a:pt x="60472" y="243146"/>
                  </a:cubicBezTo>
                  <a:cubicBezTo>
                    <a:pt x="60472" y="243146"/>
                    <a:pt x="60472" y="243146"/>
                    <a:pt x="60472" y="243146"/>
                  </a:cubicBezTo>
                  <a:cubicBezTo>
                    <a:pt x="61731" y="245666"/>
                    <a:pt x="62991" y="248185"/>
                    <a:pt x="64251" y="250705"/>
                  </a:cubicBezTo>
                  <a:lnTo>
                    <a:pt x="65511" y="251965"/>
                  </a:lnTo>
                  <a:lnTo>
                    <a:pt x="66771" y="254484"/>
                  </a:lnTo>
                  <a:lnTo>
                    <a:pt x="66771" y="254484"/>
                  </a:lnTo>
                  <a:lnTo>
                    <a:pt x="66771" y="255744"/>
                  </a:lnTo>
                  <a:cubicBezTo>
                    <a:pt x="68030" y="258264"/>
                    <a:pt x="69290" y="260783"/>
                    <a:pt x="70550" y="263303"/>
                  </a:cubicBezTo>
                  <a:cubicBezTo>
                    <a:pt x="71810" y="265823"/>
                    <a:pt x="73070" y="268342"/>
                    <a:pt x="74329" y="270862"/>
                  </a:cubicBezTo>
                  <a:cubicBezTo>
                    <a:pt x="75589" y="273382"/>
                    <a:pt x="76849" y="274642"/>
                    <a:pt x="78109" y="277161"/>
                  </a:cubicBezTo>
                  <a:cubicBezTo>
                    <a:pt x="80629" y="280941"/>
                    <a:pt x="81889" y="285980"/>
                    <a:pt x="84408" y="289759"/>
                  </a:cubicBezTo>
                  <a:lnTo>
                    <a:pt x="84408" y="291019"/>
                  </a:lnTo>
                  <a:cubicBezTo>
                    <a:pt x="84408" y="292279"/>
                    <a:pt x="85668" y="292279"/>
                    <a:pt x="85668" y="293539"/>
                  </a:cubicBezTo>
                  <a:cubicBezTo>
                    <a:pt x="85668" y="293539"/>
                    <a:pt x="85668" y="294799"/>
                    <a:pt x="85668" y="294799"/>
                  </a:cubicBezTo>
                  <a:cubicBezTo>
                    <a:pt x="88188" y="301098"/>
                    <a:pt x="90707" y="307397"/>
                    <a:pt x="93227" y="313696"/>
                  </a:cubicBezTo>
                  <a:cubicBezTo>
                    <a:pt x="93227" y="314956"/>
                    <a:pt x="94487" y="316216"/>
                    <a:pt x="94487" y="317475"/>
                  </a:cubicBezTo>
                  <a:cubicBezTo>
                    <a:pt x="94487" y="317475"/>
                    <a:pt x="94487" y="317475"/>
                    <a:pt x="94487" y="318735"/>
                  </a:cubicBezTo>
                  <a:cubicBezTo>
                    <a:pt x="94487" y="319995"/>
                    <a:pt x="95746" y="321255"/>
                    <a:pt x="95746" y="323775"/>
                  </a:cubicBezTo>
                  <a:lnTo>
                    <a:pt x="95746" y="323775"/>
                  </a:lnTo>
                  <a:lnTo>
                    <a:pt x="95746" y="323775"/>
                  </a:lnTo>
                  <a:cubicBezTo>
                    <a:pt x="95746" y="325034"/>
                    <a:pt x="95746" y="325034"/>
                    <a:pt x="95746" y="326294"/>
                  </a:cubicBezTo>
                  <a:cubicBezTo>
                    <a:pt x="95746" y="327554"/>
                    <a:pt x="95746" y="330074"/>
                    <a:pt x="97006" y="331334"/>
                  </a:cubicBezTo>
                  <a:cubicBezTo>
                    <a:pt x="97006" y="332593"/>
                    <a:pt x="97006" y="333853"/>
                    <a:pt x="97006" y="333853"/>
                  </a:cubicBezTo>
                  <a:cubicBezTo>
                    <a:pt x="97006" y="333853"/>
                    <a:pt x="97006" y="333853"/>
                    <a:pt x="97006" y="333853"/>
                  </a:cubicBezTo>
                  <a:cubicBezTo>
                    <a:pt x="97006" y="335113"/>
                    <a:pt x="97006" y="335113"/>
                    <a:pt x="97006" y="336373"/>
                  </a:cubicBezTo>
                  <a:cubicBezTo>
                    <a:pt x="97006" y="337633"/>
                    <a:pt x="97006" y="338892"/>
                    <a:pt x="97006" y="338892"/>
                  </a:cubicBezTo>
                  <a:cubicBezTo>
                    <a:pt x="97006" y="340152"/>
                    <a:pt x="97006" y="340152"/>
                    <a:pt x="97006" y="341412"/>
                  </a:cubicBezTo>
                  <a:lnTo>
                    <a:pt x="97006" y="342672"/>
                  </a:lnTo>
                  <a:lnTo>
                    <a:pt x="97006" y="342672"/>
                  </a:lnTo>
                  <a:cubicBezTo>
                    <a:pt x="97006" y="342672"/>
                    <a:pt x="97006" y="343932"/>
                    <a:pt x="97006" y="343932"/>
                  </a:cubicBezTo>
                  <a:lnTo>
                    <a:pt x="97006" y="343932"/>
                  </a:lnTo>
                  <a:lnTo>
                    <a:pt x="97006" y="343932"/>
                  </a:ln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2672"/>
                  </a:cubicBezTo>
                  <a:cubicBezTo>
                    <a:pt x="97006" y="338892"/>
                    <a:pt x="98266" y="336373"/>
                    <a:pt x="98266" y="332593"/>
                  </a:cubicBezTo>
                  <a:cubicBezTo>
                    <a:pt x="98266" y="332593"/>
                    <a:pt x="98266" y="332593"/>
                    <a:pt x="98266" y="332593"/>
                  </a:cubicBezTo>
                  <a:cubicBezTo>
                    <a:pt x="98266" y="332593"/>
                    <a:pt x="98266" y="331334"/>
                    <a:pt x="98266" y="331334"/>
                  </a:cubicBezTo>
                  <a:cubicBezTo>
                    <a:pt x="98266" y="331334"/>
                    <a:pt x="98266" y="331334"/>
                    <a:pt x="98266" y="330074"/>
                  </a:cubicBezTo>
                  <a:cubicBezTo>
                    <a:pt x="98266" y="327554"/>
                    <a:pt x="98266" y="323775"/>
                    <a:pt x="98266" y="321255"/>
                  </a:cubicBezTo>
                  <a:cubicBezTo>
                    <a:pt x="98266" y="321255"/>
                    <a:pt x="98266" y="321255"/>
                    <a:pt x="98266" y="321255"/>
                  </a:cubicBezTo>
                  <a:cubicBezTo>
                    <a:pt x="98266" y="317475"/>
                    <a:pt x="98266" y="313696"/>
                    <a:pt x="98266" y="309916"/>
                  </a:cubicBezTo>
                  <a:cubicBezTo>
                    <a:pt x="98266" y="308657"/>
                    <a:pt x="98266" y="307397"/>
                    <a:pt x="98266" y="307397"/>
                  </a:cubicBezTo>
                  <a:cubicBezTo>
                    <a:pt x="98266" y="306137"/>
                    <a:pt x="98266" y="304877"/>
                    <a:pt x="98266" y="303617"/>
                  </a:cubicBezTo>
                  <a:cubicBezTo>
                    <a:pt x="98266" y="298578"/>
                    <a:pt x="98266" y="294799"/>
                    <a:pt x="98266" y="289759"/>
                  </a:cubicBezTo>
                  <a:cubicBezTo>
                    <a:pt x="98266" y="287240"/>
                    <a:pt x="98266" y="284720"/>
                    <a:pt x="98266" y="280941"/>
                  </a:cubicBezTo>
                  <a:cubicBezTo>
                    <a:pt x="98266" y="278421"/>
                    <a:pt x="98266" y="274642"/>
                    <a:pt x="98266" y="272122"/>
                  </a:cubicBezTo>
                  <a:cubicBezTo>
                    <a:pt x="98266" y="270862"/>
                    <a:pt x="98266" y="269602"/>
                    <a:pt x="98266" y="268342"/>
                  </a:cubicBezTo>
                  <a:cubicBezTo>
                    <a:pt x="98266" y="262043"/>
                    <a:pt x="97006" y="254484"/>
                    <a:pt x="97006" y="248185"/>
                  </a:cubicBezTo>
                  <a:cubicBezTo>
                    <a:pt x="97006" y="241886"/>
                    <a:pt x="95746" y="234327"/>
                    <a:pt x="95746" y="226768"/>
                  </a:cubicBezTo>
                  <a:cubicBezTo>
                    <a:pt x="95746" y="224249"/>
                    <a:pt x="95746" y="221729"/>
                    <a:pt x="95746" y="219209"/>
                  </a:cubicBezTo>
                  <a:cubicBezTo>
                    <a:pt x="95746" y="216690"/>
                    <a:pt x="94487" y="212910"/>
                    <a:pt x="94487" y="210390"/>
                  </a:cubicBezTo>
                  <a:cubicBezTo>
                    <a:pt x="93227" y="204091"/>
                    <a:pt x="93227" y="196532"/>
                    <a:pt x="91967" y="190233"/>
                  </a:cubicBezTo>
                  <a:cubicBezTo>
                    <a:pt x="90707" y="182674"/>
                    <a:pt x="90707" y="176375"/>
                    <a:pt x="89447" y="168816"/>
                  </a:cubicBezTo>
                  <a:cubicBezTo>
                    <a:pt x="89447" y="163777"/>
                    <a:pt x="88188" y="157478"/>
                    <a:pt x="88188" y="152439"/>
                  </a:cubicBezTo>
                  <a:cubicBezTo>
                    <a:pt x="86928" y="151179"/>
                    <a:pt x="86928" y="148659"/>
                    <a:pt x="85668" y="147399"/>
                  </a:cubicBezTo>
                  <a:lnTo>
                    <a:pt x="84408" y="144880"/>
                  </a:lnTo>
                  <a:cubicBezTo>
                    <a:pt x="83148" y="141100"/>
                    <a:pt x="81889" y="138581"/>
                    <a:pt x="80629" y="134801"/>
                  </a:cubicBezTo>
                  <a:lnTo>
                    <a:pt x="80629" y="133541"/>
                  </a:lnTo>
                  <a:cubicBezTo>
                    <a:pt x="79369" y="129762"/>
                    <a:pt x="78109" y="127242"/>
                    <a:pt x="76849" y="123463"/>
                  </a:cubicBezTo>
                  <a:cubicBezTo>
                    <a:pt x="75589" y="119683"/>
                    <a:pt x="73070" y="115904"/>
                    <a:pt x="71810" y="112124"/>
                  </a:cubicBezTo>
                  <a:cubicBezTo>
                    <a:pt x="64251" y="108345"/>
                    <a:pt x="62991" y="105825"/>
                    <a:pt x="61731" y="103305"/>
                  </a:cubicBezTo>
                  <a:cubicBezTo>
                    <a:pt x="61731" y="103305"/>
                    <a:pt x="61731" y="103305"/>
                    <a:pt x="61731" y="103305"/>
                  </a:cubicBezTo>
                  <a:lnTo>
                    <a:pt x="61731" y="103305"/>
                  </a:lnTo>
                  <a:close/>
                  <a:moveTo>
                    <a:pt x="7559" y="142360"/>
                  </a:moveTo>
                  <a:cubicBezTo>
                    <a:pt x="7559" y="142360"/>
                    <a:pt x="7559" y="142360"/>
                    <a:pt x="7559" y="142360"/>
                  </a:cubicBezTo>
                  <a:cubicBezTo>
                    <a:pt x="7559" y="142360"/>
                    <a:pt x="7559" y="142360"/>
                    <a:pt x="7559" y="142360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/>
            <p:cNvSpPr/>
            <p:nvPr/>
          </p:nvSpPr>
          <p:spPr>
            <a:xfrm>
              <a:off x="3310271" y="3730097"/>
              <a:ext cx="12598" cy="12598"/>
            </a:xfrm>
            <a:custGeom>
              <a:avLst/>
              <a:gdLst>
                <a:gd name="connsiteX0" fmla="*/ 1260 w 0"/>
                <a:gd name="connsiteY0" fmla="*/ 2520 h 0"/>
                <a:gd name="connsiteX1" fmla="*/ 1260 w 0"/>
                <a:gd name="connsiteY1" fmla="*/ 2520 h 0"/>
                <a:gd name="connsiteX2" fmla="*/ 0 w 0"/>
                <a:gd name="connsiteY2" fmla="*/ 6299 h 0"/>
                <a:gd name="connsiteX3" fmla="*/ 0 w 0"/>
                <a:gd name="connsiteY3" fmla="*/ 6299 h 0"/>
                <a:gd name="connsiteX4" fmla="*/ 1260 w 0"/>
                <a:gd name="connsiteY4" fmla="*/ 5039 h 0"/>
                <a:gd name="connsiteX5" fmla="*/ 1260 w 0"/>
                <a:gd name="connsiteY5" fmla="*/ 2520 h 0"/>
                <a:gd name="connsiteX6" fmla="*/ 1260 w 0"/>
                <a:gd name="connsiteY6" fmla="*/ 2520 h 0"/>
                <a:gd name="connsiteX7" fmla="*/ 1260 w 0"/>
                <a:gd name="connsiteY7" fmla="*/ 2520 h 0"/>
                <a:gd name="connsiteX8" fmla="*/ 2520 w 0"/>
                <a:gd name="connsiteY8" fmla="*/ 0 h 0"/>
                <a:gd name="connsiteX9" fmla="*/ 2520 w 0"/>
                <a:gd name="connsiteY9" fmla="*/ 0 h 0"/>
                <a:gd name="connsiteX10" fmla="*/ 2520 w 0"/>
                <a:gd name="connsiteY10" fmla="*/ 0 h 0"/>
                <a:gd name="connsiteX11" fmla="*/ 2520 w 0"/>
                <a:gd name="connsiteY11" fmla="*/ 0 h 0"/>
                <a:gd name="connsiteX12" fmla="*/ 2520 w 0"/>
                <a:gd name="connsiteY12" fmla="*/ 0 h 0"/>
                <a:gd name="connsiteX13" fmla="*/ 2520 w 0"/>
                <a:gd name="connsiteY13" fmla="*/ 0 h 0"/>
                <a:gd name="connsiteX14" fmla="*/ 1260 w 0"/>
                <a:gd name="connsiteY14" fmla="*/ 2520 h 0"/>
                <a:gd name="connsiteX15" fmla="*/ 1260 w 0"/>
                <a:gd name="connsiteY15" fmla="*/ 25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>
                  <a:moveTo>
                    <a:pt x="1260" y="2520"/>
                  </a:moveTo>
                  <a:cubicBezTo>
                    <a:pt x="1260" y="2520"/>
                    <a:pt x="1260" y="3780"/>
                    <a:pt x="1260" y="2520"/>
                  </a:cubicBezTo>
                  <a:cubicBezTo>
                    <a:pt x="0" y="3780"/>
                    <a:pt x="0" y="5039"/>
                    <a:pt x="0" y="6299"/>
                  </a:cubicBezTo>
                  <a:cubicBezTo>
                    <a:pt x="0" y="6299"/>
                    <a:pt x="0" y="6299"/>
                    <a:pt x="0" y="6299"/>
                  </a:cubicBezTo>
                  <a:cubicBezTo>
                    <a:pt x="0" y="6299"/>
                    <a:pt x="1260" y="5039"/>
                    <a:pt x="1260" y="5039"/>
                  </a:cubicBezTo>
                  <a:cubicBezTo>
                    <a:pt x="1260" y="3780"/>
                    <a:pt x="1260" y="3780"/>
                    <a:pt x="1260" y="2520"/>
                  </a:cubicBezTo>
                  <a:lnTo>
                    <a:pt x="1260" y="2520"/>
                  </a:lnTo>
                  <a:cubicBezTo>
                    <a:pt x="1260" y="3780"/>
                    <a:pt x="2520" y="3780"/>
                    <a:pt x="1260" y="2520"/>
                  </a:cubicBezTo>
                  <a:cubicBezTo>
                    <a:pt x="2520" y="2520"/>
                    <a:pt x="2520" y="126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lnTo>
                    <a:pt x="2520" y="0"/>
                  </a:lnTo>
                  <a:lnTo>
                    <a:pt x="2520" y="0"/>
                  </a:ln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1260"/>
                    <a:pt x="1260" y="2520"/>
                  </a:cubicBezTo>
                  <a:lnTo>
                    <a:pt x="1260" y="2520"/>
                  </a:ln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/>
            <p:cNvSpPr/>
            <p:nvPr/>
          </p:nvSpPr>
          <p:spPr>
            <a:xfrm>
              <a:off x="2840357" y="2598776"/>
              <a:ext cx="440938" cy="365349"/>
            </a:xfrm>
            <a:custGeom>
              <a:avLst/>
              <a:gdLst>
                <a:gd name="connsiteX0" fmla="*/ 449757 w 440938"/>
                <a:gd name="connsiteY0" fmla="*/ 84408 h 365348"/>
                <a:gd name="connsiteX1" fmla="*/ 447237 w 440938"/>
                <a:gd name="connsiteY1" fmla="*/ 73070 h 365348"/>
                <a:gd name="connsiteX2" fmla="*/ 442198 w 440938"/>
                <a:gd name="connsiteY2" fmla="*/ 62991 h 365348"/>
                <a:gd name="connsiteX3" fmla="*/ 442198 w 440938"/>
                <a:gd name="connsiteY3" fmla="*/ 61731 h 365348"/>
                <a:gd name="connsiteX4" fmla="*/ 437159 w 440938"/>
                <a:gd name="connsiteY4" fmla="*/ 52913 h 365348"/>
                <a:gd name="connsiteX5" fmla="*/ 430860 w 440938"/>
                <a:gd name="connsiteY5" fmla="*/ 42834 h 365348"/>
                <a:gd name="connsiteX6" fmla="*/ 415742 w 440938"/>
                <a:gd name="connsiteY6" fmla="*/ 26456 h 365348"/>
                <a:gd name="connsiteX7" fmla="*/ 395584 w 440938"/>
                <a:gd name="connsiteY7" fmla="*/ 12598 h 365348"/>
                <a:gd name="connsiteX8" fmla="*/ 385506 w 440938"/>
                <a:gd name="connsiteY8" fmla="*/ 7559 h 365348"/>
                <a:gd name="connsiteX9" fmla="*/ 380467 w 440938"/>
                <a:gd name="connsiteY9" fmla="*/ 5039 h 365348"/>
                <a:gd name="connsiteX10" fmla="*/ 372908 w 440938"/>
                <a:gd name="connsiteY10" fmla="*/ 2520 h 365348"/>
                <a:gd name="connsiteX11" fmla="*/ 360309 w 440938"/>
                <a:gd name="connsiteY11" fmla="*/ 0 h 365348"/>
                <a:gd name="connsiteX12" fmla="*/ 345192 w 440938"/>
                <a:gd name="connsiteY12" fmla="*/ 0 h 365348"/>
                <a:gd name="connsiteX13" fmla="*/ 343932 w 440938"/>
                <a:gd name="connsiteY13" fmla="*/ 0 h 365348"/>
                <a:gd name="connsiteX14" fmla="*/ 340152 w 440938"/>
                <a:gd name="connsiteY14" fmla="*/ 0 h 365348"/>
                <a:gd name="connsiteX15" fmla="*/ 332593 w 440938"/>
                <a:gd name="connsiteY15" fmla="*/ 1260 h 365348"/>
                <a:gd name="connsiteX16" fmla="*/ 322515 w 440938"/>
                <a:gd name="connsiteY16" fmla="*/ 3779 h 365348"/>
                <a:gd name="connsiteX17" fmla="*/ 312436 w 440938"/>
                <a:gd name="connsiteY17" fmla="*/ 6299 h 365348"/>
                <a:gd name="connsiteX18" fmla="*/ 309916 w 440938"/>
                <a:gd name="connsiteY18" fmla="*/ 7559 h 365348"/>
                <a:gd name="connsiteX19" fmla="*/ 302358 w 440938"/>
                <a:gd name="connsiteY19" fmla="*/ 8819 h 365348"/>
                <a:gd name="connsiteX20" fmla="*/ 282200 w 440938"/>
                <a:gd name="connsiteY20" fmla="*/ 17637 h 365348"/>
                <a:gd name="connsiteX21" fmla="*/ 273382 w 440938"/>
                <a:gd name="connsiteY21" fmla="*/ 23937 h 365348"/>
                <a:gd name="connsiteX22" fmla="*/ 272122 w 440938"/>
                <a:gd name="connsiteY22" fmla="*/ 25196 h 365348"/>
                <a:gd name="connsiteX23" fmla="*/ 269602 w 440938"/>
                <a:gd name="connsiteY23" fmla="*/ 22677 h 365348"/>
                <a:gd name="connsiteX24" fmla="*/ 259523 w 440938"/>
                <a:gd name="connsiteY24" fmla="*/ 16378 h 365348"/>
                <a:gd name="connsiteX25" fmla="*/ 236847 w 440938"/>
                <a:gd name="connsiteY25" fmla="*/ 11338 h 365348"/>
                <a:gd name="connsiteX26" fmla="*/ 210390 w 440938"/>
                <a:gd name="connsiteY26" fmla="*/ 8819 h 365348"/>
                <a:gd name="connsiteX27" fmla="*/ 186454 w 440938"/>
                <a:gd name="connsiteY27" fmla="*/ 8819 h 365348"/>
                <a:gd name="connsiteX28" fmla="*/ 185194 w 440938"/>
                <a:gd name="connsiteY28" fmla="*/ 8819 h 365348"/>
                <a:gd name="connsiteX29" fmla="*/ 167557 w 440938"/>
                <a:gd name="connsiteY29" fmla="*/ 8819 h 365348"/>
                <a:gd name="connsiteX30" fmla="*/ 162517 w 440938"/>
                <a:gd name="connsiteY30" fmla="*/ 8819 h 365348"/>
                <a:gd name="connsiteX31" fmla="*/ 138581 w 440938"/>
                <a:gd name="connsiteY31" fmla="*/ 15118 h 365348"/>
                <a:gd name="connsiteX32" fmla="*/ 128502 w 440938"/>
                <a:gd name="connsiteY32" fmla="*/ 20157 h 365348"/>
                <a:gd name="connsiteX33" fmla="*/ 119683 w 440938"/>
                <a:gd name="connsiteY33" fmla="*/ 25196 h 365348"/>
                <a:gd name="connsiteX34" fmla="*/ 118423 w 440938"/>
                <a:gd name="connsiteY34" fmla="*/ 26456 h 365348"/>
                <a:gd name="connsiteX35" fmla="*/ 113384 w 440938"/>
                <a:gd name="connsiteY35" fmla="*/ 28976 h 365348"/>
                <a:gd name="connsiteX36" fmla="*/ 108345 w 440938"/>
                <a:gd name="connsiteY36" fmla="*/ 31496 h 365348"/>
                <a:gd name="connsiteX37" fmla="*/ 98266 w 440938"/>
                <a:gd name="connsiteY37" fmla="*/ 36535 h 365348"/>
                <a:gd name="connsiteX38" fmla="*/ 93227 w 440938"/>
                <a:gd name="connsiteY38" fmla="*/ 39054 h 365348"/>
                <a:gd name="connsiteX39" fmla="*/ 86928 w 440938"/>
                <a:gd name="connsiteY39" fmla="*/ 42834 h 365348"/>
                <a:gd name="connsiteX40" fmla="*/ 78109 w 440938"/>
                <a:gd name="connsiteY40" fmla="*/ 49133 h 365348"/>
                <a:gd name="connsiteX41" fmla="*/ 61731 w 440938"/>
                <a:gd name="connsiteY41" fmla="*/ 64251 h 365348"/>
                <a:gd name="connsiteX42" fmla="*/ 46613 w 440938"/>
                <a:gd name="connsiteY42" fmla="*/ 81889 h 365348"/>
                <a:gd name="connsiteX43" fmla="*/ 44094 w 440938"/>
                <a:gd name="connsiteY43" fmla="*/ 84408 h 365348"/>
                <a:gd name="connsiteX44" fmla="*/ 42834 w 440938"/>
                <a:gd name="connsiteY44" fmla="*/ 85668 h 365348"/>
                <a:gd name="connsiteX45" fmla="*/ 39054 w 440938"/>
                <a:gd name="connsiteY45" fmla="*/ 90707 h 365348"/>
                <a:gd name="connsiteX46" fmla="*/ 34015 w 440938"/>
                <a:gd name="connsiteY46" fmla="*/ 98266 h 365348"/>
                <a:gd name="connsiteX47" fmla="*/ 32755 w 440938"/>
                <a:gd name="connsiteY47" fmla="*/ 100786 h 365348"/>
                <a:gd name="connsiteX48" fmla="*/ 32755 w 440938"/>
                <a:gd name="connsiteY48" fmla="*/ 100786 h 365348"/>
                <a:gd name="connsiteX49" fmla="*/ 31496 w 440938"/>
                <a:gd name="connsiteY49" fmla="*/ 102046 h 365348"/>
                <a:gd name="connsiteX50" fmla="*/ 30236 w 440938"/>
                <a:gd name="connsiteY50" fmla="*/ 104565 h 365348"/>
                <a:gd name="connsiteX51" fmla="*/ 25196 w 440938"/>
                <a:gd name="connsiteY51" fmla="*/ 113384 h 365348"/>
                <a:gd name="connsiteX52" fmla="*/ 21417 w 440938"/>
                <a:gd name="connsiteY52" fmla="*/ 123463 h 365348"/>
                <a:gd name="connsiteX53" fmla="*/ 18897 w 440938"/>
                <a:gd name="connsiteY53" fmla="*/ 129762 h 365348"/>
                <a:gd name="connsiteX54" fmla="*/ 17637 w 440938"/>
                <a:gd name="connsiteY54" fmla="*/ 132281 h 365348"/>
                <a:gd name="connsiteX55" fmla="*/ 16378 w 440938"/>
                <a:gd name="connsiteY55" fmla="*/ 134801 h 365348"/>
                <a:gd name="connsiteX56" fmla="*/ 12598 w 440938"/>
                <a:gd name="connsiteY56" fmla="*/ 144880 h 365348"/>
                <a:gd name="connsiteX57" fmla="*/ 11338 w 440938"/>
                <a:gd name="connsiteY57" fmla="*/ 152439 h 365348"/>
                <a:gd name="connsiteX58" fmla="*/ 11338 w 440938"/>
                <a:gd name="connsiteY58" fmla="*/ 152439 h 365348"/>
                <a:gd name="connsiteX59" fmla="*/ 11338 w 440938"/>
                <a:gd name="connsiteY59" fmla="*/ 154958 h 365348"/>
                <a:gd name="connsiteX60" fmla="*/ 8819 w 440938"/>
                <a:gd name="connsiteY60" fmla="*/ 165037 h 365348"/>
                <a:gd name="connsiteX61" fmla="*/ 8819 w 440938"/>
                <a:gd name="connsiteY61" fmla="*/ 168816 h 365348"/>
                <a:gd name="connsiteX62" fmla="*/ 8819 w 440938"/>
                <a:gd name="connsiteY62" fmla="*/ 168816 h 365348"/>
                <a:gd name="connsiteX63" fmla="*/ 7559 w 440938"/>
                <a:gd name="connsiteY63" fmla="*/ 172596 h 365348"/>
                <a:gd name="connsiteX64" fmla="*/ 3780 w 440938"/>
                <a:gd name="connsiteY64" fmla="*/ 188974 h 365348"/>
                <a:gd name="connsiteX65" fmla="*/ 2520 w 440938"/>
                <a:gd name="connsiteY65" fmla="*/ 201572 h 365348"/>
                <a:gd name="connsiteX66" fmla="*/ 2520 w 440938"/>
                <a:gd name="connsiteY66" fmla="*/ 201572 h 365348"/>
                <a:gd name="connsiteX67" fmla="*/ 2520 w 440938"/>
                <a:gd name="connsiteY67" fmla="*/ 202831 h 365348"/>
                <a:gd name="connsiteX68" fmla="*/ 1260 w 440938"/>
                <a:gd name="connsiteY68" fmla="*/ 211650 h 365348"/>
                <a:gd name="connsiteX69" fmla="*/ 0 w 440938"/>
                <a:gd name="connsiteY69" fmla="*/ 233067 h 365348"/>
                <a:gd name="connsiteX70" fmla="*/ 0 w 440938"/>
                <a:gd name="connsiteY70" fmla="*/ 244406 h 365348"/>
                <a:gd name="connsiteX71" fmla="*/ 1260 w 440938"/>
                <a:gd name="connsiteY71" fmla="*/ 254484 h 365348"/>
                <a:gd name="connsiteX72" fmla="*/ 1260 w 440938"/>
                <a:gd name="connsiteY72" fmla="*/ 255744 h 365348"/>
                <a:gd name="connsiteX73" fmla="*/ 3780 w 440938"/>
                <a:gd name="connsiteY73" fmla="*/ 267083 h 365348"/>
                <a:gd name="connsiteX74" fmla="*/ 3780 w 440938"/>
                <a:gd name="connsiteY74" fmla="*/ 268342 h 365348"/>
                <a:gd name="connsiteX75" fmla="*/ 6299 w 440938"/>
                <a:gd name="connsiteY75" fmla="*/ 277161 h 365348"/>
                <a:gd name="connsiteX76" fmla="*/ 10079 w 440938"/>
                <a:gd name="connsiteY76" fmla="*/ 287240 h 365348"/>
                <a:gd name="connsiteX77" fmla="*/ 13858 w 440938"/>
                <a:gd name="connsiteY77" fmla="*/ 296058 h 365348"/>
                <a:gd name="connsiteX78" fmla="*/ 13858 w 440938"/>
                <a:gd name="connsiteY78" fmla="*/ 297318 h 365348"/>
                <a:gd name="connsiteX79" fmla="*/ 23937 w 440938"/>
                <a:gd name="connsiteY79" fmla="*/ 316216 h 365348"/>
                <a:gd name="connsiteX80" fmla="*/ 25196 w 440938"/>
                <a:gd name="connsiteY80" fmla="*/ 317475 h 365348"/>
                <a:gd name="connsiteX81" fmla="*/ 36535 w 440938"/>
                <a:gd name="connsiteY81" fmla="*/ 335113 h 365348"/>
                <a:gd name="connsiteX82" fmla="*/ 50393 w 440938"/>
                <a:gd name="connsiteY82" fmla="*/ 352751 h 365348"/>
                <a:gd name="connsiteX83" fmla="*/ 59212 w 440938"/>
                <a:gd name="connsiteY83" fmla="*/ 361569 h 365348"/>
                <a:gd name="connsiteX84" fmla="*/ 65511 w 440938"/>
                <a:gd name="connsiteY84" fmla="*/ 366608 h 365348"/>
                <a:gd name="connsiteX85" fmla="*/ 66771 w 440938"/>
                <a:gd name="connsiteY85" fmla="*/ 367868 h 365348"/>
                <a:gd name="connsiteX86" fmla="*/ 73070 w 440938"/>
                <a:gd name="connsiteY86" fmla="*/ 372908 h 365348"/>
                <a:gd name="connsiteX87" fmla="*/ 71810 w 440938"/>
                <a:gd name="connsiteY87" fmla="*/ 369128 h 365348"/>
                <a:gd name="connsiteX88" fmla="*/ 68030 w 440938"/>
                <a:gd name="connsiteY88" fmla="*/ 348971 h 365348"/>
                <a:gd name="connsiteX89" fmla="*/ 65511 w 440938"/>
                <a:gd name="connsiteY89" fmla="*/ 331333 h 365348"/>
                <a:gd name="connsiteX90" fmla="*/ 61731 w 440938"/>
                <a:gd name="connsiteY90" fmla="*/ 294799 h 365348"/>
                <a:gd name="connsiteX91" fmla="*/ 60472 w 440938"/>
                <a:gd name="connsiteY91" fmla="*/ 277161 h 365348"/>
                <a:gd name="connsiteX92" fmla="*/ 60472 w 440938"/>
                <a:gd name="connsiteY92" fmla="*/ 260783 h 365348"/>
                <a:gd name="connsiteX93" fmla="*/ 60472 w 440938"/>
                <a:gd name="connsiteY93" fmla="*/ 257004 h 365348"/>
                <a:gd name="connsiteX94" fmla="*/ 60472 w 440938"/>
                <a:gd name="connsiteY94" fmla="*/ 255744 h 365348"/>
                <a:gd name="connsiteX95" fmla="*/ 60472 w 440938"/>
                <a:gd name="connsiteY95" fmla="*/ 255744 h 365348"/>
                <a:gd name="connsiteX96" fmla="*/ 59212 w 440938"/>
                <a:gd name="connsiteY96" fmla="*/ 245666 h 365348"/>
                <a:gd name="connsiteX97" fmla="*/ 59212 w 440938"/>
                <a:gd name="connsiteY97" fmla="*/ 238107 h 365348"/>
                <a:gd name="connsiteX98" fmla="*/ 59212 w 440938"/>
                <a:gd name="connsiteY98" fmla="*/ 234327 h 365348"/>
                <a:gd name="connsiteX99" fmla="*/ 59212 w 440938"/>
                <a:gd name="connsiteY99" fmla="*/ 234327 h 365348"/>
                <a:gd name="connsiteX100" fmla="*/ 62991 w 440938"/>
                <a:gd name="connsiteY100" fmla="*/ 233067 h 365348"/>
                <a:gd name="connsiteX101" fmla="*/ 70550 w 440938"/>
                <a:gd name="connsiteY101" fmla="*/ 230548 h 365348"/>
                <a:gd name="connsiteX102" fmla="*/ 78109 w 440938"/>
                <a:gd name="connsiteY102" fmla="*/ 228028 h 365348"/>
                <a:gd name="connsiteX103" fmla="*/ 94487 w 440938"/>
                <a:gd name="connsiteY103" fmla="*/ 221729 h 365348"/>
                <a:gd name="connsiteX104" fmla="*/ 119683 w 440938"/>
                <a:gd name="connsiteY104" fmla="*/ 212910 h 365348"/>
                <a:gd name="connsiteX105" fmla="*/ 138581 w 440938"/>
                <a:gd name="connsiteY105" fmla="*/ 200312 h 365348"/>
                <a:gd name="connsiteX106" fmla="*/ 151179 w 440938"/>
                <a:gd name="connsiteY106" fmla="*/ 190233 h 365348"/>
                <a:gd name="connsiteX107" fmla="*/ 153698 w 440938"/>
                <a:gd name="connsiteY107" fmla="*/ 186454 h 365348"/>
                <a:gd name="connsiteX108" fmla="*/ 156218 w 440938"/>
                <a:gd name="connsiteY108" fmla="*/ 181414 h 365348"/>
                <a:gd name="connsiteX109" fmla="*/ 161257 w 440938"/>
                <a:gd name="connsiteY109" fmla="*/ 170076 h 365348"/>
                <a:gd name="connsiteX110" fmla="*/ 162517 w 440938"/>
                <a:gd name="connsiteY110" fmla="*/ 167556 h 365348"/>
                <a:gd name="connsiteX111" fmla="*/ 163777 w 440938"/>
                <a:gd name="connsiteY111" fmla="*/ 166297 h 365348"/>
                <a:gd name="connsiteX112" fmla="*/ 166297 w 440938"/>
                <a:gd name="connsiteY112" fmla="*/ 161257 h 365348"/>
                <a:gd name="connsiteX113" fmla="*/ 166297 w 440938"/>
                <a:gd name="connsiteY113" fmla="*/ 161257 h 365348"/>
                <a:gd name="connsiteX114" fmla="*/ 171336 w 440938"/>
                <a:gd name="connsiteY114" fmla="*/ 166297 h 365348"/>
                <a:gd name="connsiteX115" fmla="*/ 173856 w 440938"/>
                <a:gd name="connsiteY115" fmla="*/ 168816 h 365348"/>
                <a:gd name="connsiteX116" fmla="*/ 175115 w 440938"/>
                <a:gd name="connsiteY116" fmla="*/ 170076 h 365348"/>
                <a:gd name="connsiteX117" fmla="*/ 175115 w 440938"/>
                <a:gd name="connsiteY117" fmla="*/ 170076 h 365348"/>
                <a:gd name="connsiteX118" fmla="*/ 175115 w 440938"/>
                <a:gd name="connsiteY118" fmla="*/ 170076 h 365348"/>
                <a:gd name="connsiteX119" fmla="*/ 175115 w 440938"/>
                <a:gd name="connsiteY119" fmla="*/ 170076 h 365348"/>
                <a:gd name="connsiteX120" fmla="*/ 175115 w 440938"/>
                <a:gd name="connsiteY120" fmla="*/ 170076 h 365348"/>
                <a:gd name="connsiteX121" fmla="*/ 180155 w 440938"/>
                <a:gd name="connsiteY121" fmla="*/ 175115 h 365348"/>
                <a:gd name="connsiteX122" fmla="*/ 182674 w 440938"/>
                <a:gd name="connsiteY122" fmla="*/ 177635 h 365348"/>
                <a:gd name="connsiteX123" fmla="*/ 186454 w 440938"/>
                <a:gd name="connsiteY123" fmla="*/ 181414 h 365348"/>
                <a:gd name="connsiteX124" fmla="*/ 187714 w 440938"/>
                <a:gd name="connsiteY124" fmla="*/ 182674 h 365348"/>
                <a:gd name="connsiteX125" fmla="*/ 190233 w 440938"/>
                <a:gd name="connsiteY125" fmla="*/ 183934 h 365348"/>
                <a:gd name="connsiteX126" fmla="*/ 197792 w 440938"/>
                <a:gd name="connsiteY126" fmla="*/ 188974 h 365348"/>
                <a:gd name="connsiteX127" fmla="*/ 197792 w 440938"/>
                <a:gd name="connsiteY127" fmla="*/ 188974 h 365348"/>
                <a:gd name="connsiteX128" fmla="*/ 197792 w 440938"/>
                <a:gd name="connsiteY128" fmla="*/ 188974 h 365348"/>
                <a:gd name="connsiteX129" fmla="*/ 209131 w 440938"/>
                <a:gd name="connsiteY129" fmla="*/ 194013 h 365348"/>
                <a:gd name="connsiteX130" fmla="*/ 233067 w 440938"/>
                <a:gd name="connsiteY130" fmla="*/ 202831 h 365348"/>
                <a:gd name="connsiteX131" fmla="*/ 254484 w 440938"/>
                <a:gd name="connsiteY131" fmla="*/ 209131 h 365348"/>
                <a:gd name="connsiteX132" fmla="*/ 257004 w 440938"/>
                <a:gd name="connsiteY132" fmla="*/ 209131 h 365348"/>
                <a:gd name="connsiteX133" fmla="*/ 258264 w 440938"/>
                <a:gd name="connsiteY133" fmla="*/ 209131 h 365348"/>
                <a:gd name="connsiteX134" fmla="*/ 267083 w 440938"/>
                <a:gd name="connsiteY134" fmla="*/ 210390 h 365348"/>
                <a:gd name="connsiteX135" fmla="*/ 268342 w 440938"/>
                <a:gd name="connsiteY135" fmla="*/ 210390 h 365348"/>
                <a:gd name="connsiteX136" fmla="*/ 268342 w 440938"/>
                <a:gd name="connsiteY136" fmla="*/ 210390 h 365348"/>
                <a:gd name="connsiteX137" fmla="*/ 272122 w 440938"/>
                <a:gd name="connsiteY137" fmla="*/ 210390 h 365348"/>
                <a:gd name="connsiteX138" fmla="*/ 274642 w 440938"/>
                <a:gd name="connsiteY138" fmla="*/ 210390 h 365348"/>
                <a:gd name="connsiteX139" fmla="*/ 274642 w 440938"/>
                <a:gd name="connsiteY139" fmla="*/ 210390 h 365348"/>
                <a:gd name="connsiteX140" fmla="*/ 278421 w 440938"/>
                <a:gd name="connsiteY140" fmla="*/ 210390 h 365348"/>
                <a:gd name="connsiteX141" fmla="*/ 279681 w 440938"/>
                <a:gd name="connsiteY141" fmla="*/ 210390 h 365348"/>
                <a:gd name="connsiteX142" fmla="*/ 292279 w 440938"/>
                <a:gd name="connsiteY142" fmla="*/ 211650 h 365348"/>
                <a:gd name="connsiteX143" fmla="*/ 301098 w 440938"/>
                <a:gd name="connsiteY143" fmla="*/ 211650 h 365348"/>
                <a:gd name="connsiteX144" fmla="*/ 302358 w 440938"/>
                <a:gd name="connsiteY144" fmla="*/ 211650 h 365348"/>
                <a:gd name="connsiteX145" fmla="*/ 302358 w 440938"/>
                <a:gd name="connsiteY145" fmla="*/ 211650 h 365348"/>
                <a:gd name="connsiteX146" fmla="*/ 304877 w 440938"/>
                <a:gd name="connsiteY146" fmla="*/ 211650 h 365348"/>
                <a:gd name="connsiteX147" fmla="*/ 306137 w 440938"/>
                <a:gd name="connsiteY147" fmla="*/ 211650 h 365348"/>
                <a:gd name="connsiteX148" fmla="*/ 318735 w 440938"/>
                <a:gd name="connsiteY148" fmla="*/ 211650 h 365348"/>
                <a:gd name="connsiteX149" fmla="*/ 319995 w 440938"/>
                <a:gd name="connsiteY149" fmla="*/ 211650 h 365348"/>
                <a:gd name="connsiteX150" fmla="*/ 335113 w 440938"/>
                <a:gd name="connsiteY150" fmla="*/ 209131 h 365348"/>
                <a:gd name="connsiteX151" fmla="*/ 335113 w 440938"/>
                <a:gd name="connsiteY151" fmla="*/ 209131 h 365348"/>
                <a:gd name="connsiteX152" fmla="*/ 335113 w 440938"/>
                <a:gd name="connsiteY152" fmla="*/ 209131 h 365348"/>
                <a:gd name="connsiteX153" fmla="*/ 337633 w 440938"/>
                <a:gd name="connsiteY153" fmla="*/ 207871 h 365348"/>
                <a:gd name="connsiteX154" fmla="*/ 337633 w 440938"/>
                <a:gd name="connsiteY154" fmla="*/ 207871 h 365348"/>
                <a:gd name="connsiteX155" fmla="*/ 346451 w 440938"/>
                <a:gd name="connsiteY155" fmla="*/ 205351 h 365348"/>
                <a:gd name="connsiteX156" fmla="*/ 369128 w 440938"/>
                <a:gd name="connsiteY156" fmla="*/ 197792 h 365348"/>
                <a:gd name="connsiteX157" fmla="*/ 376687 w 440938"/>
                <a:gd name="connsiteY157" fmla="*/ 195273 h 365348"/>
                <a:gd name="connsiteX158" fmla="*/ 376687 w 440938"/>
                <a:gd name="connsiteY158" fmla="*/ 195273 h 365348"/>
                <a:gd name="connsiteX159" fmla="*/ 398104 w 440938"/>
                <a:gd name="connsiteY159" fmla="*/ 185194 h 365348"/>
                <a:gd name="connsiteX160" fmla="*/ 409443 w 440938"/>
                <a:gd name="connsiteY160" fmla="*/ 176375 h 365348"/>
                <a:gd name="connsiteX161" fmla="*/ 418261 w 440938"/>
                <a:gd name="connsiteY161" fmla="*/ 163777 h 365348"/>
                <a:gd name="connsiteX162" fmla="*/ 423301 w 440938"/>
                <a:gd name="connsiteY162" fmla="*/ 153698 h 365348"/>
                <a:gd name="connsiteX163" fmla="*/ 423301 w 440938"/>
                <a:gd name="connsiteY163" fmla="*/ 153698 h 365348"/>
                <a:gd name="connsiteX164" fmla="*/ 433379 w 440938"/>
                <a:gd name="connsiteY164" fmla="*/ 133541 h 365348"/>
                <a:gd name="connsiteX165" fmla="*/ 437159 w 440938"/>
                <a:gd name="connsiteY165" fmla="*/ 123463 h 365348"/>
                <a:gd name="connsiteX166" fmla="*/ 439678 w 440938"/>
                <a:gd name="connsiteY166" fmla="*/ 114644 h 365348"/>
                <a:gd name="connsiteX167" fmla="*/ 442198 w 440938"/>
                <a:gd name="connsiteY167" fmla="*/ 103305 h 365348"/>
                <a:gd name="connsiteX168" fmla="*/ 443458 w 440938"/>
                <a:gd name="connsiteY168" fmla="*/ 91967 h 365348"/>
                <a:gd name="connsiteX169" fmla="*/ 443458 w 440938"/>
                <a:gd name="connsiteY169" fmla="*/ 81889 h 365348"/>
                <a:gd name="connsiteX170" fmla="*/ 449757 w 440938"/>
                <a:gd name="connsiteY170" fmla="*/ 84408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440938" h="365348">
                  <a:moveTo>
                    <a:pt x="449757" y="84408"/>
                  </a:moveTo>
                  <a:cubicBezTo>
                    <a:pt x="449757" y="80629"/>
                    <a:pt x="448497" y="76849"/>
                    <a:pt x="447237" y="73070"/>
                  </a:cubicBezTo>
                  <a:cubicBezTo>
                    <a:pt x="445977" y="69290"/>
                    <a:pt x="443458" y="65511"/>
                    <a:pt x="442198" y="62991"/>
                  </a:cubicBezTo>
                  <a:lnTo>
                    <a:pt x="442198" y="61731"/>
                  </a:lnTo>
                  <a:cubicBezTo>
                    <a:pt x="440938" y="59212"/>
                    <a:pt x="438419" y="55432"/>
                    <a:pt x="437159" y="52913"/>
                  </a:cubicBezTo>
                  <a:cubicBezTo>
                    <a:pt x="434639" y="49133"/>
                    <a:pt x="433379" y="46613"/>
                    <a:pt x="430860" y="42834"/>
                  </a:cubicBezTo>
                  <a:cubicBezTo>
                    <a:pt x="425820" y="36535"/>
                    <a:pt x="420781" y="31496"/>
                    <a:pt x="415742" y="26456"/>
                  </a:cubicBezTo>
                  <a:cubicBezTo>
                    <a:pt x="409443" y="21417"/>
                    <a:pt x="401884" y="16378"/>
                    <a:pt x="395584" y="12598"/>
                  </a:cubicBezTo>
                  <a:cubicBezTo>
                    <a:pt x="391805" y="11338"/>
                    <a:pt x="389285" y="8819"/>
                    <a:pt x="385506" y="7559"/>
                  </a:cubicBezTo>
                  <a:cubicBezTo>
                    <a:pt x="384246" y="6299"/>
                    <a:pt x="382986" y="6299"/>
                    <a:pt x="380467" y="5039"/>
                  </a:cubicBezTo>
                  <a:cubicBezTo>
                    <a:pt x="377947" y="3779"/>
                    <a:pt x="376687" y="3779"/>
                    <a:pt x="372908" y="2520"/>
                  </a:cubicBezTo>
                  <a:cubicBezTo>
                    <a:pt x="367868" y="1260"/>
                    <a:pt x="364089" y="0"/>
                    <a:pt x="360309" y="0"/>
                  </a:cubicBezTo>
                  <a:cubicBezTo>
                    <a:pt x="355270" y="0"/>
                    <a:pt x="350231" y="0"/>
                    <a:pt x="345192" y="0"/>
                  </a:cubicBezTo>
                  <a:lnTo>
                    <a:pt x="343932" y="0"/>
                  </a:lnTo>
                  <a:cubicBezTo>
                    <a:pt x="342672" y="0"/>
                    <a:pt x="341412" y="0"/>
                    <a:pt x="340152" y="0"/>
                  </a:cubicBezTo>
                  <a:cubicBezTo>
                    <a:pt x="337633" y="0"/>
                    <a:pt x="335113" y="0"/>
                    <a:pt x="332593" y="1260"/>
                  </a:cubicBezTo>
                  <a:cubicBezTo>
                    <a:pt x="328814" y="1260"/>
                    <a:pt x="326294" y="2520"/>
                    <a:pt x="322515" y="3779"/>
                  </a:cubicBezTo>
                  <a:cubicBezTo>
                    <a:pt x="318735" y="5039"/>
                    <a:pt x="316216" y="5039"/>
                    <a:pt x="312436" y="6299"/>
                  </a:cubicBezTo>
                  <a:cubicBezTo>
                    <a:pt x="311176" y="6299"/>
                    <a:pt x="311176" y="6299"/>
                    <a:pt x="309916" y="7559"/>
                  </a:cubicBezTo>
                  <a:cubicBezTo>
                    <a:pt x="307397" y="7559"/>
                    <a:pt x="304877" y="8819"/>
                    <a:pt x="302358" y="8819"/>
                  </a:cubicBezTo>
                  <a:cubicBezTo>
                    <a:pt x="294799" y="11338"/>
                    <a:pt x="287240" y="13858"/>
                    <a:pt x="282200" y="17637"/>
                  </a:cubicBezTo>
                  <a:cubicBezTo>
                    <a:pt x="278421" y="20157"/>
                    <a:pt x="275901" y="22677"/>
                    <a:pt x="273382" y="23937"/>
                  </a:cubicBezTo>
                  <a:cubicBezTo>
                    <a:pt x="273382" y="23937"/>
                    <a:pt x="272122" y="25196"/>
                    <a:pt x="272122" y="25196"/>
                  </a:cubicBezTo>
                  <a:cubicBezTo>
                    <a:pt x="272122" y="25196"/>
                    <a:pt x="270862" y="23937"/>
                    <a:pt x="269602" y="22677"/>
                  </a:cubicBezTo>
                  <a:cubicBezTo>
                    <a:pt x="265823" y="20157"/>
                    <a:pt x="263303" y="18897"/>
                    <a:pt x="259523" y="16378"/>
                  </a:cubicBezTo>
                  <a:cubicBezTo>
                    <a:pt x="251965" y="12598"/>
                    <a:pt x="244406" y="11338"/>
                    <a:pt x="236847" y="11338"/>
                  </a:cubicBezTo>
                  <a:cubicBezTo>
                    <a:pt x="226768" y="10078"/>
                    <a:pt x="219209" y="8819"/>
                    <a:pt x="210390" y="8819"/>
                  </a:cubicBezTo>
                  <a:cubicBezTo>
                    <a:pt x="202831" y="8819"/>
                    <a:pt x="194013" y="8819"/>
                    <a:pt x="186454" y="8819"/>
                  </a:cubicBezTo>
                  <a:lnTo>
                    <a:pt x="185194" y="8819"/>
                  </a:lnTo>
                  <a:cubicBezTo>
                    <a:pt x="178895" y="8819"/>
                    <a:pt x="173856" y="8819"/>
                    <a:pt x="167557" y="8819"/>
                  </a:cubicBezTo>
                  <a:cubicBezTo>
                    <a:pt x="166297" y="8819"/>
                    <a:pt x="163777" y="8819"/>
                    <a:pt x="162517" y="8819"/>
                  </a:cubicBezTo>
                  <a:cubicBezTo>
                    <a:pt x="154958" y="10078"/>
                    <a:pt x="147399" y="11338"/>
                    <a:pt x="138581" y="15118"/>
                  </a:cubicBezTo>
                  <a:cubicBezTo>
                    <a:pt x="134801" y="16378"/>
                    <a:pt x="131022" y="17637"/>
                    <a:pt x="128502" y="20157"/>
                  </a:cubicBezTo>
                  <a:cubicBezTo>
                    <a:pt x="125982" y="21417"/>
                    <a:pt x="122203" y="22677"/>
                    <a:pt x="119683" y="25196"/>
                  </a:cubicBezTo>
                  <a:lnTo>
                    <a:pt x="118423" y="26456"/>
                  </a:lnTo>
                  <a:cubicBezTo>
                    <a:pt x="117164" y="27716"/>
                    <a:pt x="115904" y="27716"/>
                    <a:pt x="113384" y="28976"/>
                  </a:cubicBezTo>
                  <a:cubicBezTo>
                    <a:pt x="112124" y="30236"/>
                    <a:pt x="110864" y="30236"/>
                    <a:pt x="108345" y="31496"/>
                  </a:cubicBezTo>
                  <a:cubicBezTo>
                    <a:pt x="104565" y="34015"/>
                    <a:pt x="100786" y="35275"/>
                    <a:pt x="98266" y="36535"/>
                  </a:cubicBezTo>
                  <a:cubicBezTo>
                    <a:pt x="97006" y="37795"/>
                    <a:pt x="94487" y="37795"/>
                    <a:pt x="93227" y="39054"/>
                  </a:cubicBezTo>
                  <a:cubicBezTo>
                    <a:pt x="90707" y="40314"/>
                    <a:pt x="89447" y="41574"/>
                    <a:pt x="86928" y="42834"/>
                  </a:cubicBezTo>
                  <a:cubicBezTo>
                    <a:pt x="84408" y="45354"/>
                    <a:pt x="80629" y="47873"/>
                    <a:pt x="78109" y="49133"/>
                  </a:cubicBezTo>
                  <a:cubicBezTo>
                    <a:pt x="71810" y="54172"/>
                    <a:pt x="66771" y="59212"/>
                    <a:pt x="61731" y="64251"/>
                  </a:cubicBezTo>
                  <a:cubicBezTo>
                    <a:pt x="56692" y="69290"/>
                    <a:pt x="52913" y="74330"/>
                    <a:pt x="46613" y="81889"/>
                  </a:cubicBezTo>
                  <a:lnTo>
                    <a:pt x="44094" y="84408"/>
                  </a:lnTo>
                  <a:lnTo>
                    <a:pt x="42834" y="85668"/>
                  </a:lnTo>
                  <a:cubicBezTo>
                    <a:pt x="41574" y="86928"/>
                    <a:pt x="40314" y="88188"/>
                    <a:pt x="39054" y="90707"/>
                  </a:cubicBezTo>
                  <a:cubicBezTo>
                    <a:pt x="37795" y="93227"/>
                    <a:pt x="35275" y="95746"/>
                    <a:pt x="34015" y="98266"/>
                  </a:cubicBezTo>
                  <a:cubicBezTo>
                    <a:pt x="34015" y="99526"/>
                    <a:pt x="32755" y="99526"/>
                    <a:pt x="32755" y="100786"/>
                  </a:cubicBezTo>
                  <a:lnTo>
                    <a:pt x="32755" y="100786"/>
                  </a:lnTo>
                  <a:lnTo>
                    <a:pt x="31496" y="102046"/>
                  </a:lnTo>
                  <a:lnTo>
                    <a:pt x="30236" y="104565"/>
                  </a:lnTo>
                  <a:cubicBezTo>
                    <a:pt x="28976" y="107085"/>
                    <a:pt x="26456" y="110864"/>
                    <a:pt x="25196" y="113384"/>
                  </a:cubicBezTo>
                  <a:cubicBezTo>
                    <a:pt x="23937" y="117163"/>
                    <a:pt x="22677" y="120943"/>
                    <a:pt x="21417" y="123463"/>
                  </a:cubicBezTo>
                  <a:cubicBezTo>
                    <a:pt x="20157" y="125982"/>
                    <a:pt x="20157" y="127242"/>
                    <a:pt x="18897" y="129762"/>
                  </a:cubicBezTo>
                  <a:lnTo>
                    <a:pt x="17637" y="132281"/>
                  </a:lnTo>
                  <a:lnTo>
                    <a:pt x="16378" y="134801"/>
                  </a:lnTo>
                  <a:cubicBezTo>
                    <a:pt x="15118" y="138581"/>
                    <a:pt x="13858" y="142360"/>
                    <a:pt x="12598" y="144880"/>
                  </a:cubicBezTo>
                  <a:cubicBezTo>
                    <a:pt x="11338" y="147399"/>
                    <a:pt x="11338" y="149919"/>
                    <a:pt x="11338" y="152439"/>
                  </a:cubicBezTo>
                  <a:lnTo>
                    <a:pt x="11338" y="152439"/>
                  </a:lnTo>
                  <a:lnTo>
                    <a:pt x="11338" y="154958"/>
                  </a:lnTo>
                  <a:cubicBezTo>
                    <a:pt x="10079" y="158738"/>
                    <a:pt x="10079" y="162517"/>
                    <a:pt x="8819" y="165037"/>
                  </a:cubicBezTo>
                  <a:cubicBezTo>
                    <a:pt x="8819" y="166297"/>
                    <a:pt x="8819" y="167556"/>
                    <a:pt x="8819" y="168816"/>
                  </a:cubicBezTo>
                  <a:lnTo>
                    <a:pt x="8819" y="168816"/>
                  </a:lnTo>
                  <a:lnTo>
                    <a:pt x="7559" y="172596"/>
                  </a:lnTo>
                  <a:cubicBezTo>
                    <a:pt x="6299" y="177635"/>
                    <a:pt x="5039" y="182674"/>
                    <a:pt x="3780" y="188974"/>
                  </a:cubicBezTo>
                  <a:cubicBezTo>
                    <a:pt x="2520" y="192753"/>
                    <a:pt x="2520" y="197792"/>
                    <a:pt x="2520" y="201572"/>
                  </a:cubicBezTo>
                  <a:lnTo>
                    <a:pt x="2520" y="201572"/>
                  </a:lnTo>
                  <a:lnTo>
                    <a:pt x="2520" y="202831"/>
                  </a:lnTo>
                  <a:cubicBezTo>
                    <a:pt x="2520" y="205351"/>
                    <a:pt x="1260" y="209131"/>
                    <a:pt x="1260" y="211650"/>
                  </a:cubicBezTo>
                  <a:cubicBezTo>
                    <a:pt x="1260" y="219209"/>
                    <a:pt x="0" y="226768"/>
                    <a:pt x="0" y="233067"/>
                  </a:cubicBezTo>
                  <a:cubicBezTo>
                    <a:pt x="0" y="236847"/>
                    <a:pt x="0" y="240626"/>
                    <a:pt x="0" y="244406"/>
                  </a:cubicBezTo>
                  <a:cubicBezTo>
                    <a:pt x="0" y="248185"/>
                    <a:pt x="0" y="250705"/>
                    <a:pt x="1260" y="254484"/>
                  </a:cubicBezTo>
                  <a:lnTo>
                    <a:pt x="1260" y="255744"/>
                  </a:lnTo>
                  <a:cubicBezTo>
                    <a:pt x="1260" y="259523"/>
                    <a:pt x="2520" y="263303"/>
                    <a:pt x="3780" y="267083"/>
                  </a:cubicBezTo>
                  <a:lnTo>
                    <a:pt x="3780" y="268342"/>
                  </a:lnTo>
                  <a:cubicBezTo>
                    <a:pt x="5039" y="270862"/>
                    <a:pt x="5039" y="274641"/>
                    <a:pt x="6299" y="277161"/>
                  </a:cubicBezTo>
                  <a:cubicBezTo>
                    <a:pt x="7559" y="280940"/>
                    <a:pt x="8819" y="283460"/>
                    <a:pt x="10079" y="287240"/>
                  </a:cubicBezTo>
                  <a:cubicBezTo>
                    <a:pt x="11338" y="289759"/>
                    <a:pt x="12598" y="293539"/>
                    <a:pt x="13858" y="296058"/>
                  </a:cubicBezTo>
                  <a:lnTo>
                    <a:pt x="13858" y="297318"/>
                  </a:lnTo>
                  <a:cubicBezTo>
                    <a:pt x="16378" y="303617"/>
                    <a:pt x="20157" y="309916"/>
                    <a:pt x="23937" y="316216"/>
                  </a:cubicBezTo>
                  <a:lnTo>
                    <a:pt x="25196" y="317475"/>
                  </a:lnTo>
                  <a:cubicBezTo>
                    <a:pt x="28976" y="323775"/>
                    <a:pt x="32755" y="330074"/>
                    <a:pt x="36535" y="335113"/>
                  </a:cubicBezTo>
                  <a:cubicBezTo>
                    <a:pt x="41574" y="341412"/>
                    <a:pt x="46613" y="347711"/>
                    <a:pt x="50393" y="352751"/>
                  </a:cubicBezTo>
                  <a:cubicBezTo>
                    <a:pt x="52913" y="355270"/>
                    <a:pt x="55432" y="359050"/>
                    <a:pt x="59212" y="361569"/>
                  </a:cubicBezTo>
                  <a:cubicBezTo>
                    <a:pt x="61731" y="362829"/>
                    <a:pt x="62991" y="365349"/>
                    <a:pt x="65511" y="366608"/>
                  </a:cubicBezTo>
                  <a:lnTo>
                    <a:pt x="66771" y="367868"/>
                  </a:lnTo>
                  <a:cubicBezTo>
                    <a:pt x="69290" y="369128"/>
                    <a:pt x="70550" y="371648"/>
                    <a:pt x="73070" y="372908"/>
                  </a:cubicBezTo>
                  <a:cubicBezTo>
                    <a:pt x="73070" y="371648"/>
                    <a:pt x="71810" y="370388"/>
                    <a:pt x="71810" y="369128"/>
                  </a:cubicBezTo>
                  <a:cubicBezTo>
                    <a:pt x="70550" y="362829"/>
                    <a:pt x="69290" y="356530"/>
                    <a:pt x="68030" y="348971"/>
                  </a:cubicBezTo>
                  <a:cubicBezTo>
                    <a:pt x="66771" y="342672"/>
                    <a:pt x="66771" y="337633"/>
                    <a:pt x="65511" y="331333"/>
                  </a:cubicBezTo>
                  <a:cubicBezTo>
                    <a:pt x="64251" y="318735"/>
                    <a:pt x="62991" y="307397"/>
                    <a:pt x="61731" y="294799"/>
                  </a:cubicBezTo>
                  <a:cubicBezTo>
                    <a:pt x="61731" y="288499"/>
                    <a:pt x="60472" y="283460"/>
                    <a:pt x="60472" y="277161"/>
                  </a:cubicBezTo>
                  <a:cubicBezTo>
                    <a:pt x="60472" y="272122"/>
                    <a:pt x="60472" y="265823"/>
                    <a:pt x="60472" y="260783"/>
                  </a:cubicBezTo>
                  <a:cubicBezTo>
                    <a:pt x="60472" y="259523"/>
                    <a:pt x="60472" y="258264"/>
                    <a:pt x="60472" y="257004"/>
                  </a:cubicBezTo>
                  <a:cubicBezTo>
                    <a:pt x="60472" y="257004"/>
                    <a:pt x="60472" y="255744"/>
                    <a:pt x="60472" y="255744"/>
                  </a:cubicBezTo>
                  <a:cubicBezTo>
                    <a:pt x="60472" y="255744"/>
                    <a:pt x="60472" y="255744"/>
                    <a:pt x="60472" y="255744"/>
                  </a:cubicBezTo>
                  <a:cubicBezTo>
                    <a:pt x="60472" y="251965"/>
                    <a:pt x="60472" y="249445"/>
                    <a:pt x="59212" y="245666"/>
                  </a:cubicBezTo>
                  <a:cubicBezTo>
                    <a:pt x="59212" y="243146"/>
                    <a:pt x="59212" y="240626"/>
                    <a:pt x="59212" y="238107"/>
                  </a:cubicBezTo>
                  <a:cubicBezTo>
                    <a:pt x="59212" y="236847"/>
                    <a:pt x="59212" y="235587"/>
                    <a:pt x="59212" y="234327"/>
                  </a:cubicBezTo>
                  <a:lnTo>
                    <a:pt x="59212" y="234327"/>
                  </a:lnTo>
                  <a:cubicBezTo>
                    <a:pt x="60472" y="234327"/>
                    <a:pt x="61731" y="234327"/>
                    <a:pt x="62991" y="233067"/>
                  </a:cubicBezTo>
                  <a:cubicBezTo>
                    <a:pt x="65511" y="231807"/>
                    <a:pt x="68030" y="231807"/>
                    <a:pt x="70550" y="230548"/>
                  </a:cubicBezTo>
                  <a:cubicBezTo>
                    <a:pt x="73070" y="229288"/>
                    <a:pt x="75589" y="229288"/>
                    <a:pt x="78109" y="228028"/>
                  </a:cubicBezTo>
                  <a:cubicBezTo>
                    <a:pt x="83148" y="226768"/>
                    <a:pt x="88188" y="224248"/>
                    <a:pt x="94487" y="221729"/>
                  </a:cubicBezTo>
                  <a:cubicBezTo>
                    <a:pt x="103305" y="219209"/>
                    <a:pt x="112124" y="216690"/>
                    <a:pt x="119683" y="212910"/>
                  </a:cubicBezTo>
                  <a:cubicBezTo>
                    <a:pt x="125982" y="209131"/>
                    <a:pt x="132281" y="205351"/>
                    <a:pt x="138581" y="200312"/>
                  </a:cubicBezTo>
                  <a:cubicBezTo>
                    <a:pt x="143620" y="197792"/>
                    <a:pt x="148659" y="194013"/>
                    <a:pt x="151179" y="190233"/>
                  </a:cubicBezTo>
                  <a:cubicBezTo>
                    <a:pt x="152439" y="188974"/>
                    <a:pt x="153698" y="187714"/>
                    <a:pt x="153698" y="186454"/>
                  </a:cubicBezTo>
                  <a:cubicBezTo>
                    <a:pt x="154958" y="185194"/>
                    <a:pt x="154958" y="182674"/>
                    <a:pt x="156218" y="181414"/>
                  </a:cubicBezTo>
                  <a:cubicBezTo>
                    <a:pt x="157478" y="177635"/>
                    <a:pt x="159998" y="173855"/>
                    <a:pt x="161257" y="170076"/>
                  </a:cubicBezTo>
                  <a:cubicBezTo>
                    <a:pt x="161257" y="168816"/>
                    <a:pt x="161257" y="168816"/>
                    <a:pt x="162517" y="167556"/>
                  </a:cubicBezTo>
                  <a:cubicBezTo>
                    <a:pt x="162517" y="167556"/>
                    <a:pt x="163777" y="166297"/>
                    <a:pt x="163777" y="166297"/>
                  </a:cubicBezTo>
                  <a:cubicBezTo>
                    <a:pt x="165037" y="165037"/>
                    <a:pt x="166297" y="162517"/>
                    <a:pt x="166297" y="161257"/>
                  </a:cubicBezTo>
                  <a:cubicBezTo>
                    <a:pt x="166297" y="161257"/>
                    <a:pt x="166297" y="161257"/>
                    <a:pt x="166297" y="161257"/>
                  </a:cubicBezTo>
                  <a:cubicBezTo>
                    <a:pt x="167557" y="162517"/>
                    <a:pt x="168816" y="165037"/>
                    <a:pt x="171336" y="166297"/>
                  </a:cubicBezTo>
                  <a:cubicBezTo>
                    <a:pt x="172596" y="167556"/>
                    <a:pt x="173856" y="168816"/>
                    <a:pt x="173856" y="168816"/>
                  </a:cubicBezTo>
                  <a:cubicBezTo>
                    <a:pt x="173856" y="168816"/>
                    <a:pt x="175115" y="170076"/>
                    <a:pt x="175115" y="170076"/>
                  </a:cubicBezTo>
                  <a:cubicBezTo>
                    <a:pt x="175115" y="170076"/>
                    <a:pt x="175115" y="170076"/>
                    <a:pt x="175115" y="170076"/>
                  </a:cubicBezTo>
                  <a:lnTo>
                    <a:pt x="175115" y="170076"/>
                  </a:lnTo>
                  <a:lnTo>
                    <a:pt x="175115" y="170076"/>
                  </a:lnTo>
                  <a:lnTo>
                    <a:pt x="175115" y="170076"/>
                  </a:lnTo>
                  <a:cubicBezTo>
                    <a:pt x="176375" y="171336"/>
                    <a:pt x="178895" y="173855"/>
                    <a:pt x="180155" y="175115"/>
                  </a:cubicBezTo>
                  <a:cubicBezTo>
                    <a:pt x="181414" y="176375"/>
                    <a:pt x="181414" y="176375"/>
                    <a:pt x="182674" y="177635"/>
                  </a:cubicBezTo>
                  <a:cubicBezTo>
                    <a:pt x="183934" y="178895"/>
                    <a:pt x="185194" y="180155"/>
                    <a:pt x="186454" y="181414"/>
                  </a:cubicBezTo>
                  <a:cubicBezTo>
                    <a:pt x="186454" y="181414"/>
                    <a:pt x="187714" y="182674"/>
                    <a:pt x="187714" y="182674"/>
                  </a:cubicBezTo>
                  <a:cubicBezTo>
                    <a:pt x="188973" y="182674"/>
                    <a:pt x="188973" y="183934"/>
                    <a:pt x="190233" y="183934"/>
                  </a:cubicBezTo>
                  <a:cubicBezTo>
                    <a:pt x="192753" y="185194"/>
                    <a:pt x="195273" y="18771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201572" y="191493"/>
                    <a:pt x="205351" y="192753"/>
                    <a:pt x="209131" y="194013"/>
                  </a:cubicBezTo>
                  <a:cubicBezTo>
                    <a:pt x="216690" y="196532"/>
                    <a:pt x="224249" y="200312"/>
                    <a:pt x="233067" y="202831"/>
                  </a:cubicBezTo>
                  <a:cubicBezTo>
                    <a:pt x="240626" y="205351"/>
                    <a:pt x="246925" y="207871"/>
                    <a:pt x="254484" y="209131"/>
                  </a:cubicBezTo>
                  <a:lnTo>
                    <a:pt x="257004" y="209131"/>
                  </a:lnTo>
                  <a:lnTo>
                    <a:pt x="258264" y="209131"/>
                  </a:lnTo>
                  <a:cubicBezTo>
                    <a:pt x="260783" y="209131"/>
                    <a:pt x="263303" y="210390"/>
                    <a:pt x="267083" y="210390"/>
                  </a:cubicBezTo>
                  <a:cubicBezTo>
                    <a:pt x="267083" y="210390"/>
                    <a:pt x="268342" y="210390"/>
                    <a:pt x="268342" y="210390"/>
                  </a:cubicBezTo>
                  <a:lnTo>
                    <a:pt x="268342" y="210390"/>
                  </a:lnTo>
                  <a:cubicBezTo>
                    <a:pt x="269602" y="210390"/>
                    <a:pt x="270862" y="210390"/>
                    <a:pt x="272122" y="210390"/>
                  </a:cubicBezTo>
                  <a:lnTo>
                    <a:pt x="274642" y="210390"/>
                  </a:lnTo>
                  <a:lnTo>
                    <a:pt x="274642" y="210390"/>
                  </a:lnTo>
                  <a:lnTo>
                    <a:pt x="278421" y="210390"/>
                  </a:lnTo>
                  <a:cubicBezTo>
                    <a:pt x="278421" y="210390"/>
                    <a:pt x="279681" y="210390"/>
                    <a:pt x="279681" y="210390"/>
                  </a:cubicBezTo>
                  <a:cubicBezTo>
                    <a:pt x="283460" y="210390"/>
                    <a:pt x="287240" y="211650"/>
                    <a:pt x="292279" y="211650"/>
                  </a:cubicBezTo>
                  <a:cubicBezTo>
                    <a:pt x="294799" y="211650"/>
                    <a:pt x="298578" y="211650"/>
                    <a:pt x="301098" y="211650"/>
                  </a:cubicBezTo>
                  <a:lnTo>
                    <a:pt x="302358" y="211650"/>
                  </a:lnTo>
                  <a:cubicBezTo>
                    <a:pt x="302358" y="211650"/>
                    <a:pt x="302358" y="211650"/>
                    <a:pt x="302358" y="211650"/>
                  </a:cubicBezTo>
                  <a:cubicBezTo>
                    <a:pt x="303617" y="211650"/>
                    <a:pt x="303617" y="211650"/>
                    <a:pt x="304877" y="211650"/>
                  </a:cubicBezTo>
                  <a:cubicBezTo>
                    <a:pt x="304877" y="211650"/>
                    <a:pt x="306137" y="211650"/>
                    <a:pt x="306137" y="211650"/>
                  </a:cubicBezTo>
                  <a:cubicBezTo>
                    <a:pt x="309916" y="211650"/>
                    <a:pt x="313696" y="211650"/>
                    <a:pt x="318735" y="211650"/>
                  </a:cubicBezTo>
                  <a:lnTo>
                    <a:pt x="319995" y="211650"/>
                  </a:lnTo>
                  <a:cubicBezTo>
                    <a:pt x="325034" y="211650"/>
                    <a:pt x="330074" y="210390"/>
                    <a:pt x="335113" y="209131"/>
                  </a:cubicBezTo>
                  <a:cubicBezTo>
                    <a:pt x="335113" y="209131"/>
                    <a:pt x="335113" y="209131"/>
                    <a:pt x="335113" y="209131"/>
                  </a:cubicBezTo>
                  <a:lnTo>
                    <a:pt x="335113" y="209131"/>
                  </a:lnTo>
                  <a:cubicBezTo>
                    <a:pt x="336373" y="209131"/>
                    <a:pt x="336373" y="209131"/>
                    <a:pt x="337633" y="207871"/>
                  </a:cubicBezTo>
                  <a:cubicBezTo>
                    <a:pt x="337633" y="207871"/>
                    <a:pt x="337633" y="207871"/>
                    <a:pt x="337633" y="207871"/>
                  </a:cubicBezTo>
                  <a:cubicBezTo>
                    <a:pt x="340152" y="206611"/>
                    <a:pt x="343932" y="206611"/>
                    <a:pt x="346451" y="205351"/>
                  </a:cubicBezTo>
                  <a:cubicBezTo>
                    <a:pt x="355270" y="202831"/>
                    <a:pt x="362829" y="200312"/>
                    <a:pt x="369128" y="197792"/>
                  </a:cubicBezTo>
                  <a:cubicBezTo>
                    <a:pt x="371648" y="196532"/>
                    <a:pt x="374167" y="196532"/>
                    <a:pt x="376687" y="195273"/>
                  </a:cubicBezTo>
                  <a:lnTo>
                    <a:pt x="376687" y="195273"/>
                  </a:lnTo>
                  <a:cubicBezTo>
                    <a:pt x="384246" y="192753"/>
                    <a:pt x="391805" y="190233"/>
                    <a:pt x="398104" y="185194"/>
                  </a:cubicBezTo>
                  <a:cubicBezTo>
                    <a:pt x="401884" y="182674"/>
                    <a:pt x="406923" y="180155"/>
                    <a:pt x="409443" y="176375"/>
                  </a:cubicBezTo>
                  <a:cubicBezTo>
                    <a:pt x="413222" y="172596"/>
                    <a:pt x="415742" y="167556"/>
                    <a:pt x="418261" y="163777"/>
                  </a:cubicBezTo>
                  <a:cubicBezTo>
                    <a:pt x="419521" y="161257"/>
                    <a:pt x="422041" y="157478"/>
                    <a:pt x="423301" y="153698"/>
                  </a:cubicBezTo>
                  <a:lnTo>
                    <a:pt x="423301" y="153698"/>
                  </a:lnTo>
                  <a:cubicBezTo>
                    <a:pt x="427080" y="147399"/>
                    <a:pt x="430860" y="139840"/>
                    <a:pt x="433379" y="133541"/>
                  </a:cubicBezTo>
                  <a:cubicBezTo>
                    <a:pt x="434639" y="129762"/>
                    <a:pt x="435899" y="127242"/>
                    <a:pt x="437159" y="123463"/>
                  </a:cubicBezTo>
                  <a:cubicBezTo>
                    <a:pt x="438419" y="120943"/>
                    <a:pt x="438419" y="117163"/>
                    <a:pt x="439678" y="114644"/>
                  </a:cubicBezTo>
                  <a:cubicBezTo>
                    <a:pt x="440938" y="110864"/>
                    <a:pt x="440938" y="107085"/>
                    <a:pt x="442198" y="103305"/>
                  </a:cubicBezTo>
                  <a:cubicBezTo>
                    <a:pt x="442198" y="99526"/>
                    <a:pt x="443458" y="95746"/>
                    <a:pt x="443458" y="91967"/>
                  </a:cubicBezTo>
                  <a:cubicBezTo>
                    <a:pt x="443458" y="89447"/>
                    <a:pt x="443458" y="85668"/>
                    <a:pt x="443458" y="81889"/>
                  </a:cubicBezTo>
                  <a:cubicBezTo>
                    <a:pt x="451017" y="88188"/>
                    <a:pt x="449757" y="86928"/>
                    <a:pt x="449757" y="8440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/>
            <p:cNvSpPr/>
            <p:nvPr/>
          </p:nvSpPr>
          <p:spPr>
            <a:xfrm>
              <a:off x="2852955" y="3216089"/>
              <a:ext cx="340152" cy="365349"/>
            </a:xfrm>
            <a:custGeom>
              <a:avLst/>
              <a:gdLst>
                <a:gd name="connsiteX0" fmla="*/ 275901 w 340152"/>
                <a:gd name="connsiteY0" fmla="*/ 376687 h 365348"/>
                <a:gd name="connsiteX1" fmla="*/ 0 w 340152"/>
                <a:gd name="connsiteY1" fmla="*/ 332593 h 365348"/>
                <a:gd name="connsiteX2" fmla="*/ 69290 w 340152"/>
                <a:gd name="connsiteY2" fmla="*/ 0 h 365348"/>
                <a:gd name="connsiteX3" fmla="*/ 345192 w 340152"/>
                <a:gd name="connsiteY3" fmla="*/ 44094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152" h="365348">
                  <a:moveTo>
                    <a:pt x="275901" y="376687"/>
                  </a:moveTo>
                  <a:lnTo>
                    <a:pt x="0" y="332593"/>
                  </a:lnTo>
                  <a:lnTo>
                    <a:pt x="69290" y="0"/>
                  </a:lnTo>
                  <a:lnTo>
                    <a:pt x="345192" y="44094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/>
            <p:cNvSpPr/>
            <p:nvPr/>
          </p:nvSpPr>
          <p:spPr>
            <a:xfrm>
              <a:off x="3050748" y="3338292"/>
              <a:ext cx="264563" cy="415742"/>
            </a:xfrm>
            <a:custGeom>
              <a:avLst/>
              <a:gdLst>
                <a:gd name="connsiteX0" fmla="*/ 265823 w 264562"/>
                <a:gd name="connsiteY0" fmla="*/ 364089 h 415741"/>
                <a:gd name="connsiteX1" fmla="*/ 265823 w 264562"/>
                <a:gd name="connsiteY1" fmla="*/ 361569 h 415741"/>
                <a:gd name="connsiteX2" fmla="*/ 264563 w 264562"/>
                <a:gd name="connsiteY2" fmla="*/ 354010 h 415741"/>
                <a:gd name="connsiteX3" fmla="*/ 264563 w 264562"/>
                <a:gd name="connsiteY3" fmla="*/ 351491 h 415741"/>
                <a:gd name="connsiteX4" fmla="*/ 264563 w 264562"/>
                <a:gd name="connsiteY4" fmla="*/ 351491 h 415741"/>
                <a:gd name="connsiteX5" fmla="*/ 264563 w 264562"/>
                <a:gd name="connsiteY5" fmla="*/ 351491 h 415741"/>
                <a:gd name="connsiteX6" fmla="*/ 263303 w 264562"/>
                <a:gd name="connsiteY6" fmla="*/ 346451 h 415741"/>
                <a:gd name="connsiteX7" fmla="*/ 263303 w 264562"/>
                <a:gd name="connsiteY7" fmla="*/ 345192 h 415741"/>
                <a:gd name="connsiteX8" fmla="*/ 262043 w 264562"/>
                <a:gd name="connsiteY8" fmla="*/ 341412 h 415741"/>
                <a:gd name="connsiteX9" fmla="*/ 254484 w 264562"/>
                <a:gd name="connsiteY9" fmla="*/ 322515 h 415741"/>
                <a:gd name="connsiteX10" fmla="*/ 254484 w 264562"/>
                <a:gd name="connsiteY10" fmla="*/ 321255 h 415741"/>
                <a:gd name="connsiteX11" fmla="*/ 253225 w 264562"/>
                <a:gd name="connsiteY11" fmla="*/ 318735 h 415741"/>
                <a:gd name="connsiteX12" fmla="*/ 253225 w 264562"/>
                <a:gd name="connsiteY12" fmla="*/ 317475 h 415741"/>
                <a:gd name="connsiteX13" fmla="*/ 246925 w 264562"/>
                <a:gd name="connsiteY13" fmla="*/ 304877 h 415741"/>
                <a:gd name="connsiteX14" fmla="*/ 243146 w 264562"/>
                <a:gd name="connsiteY14" fmla="*/ 298578 h 415741"/>
                <a:gd name="connsiteX15" fmla="*/ 239366 w 264562"/>
                <a:gd name="connsiteY15" fmla="*/ 291019 h 415741"/>
                <a:gd name="connsiteX16" fmla="*/ 235587 w 264562"/>
                <a:gd name="connsiteY16" fmla="*/ 283460 h 415741"/>
                <a:gd name="connsiteX17" fmla="*/ 235587 w 264562"/>
                <a:gd name="connsiteY17" fmla="*/ 282200 h 415741"/>
                <a:gd name="connsiteX18" fmla="*/ 235587 w 264562"/>
                <a:gd name="connsiteY18" fmla="*/ 282200 h 415741"/>
                <a:gd name="connsiteX19" fmla="*/ 234327 w 264562"/>
                <a:gd name="connsiteY19" fmla="*/ 279681 h 415741"/>
                <a:gd name="connsiteX20" fmla="*/ 233067 w 264562"/>
                <a:gd name="connsiteY20" fmla="*/ 278421 h 415741"/>
                <a:gd name="connsiteX21" fmla="*/ 229288 w 264562"/>
                <a:gd name="connsiteY21" fmla="*/ 270862 h 415741"/>
                <a:gd name="connsiteX22" fmla="*/ 229288 w 264562"/>
                <a:gd name="connsiteY22" fmla="*/ 270862 h 415741"/>
                <a:gd name="connsiteX23" fmla="*/ 225508 w 264562"/>
                <a:gd name="connsiteY23" fmla="*/ 264563 h 415741"/>
                <a:gd name="connsiteX24" fmla="*/ 224249 w 264562"/>
                <a:gd name="connsiteY24" fmla="*/ 262043 h 415741"/>
                <a:gd name="connsiteX25" fmla="*/ 220469 w 264562"/>
                <a:gd name="connsiteY25" fmla="*/ 257004 h 415741"/>
                <a:gd name="connsiteX26" fmla="*/ 219209 w 264562"/>
                <a:gd name="connsiteY26" fmla="*/ 255744 h 415741"/>
                <a:gd name="connsiteX27" fmla="*/ 219209 w 264562"/>
                <a:gd name="connsiteY27" fmla="*/ 255744 h 415741"/>
                <a:gd name="connsiteX28" fmla="*/ 219209 w 264562"/>
                <a:gd name="connsiteY28" fmla="*/ 255744 h 415741"/>
                <a:gd name="connsiteX29" fmla="*/ 216690 w 264562"/>
                <a:gd name="connsiteY29" fmla="*/ 253224 h 415741"/>
                <a:gd name="connsiteX30" fmla="*/ 216690 w 264562"/>
                <a:gd name="connsiteY30" fmla="*/ 253224 h 415741"/>
                <a:gd name="connsiteX31" fmla="*/ 216690 w 264562"/>
                <a:gd name="connsiteY31" fmla="*/ 253224 h 415741"/>
                <a:gd name="connsiteX32" fmla="*/ 216690 w 264562"/>
                <a:gd name="connsiteY32" fmla="*/ 253224 h 415741"/>
                <a:gd name="connsiteX33" fmla="*/ 216690 w 264562"/>
                <a:gd name="connsiteY33" fmla="*/ 253224 h 415741"/>
                <a:gd name="connsiteX34" fmla="*/ 210390 w 264562"/>
                <a:gd name="connsiteY34" fmla="*/ 240626 h 415741"/>
                <a:gd name="connsiteX35" fmla="*/ 206611 w 264562"/>
                <a:gd name="connsiteY35" fmla="*/ 235587 h 415741"/>
                <a:gd name="connsiteX36" fmla="*/ 206611 w 264562"/>
                <a:gd name="connsiteY36" fmla="*/ 235587 h 415741"/>
                <a:gd name="connsiteX37" fmla="*/ 206611 w 264562"/>
                <a:gd name="connsiteY37" fmla="*/ 235587 h 415741"/>
                <a:gd name="connsiteX38" fmla="*/ 205351 w 264562"/>
                <a:gd name="connsiteY38" fmla="*/ 234327 h 415741"/>
                <a:gd name="connsiteX39" fmla="*/ 205351 w 264562"/>
                <a:gd name="connsiteY39" fmla="*/ 233067 h 415741"/>
                <a:gd name="connsiteX40" fmla="*/ 202832 w 264562"/>
                <a:gd name="connsiteY40" fmla="*/ 229288 h 415741"/>
                <a:gd name="connsiteX41" fmla="*/ 200312 w 264562"/>
                <a:gd name="connsiteY41" fmla="*/ 224249 h 415741"/>
                <a:gd name="connsiteX42" fmla="*/ 191493 w 264562"/>
                <a:gd name="connsiteY42" fmla="*/ 210390 h 415741"/>
                <a:gd name="connsiteX43" fmla="*/ 188973 w 264562"/>
                <a:gd name="connsiteY43" fmla="*/ 206611 h 415741"/>
                <a:gd name="connsiteX44" fmla="*/ 181414 w 264562"/>
                <a:gd name="connsiteY44" fmla="*/ 196532 h 415741"/>
                <a:gd name="connsiteX45" fmla="*/ 181414 w 264562"/>
                <a:gd name="connsiteY45" fmla="*/ 196532 h 415741"/>
                <a:gd name="connsiteX46" fmla="*/ 180155 w 264562"/>
                <a:gd name="connsiteY46" fmla="*/ 195273 h 415741"/>
                <a:gd name="connsiteX47" fmla="*/ 176375 w 264562"/>
                <a:gd name="connsiteY47" fmla="*/ 191493 h 415741"/>
                <a:gd name="connsiteX48" fmla="*/ 173856 w 264562"/>
                <a:gd name="connsiteY48" fmla="*/ 188974 h 415741"/>
                <a:gd name="connsiteX49" fmla="*/ 173856 w 264562"/>
                <a:gd name="connsiteY49" fmla="*/ 188974 h 415741"/>
                <a:gd name="connsiteX50" fmla="*/ 171336 w 264562"/>
                <a:gd name="connsiteY50" fmla="*/ 185194 h 415741"/>
                <a:gd name="connsiteX51" fmla="*/ 170076 w 264562"/>
                <a:gd name="connsiteY51" fmla="*/ 182674 h 415741"/>
                <a:gd name="connsiteX52" fmla="*/ 168816 w 264562"/>
                <a:gd name="connsiteY52" fmla="*/ 180155 h 415741"/>
                <a:gd name="connsiteX53" fmla="*/ 168816 w 264562"/>
                <a:gd name="connsiteY53" fmla="*/ 178895 h 415741"/>
                <a:gd name="connsiteX54" fmla="*/ 167557 w 264562"/>
                <a:gd name="connsiteY54" fmla="*/ 176375 h 415741"/>
                <a:gd name="connsiteX55" fmla="*/ 166297 w 264562"/>
                <a:gd name="connsiteY55" fmla="*/ 175115 h 415741"/>
                <a:gd name="connsiteX56" fmla="*/ 154958 w 264562"/>
                <a:gd name="connsiteY56" fmla="*/ 159998 h 415741"/>
                <a:gd name="connsiteX57" fmla="*/ 153698 w 264562"/>
                <a:gd name="connsiteY57" fmla="*/ 157478 h 415741"/>
                <a:gd name="connsiteX58" fmla="*/ 142360 w 264562"/>
                <a:gd name="connsiteY58" fmla="*/ 137321 h 415741"/>
                <a:gd name="connsiteX59" fmla="*/ 138581 w 264562"/>
                <a:gd name="connsiteY59" fmla="*/ 131022 h 415741"/>
                <a:gd name="connsiteX60" fmla="*/ 137321 w 264562"/>
                <a:gd name="connsiteY60" fmla="*/ 127242 h 415741"/>
                <a:gd name="connsiteX61" fmla="*/ 133541 w 264562"/>
                <a:gd name="connsiteY61" fmla="*/ 120943 h 415741"/>
                <a:gd name="connsiteX62" fmla="*/ 132281 w 264562"/>
                <a:gd name="connsiteY62" fmla="*/ 117164 h 415741"/>
                <a:gd name="connsiteX63" fmla="*/ 127242 w 264562"/>
                <a:gd name="connsiteY63" fmla="*/ 103305 h 415741"/>
                <a:gd name="connsiteX64" fmla="*/ 123463 w 264562"/>
                <a:gd name="connsiteY64" fmla="*/ 90707 h 415741"/>
                <a:gd name="connsiteX65" fmla="*/ 120943 w 264562"/>
                <a:gd name="connsiteY65" fmla="*/ 81889 h 415741"/>
                <a:gd name="connsiteX66" fmla="*/ 120943 w 264562"/>
                <a:gd name="connsiteY66" fmla="*/ 81889 h 415741"/>
                <a:gd name="connsiteX67" fmla="*/ 119683 w 264562"/>
                <a:gd name="connsiteY67" fmla="*/ 76849 h 415741"/>
                <a:gd name="connsiteX68" fmla="*/ 115904 w 264562"/>
                <a:gd name="connsiteY68" fmla="*/ 62991 h 415741"/>
                <a:gd name="connsiteX69" fmla="*/ 115904 w 264562"/>
                <a:gd name="connsiteY69" fmla="*/ 59212 h 415741"/>
                <a:gd name="connsiteX70" fmla="*/ 115904 w 264562"/>
                <a:gd name="connsiteY70" fmla="*/ 59212 h 415741"/>
                <a:gd name="connsiteX71" fmla="*/ 114644 w 264562"/>
                <a:gd name="connsiteY71" fmla="*/ 52913 h 415741"/>
                <a:gd name="connsiteX72" fmla="*/ 112124 w 264562"/>
                <a:gd name="connsiteY72" fmla="*/ 42834 h 415741"/>
                <a:gd name="connsiteX73" fmla="*/ 112124 w 264562"/>
                <a:gd name="connsiteY73" fmla="*/ 41574 h 415741"/>
                <a:gd name="connsiteX74" fmla="*/ 109605 w 264562"/>
                <a:gd name="connsiteY74" fmla="*/ 34015 h 415741"/>
                <a:gd name="connsiteX75" fmla="*/ 104565 w 264562"/>
                <a:gd name="connsiteY75" fmla="*/ 23937 h 415741"/>
                <a:gd name="connsiteX76" fmla="*/ 102046 w 264562"/>
                <a:gd name="connsiteY76" fmla="*/ 20157 h 415741"/>
                <a:gd name="connsiteX77" fmla="*/ 98266 w 264562"/>
                <a:gd name="connsiteY77" fmla="*/ 16378 h 415741"/>
                <a:gd name="connsiteX78" fmla="*/ 97006 w 264562"/>
                <a:gd name="connsiteY78" fmla="*/ 15118 h 415741"/>
                <a:gd name="connsiteX79" fmla="*/ 94487 w 264562"/>
                <a:gd name="connsiteY79" fmla="*/ 12598 h 415741"/>
                <a:gd name="connsiteX80" fmla="*/ 93227 w 264562"/>
                <a:gd name="connsiteY80" fmla="*/ 12598 h 415741"/>
                <a:gd name="connsiteX81" fmla="*/ 88188 w 264562"/>
                <a:gd name="connsiteY81" fmla="*/ 8819 h 415741"/>
                <a:gd name="connsiteX82" fmla="*/ 88188 w 264562"/>
                <a:gd name="connsiteY82" fmla="*/ 8819 h 415741"/>
                <a:gd name="connsiteX83" fmla="*/ 78109 w 264562"/>
                <a:gd name="connsiteY83" fmla="*/ 3780 h 415741"/>
                <a:gd name="connsiteX84" fmla="*/ 68030 w 264562"/>
                <a:gd name="connsiteY84" fmla="*/ 1260 h 415741"/>
                <a:gd name="connsiteX85" fmla="*/ 66771 w 264562"/>
                <a:gd name="connsiteY85" fmla="*/ 1260 h 415741"/>
                <a:gd name="connsiteX86" fmla="*/ 50393 w 264562"/>
                <a:gd name="connsiteY86" fmla="*/ 0 h 415741"/>
                <a:gd name="connsiteX87" fmla="*/ 47873 w 264562"/>
                <a:gd name="connsiteY87" fmla="*/ 0 h 415741"/>
                <a:gd name="connsiteX88" fmla="*/ 35275 w 264562"/>
                <a:gd name="connsiteY88" fmla="*/ 2520 h 415741"/>
                <a:gd name="connsiteX89" fmla="*/ 31496 w 264562"/>
                <a:gd name="connsiteY89" fmla="*/ 3780 h 415741"/>
                <a:gd name="connsiteX90" fmla="*/ 27716 w 264562"/>
                <a:gd name="connsiteY90" fmla="*/ 5039 h 415741"/>
                <a:gd name="connsiteX91" fmla="*/ 21417 w 264562"/>
                <a:gd name="connsiteY91" fmla="*/ 10079 h 415741"/>
                <a:gd name="connsiteX92" fmla="*/ 16378 w 264562"/>
                <a:gd name="connsiteY92" fmla="*/ 15118 h 415741"/>
                <a:gd name="connsiteX93" fmla="*/ 15118 w 264562"/>
                <a:gd name="connsiteY93" fmla="*/ 16378 h 415741"/>
                <a:gd name="connsiteX94" fmla="*/ 15118 w 264562"/>
                <a:gd name="connsiteY94" fmla="*/ 16378 h 415741"/>
                <a:gd name="connsiteX95" fmla="*/ 13858 w 264562"/>
                <a:gd name="connsiteY95" fmla="*/ 17637 h 415741"/>
                <a:gd name="connsiteX96" fmla="*/ 12598 w 264562"/>
                <a:gd name="connsiteY96" fmla="*/ 20157 h 415741"/>
                <a:gd name="connsiteX97" fmla="*/ 12598 w 264562"/>
                <a:gd name="connsiteY97" fmla="*/ 20157 h 415741"/>
                <a:gd name="connsiteX98" fmla="*/ 12598 w 264562"/>
                <a:gd name="connsiteY98" fmla="*/ 20157 h 415741"/>
                <a:gd name="connsiteX99" fmla="*/ 7559 w 264562"/>
                <a:gd name="connsiteY99" fmla="*/ 27716 h 415741"/>
                <a:gd name="connsiteX100" fmla="*/ 3780 w 264562"/>
                <a:gd name="connsiteY100" fmla="*/ 36535 h 415741"/>
                <a:gd name="connsiteX101" fmla="*/ 1260 w 264562"/>
                <a:gd name="connsiteY101" fmla="*/ 45354 h 415741"/>
                <a:gd name="connsiteX102" fmla="*/ 0 w 264562"/>
                <a:gd name="connsiteY102" fmla="*/ 51653 h 415741"/>
                <a:gd name="connsiteX103" fmla="*/ 0 w 264562"/>
                <a:gd name="connsiteY103" fmla="*/ 52913 h 415741"/>
                <a:gd name="connsiteX104" fmla="*/ 0 w 264562"/>
                <a:gd name="connsiteY104" fmla="*/ 55432 h 415741"/>
                <a:gd name="connsiteX105" fmla="*/ 0 w 264562"/>
                <a:gd name="connsiteY105" fmla="*/ 55432 h 415741"/>
                <a:gd name="connsiteX106" fmla="*/ 0 w 264562"/>
                <a:gd name="connsiteY106" fmla="*/ 55432 h 415741"/>
                <a:gd name="connsiteX107" fmla="*/ 0 w 264562"/>
                <a:gd name="connsiteY107" fmla="*/ 55432 h 415741"/>
                <a:gd name="connsiteX108" fmla="*/ 0 w 264562"/>
                <a:gd name="connsiteY108" fmla="*/ 55432 h 415741"/>
                <a:gd name="connsiteX109" fmla="*/ 0 w 264562"/>
                <a:gd name="connsiteY109" fmla="*/ 57952 h 415741"/>
                <a:gd name="connsiteX110" fmla="*/ 0 w 264562"/>
                <a:gd name="connsiteY110" fmla="*/ 61731 h 415741"/>
                <a:gd name="connsiteX111" fmla="*/ 0 w 264562"/>
                <a:gd name="connsiteY111" fmla="*/ 62991 h 415741"/>
                <a:gd name="connsiteX112" fmla="*/ 0 w 264562"/>
                <a:gd name="connsiteY112" fmla="*/ 66771 h 415741"/>
                <a:gd name="connsiteX113" fmla="*/ 0 w 264562"/>
                <a:gd name="connsiteY113" fmla="*/ 78109 h 415741"/>
                <a:gd name="connsiteX114" fmla="*/ 0 w 264562"/>
                <a:gd name="connsiteY114" fmla="*/ 81889 h 415741"/>
                <a:gd name="connsiteX115" fmla="*/ 0 w 264562"/>
                <a:gd name="connsiteY115" fmla="*/ 88188 h 415741"/>
                <a:gd name="connsiteX116" fmla="*/ 0 w 264562"/>
                <a:gd name="connsiteY116" fmla="*/ 93227 h 415741"/>
                <a:gd name="connsiteX117" fmla="*/ 0 w 264562"/>
                <a:gd name="connsiteY117" fmla="*/ 94487 h 415741"/>
                <a:gd name="connsiteX118" fmla="*/ 0 w 264562"/>
                <a:gd name="connsiteY118" fmla="*/ 95746 h 415741"/>
                <a:gd name="connsiteX119" fmla="*/ 0 w 264562"/>
                <a:gd name="connsiteY119" fmla="*/ 99526 h 415741"/>
                <a:gd name="connsiteX120" fmla="*/ 0 w 264562"/>
                <a:gd name="connsiteY120" fmla="*/ 100786 h 415741"/>
                <a:gd name="connsiteX121" fmla="*/ 1260 w 264562"/>
                <a:gd name="connsiteY121" fmla="*/ 109605 h 415741"/>
                <a:gd name="connsiteX122" fmla="*/ 2520 w 264562"/>
                <a:gd name="connsiteY122" fmla="*/ 114644 h 415741"/>
                <a:gd name="connsiteX123" fmla="*/ 3780 w 264562"/>
                <a:gd name="connsiteY123" fmla="*/ 119683 h 415741"/>
                <a:gd name="connsiteX124" fmla="*/ 3780 w 264562"/>
                <a:gd name="connsiteY124" fmla="*/ 120943 h 415741"/>
                <a:gd name="connsiteX125" fmla="*/ 7559 w 264562"/>
                <a:gd name="connsiteY125" fmla="*/ 141100 h 415741"/>
                <a:gd name="connsiteX126" fmla="*/ 8819 w 264562"/>
                <a:gd name="connsiteY126" fmla="*/ 143620 h 415741"/>
                <a:gd name="connsiteX127" fmla="*/ 8819 w 264562"/>
                <a:gd name="connsiteY127" fmla="*/ 143620 h 415741"/>
                <a:gd name="connsiteX128" fmla="*/ 10079 w 264562"/>
                <a:gd name="connsiteY128" fmla="*/ 149919 h 415741"/>
                <a:gd name="connsiteX129" fmla="*/ 10079 w 264562"/>
                <a:gd name="connsiteY129" fmla="*/ 151179 h 415741"/>
                <a:gd name="connsiteX130" fmla="*/ 12598 w 264562"/>
                <a:gd name="connsiteY130" fmla="*/ 159998 h 415741"/>
                <a:gd name="connsiteX131" fmla="*/ 18897 w 264562"/>
                <a:gd name="connsiteY131" fmla="*/ 180155 h 415741"/>
                <a:gd name="connsiteX132" fmla="*/ 26456 w 264562"/>
                <a:gd name="connsiteY132" fmla="*/ 200312 h 415741"/>
                <a:gd name="connsiteX133" fmla="*/ 27716 w 264562"/>
                <a:gd name="connsiteY133" fmla="*/ 202831 h 415741"/>
                <a:gd name="connsiteX134" fmla="*/ 27716 w 264562"/>
                <a:gd name="connsiteY134" fmla="*/ 202831 h 415741"/>
                <a:gd name="connsiteX135" fmla="*/ 30236 w 264562"/>
                <a:gd name="connsiteY135" fmla="*/ 209131 h 415741"/>
                <a:gd name="connsiteX136" fmla="*/ 35275 w 264562"/>
                <a:gd name="connsiteY136" fmla="*/ 219209 h 415741"/>
                <a:gd name="connsiteX137" fmla="*/ 36535 w 264562"/>
                <a:gd name="connsiteY137" fmla="*/ 221729 h 415741"/>
                <a:gd name="connsiteX138" fmla="*/ 40314 w 264562"/>
                <a:gd name="connsiteY138" fmla="*/ 229288 h 415741"/>
                <a:gd name="connsiteX139" fmla="*/ 44094 w 264562"/>
                <a:gd name="connsiteY139" fmla="*/ 236847 h 415741"/>
                <a:gd name="connsiteX140" fmla="*/ 45354 w 264562"/>
                <a:gd name="connsiteY140" fmla="*/ 239366 h 415741"/>
                <a:gd name="connsiteX141" fmla="*/ 54172 w 264562"/>
                <a:gd name="connsiteY141" fmla="*/ 258264 h 415741"/>
                <a:gd name="connsiteX142" fmla="*/ 59212 w 264562"/>
                <a:gd name="connsiteY142" fmla="*/ 268342 h 415741"/>
                <a:gd name="connsiteX143" fmla="*/ 64251 w 264562"/>
                <a:gd name="connsiteY143" fmla="*/ 275901 h 415741"/>
                <a:gd name="connsiteX144" fmla="*/ 64251 w 264562"/>
                <a:gd name="connsiteY144" fmla="*/ 275901 h 415741"/>
                <a:gd name="connsiteX145" fmla="*/ 65511 w 264562"/>
                <a:gd name="connsiteY145" fmla="*/ 277161 h 415741"/>
                <a:gd name="connsiteX146" fmla="*/ 65511 w 264562"/>
                <a:gd name="connsiteY146" fmla="*/ 278421 h 415741"/>
                <a:gd name="connsiteX147" fmla="*/ 76849 w 264562"/>
                <a:gd name="connsiteY147" fmla="*/ 296058 h 415741"/>
                <a:gd name="connsiteX148" fmla="*/ 81889 w 264562"/>
                <a:gd name="connsiteY148" fmla="*/ 303617 h 415741"/>
                <a:gd name="connsiteX149" fmla="*/ 81889 w 264562"/>
                <a:gd name="connsiteY149" fmla="*/ 303617 h 415741"/>
                <a:gd name="connsiteX150" fmla="*/ 81889 w 264562"/>
                <a:gd name="connsiteY150" fmla="*/ 303617 h 415741"/>
                <a:gd name="connsiteX151" fmla="*/ 88188 w 264562"/>
                <a:gd name="connsiteY151" fmla="*/ 313696 h 415741"/>
                <a:gd name="connsiteX152" fmla="*/ 93227 w 264562"/>
                <a:gd name="connsiteY152" fmla="*/ 321255 h 415741"/>
                <a:gd name="connsiteX153" fmla="*/ 99526 w 264562"/>
                <a:gd name="connsiteY153" fmla="*/ 330074 h 415741"/>
                <a:gd name="connsiteX154" fmla="*/ 112124 w 264562"/>
                <a:gd name="connsiteY154" fmla="*/ 346451 h 415741"/>
                <a:gd name="connsiteX155" fmla="*/ 114644 w 264562"/>
                <a:gd name="connsiteY155" fmla="*/ 350231 h 415741"/>
                <a:gd name="connsiteX156" fmla="*/ 123463 w 264562"/>
                <a:gd name="connsiteY156" fmla="*/ 362829 h 415741"/>
                <a:gd name="connsiteX157" fmla="*/ 128502 w 264562"/>
                <a:gd name="connsiteY157" fmla="*/ 370388 h 415741"/>
                <a:gd name="connsiteX158" fmla="*/ 133541 w 264562"/>
                <a:gd name="connsiteY158" fmla="*/ 376687 h 415741"/>
                <a:gd name="connsiteX159" fmla="*/ 134801 w 264562"/>
                <a:gd name="connsiteY159" fmla="*/ 377947 h 415741"/>
                <a:gd name="connsiteX160" fmla="*/ 137321 w 264562"/>
                <a:gd name="connsiteY160" fmla="*/ 381727 h 415741"/>
                <a:gd name="connsiteX161" fmla="*/ 137321 w 264562"/>
                <a:gd name="connsiteY161" fmla="*/ 381727 h 415741"/>
                <a:gd name="connsiteX162" fmla="*/ 148659 w 264562"/>
                <a:gd name="connsiteY162" fmla="*/ 394325 h 415741"/>
                <a:gd name="connsiteX163" fmla="*/ 152439 w 264562"/>
                <a:gd name="connsiteY163" fmla="*/ 398104 h 415741"/>
                <a:gd name="connsiteX164" fmla="*/ 153698 w 264562"/>
                <a:gd name="connsiteY164" fmla="*/ 399364 h 415741"/>
                <a:gd name="connsiteX165" fmla="*/ 156218 w 264562"/>
                <a:gd name="connsiteY165" fmla="*/ 401884 h 415741"/>
                <a:gd name="connsiteX166" fmla="*/ 156218 w 264562"/>
                <a:gd name="connsiteY166" fmla="*/ 401884 h 415741"/>
                <a:gd name="connsiteX167" fmla="*/ 163777 w 264562"/>
                <a:gd name="connsiteY167" fmla="*/ 406923 h 415741"/>
                <a:gd name="connsiteX168" fmla="*/ 166297 w 264562"/>
                <a:gd name="connsiteY168" fmla="*/ 409443 h 415741"/>
                <a:gd name="connsiteX169" fmla="*/ 167557 w 264562"/>
                <a:gd name="connsiteY169" fmla="*/ 410702 h 415741"/>
                <a:gd name="connsiteX170" fmla="*/ 167557 w 264562"/>
                <a:gd name="connsiteY170" fmla="*/ 410702 h 415741"/>
                <a:gd name="connsiteX171" fmla="*/ 171336 w 264562"/>
                <a:gd name="connsiteY171" fmla="*/ 413222 h 415741"/>
                <a:gd name="connsiteX172" fmla="*/ 177635 w 264562"/>
                <a:gd name="connsiteY172" fmla="*/ 415742 h 415741"/>
                <a:gd name="connsiteX173" fmla="*/ 181414 w 264562"/>
                <a:gd name="connsiteY173" fmla="*/ 417001 h 415741"/>
                <a:gd name="connsiteX174" fmla="*/ 182674 w 264562"/>
                <a:gd name="connsiteY174" fmla="*/ 417001 h 415741"/>
                <a:gd name="connsiteX175" fmla="*/ 188973 w 264562"/>
                <a:gd name="connsiteY175" fmla="*/ 419521 h 415741"/>
                <a:gd name="connsiteX176" fmla="*/ 197792 w 264562"/>
                <a:gd name="connsiteY176" fmla="*/ 422041 h 415741"/>
                <a:gd name="connsiteX177" fmla="*/ 210390 w 264562"/>
                <a:gd name="connsiteY177" fmla="*/ 423301 h 415741"/>
                <a:gd name="connsiteX178" fmla="*/ 215430 w 264562"/>
                <a:gd name="connsiteY178" fmla="*/ 423301 h 415741"/>
                <a:gd name="connsiteX179" fmla="*/ 216690 w 264562"/>
                <a:gd name="connsiteY179" fmla="*/ 423301 h 415741"/>
                <a:gd name="connsiteX180" fmla="*/ 221729 w 264562"/>
                <a:gd name="connsiteY180" fmla="*/ 423301 h 415741"/>
                <a:gd name="connsiteX181" fmla="*/ 222989 w 264562"/>
                <a:gd name="connsiteY181" fmla="*/ 423301 h 415741"/>
                <a:gd name="connsiteX182" fmla="*/ 228028 w 264562"/>
                <a:gd name="connsiteY182" fmla="*/ 422041 h 415741"/>
                <a:gd name="connsiteX183" fmla="*/ 234327 w 264562"/>
                <a:gd name="connsiteY183" fmla="*/ 419521 h 415741"/>
                <a:gd name="connsiteX184" fmla="*/ 239366 w 264562"/>
                <a:gd name="connsiteY184" fmla="*/ 417001 h 415741"/>
                <a:gd name="connsiteX185" fmla="*/ 245666 w 264562"/>
                <a:gd name="connsiteY185" fmla="*/ 411962 h 415741"/>
                <a:gd name="connsiteX186" fmla="*/ 249445 w 264562"/>
                <a:gd name="connsiteY186" fmla="*/ 406923 h 415741"/>
                <a:gd name="connsiteX187" fmla="*/ 251965 w 264562"/>
                <a:gd name="connsiteY187" fmla="*/ 403143 h 415741"/>
                <a:gd name="connsiteX188" fmla="*/ 255744 w 264562"/>
                <a:gd name="connsiteY188" fmla="*/ 395584 h 415741"/>
                <a:gd name="connsiteX189" fmla="*/ 255744 w 264562"/>
                <a:gd name="connsiteY189" fmla="*/ 394325 h 415741"/>
                <a:gd name="connsiteX190" fmla="*/ 255744 w 264562"/>
                <a:gd name="connsiteY190" fmla="*/ 393065 h 415741"/>
                <a:gd name="connsiteX191" fmla="*/ 257004 w 264562"/>
                <a:gd name="connsiteY191" fmla="*/ 390545 h 415741"/>
                <a:gd name="connsiteX192" fmla="*/ 257004 w 264562"/>
                <a:gd name="connsiteY192" fmla="*/ 390545 h 415741"/>
                <a:gd name="connsiteX193" fmla="*/ 259524 w 264562"/>
                <a:gd name="connsiteY193" fmla="*/ 376687 h 415741"/>
                <a:gd name="connsiteX194" fmla="*/ 259524 w 264562"/>
                <a:gd name="connsiteY194" fmla="*/ 371648 h 415741"/>
                <a:gd name="connsiteX195" fmla="*/ 259524 w 264562"/>
                <a:gd name="connsiteY195" fmla="*/ 370388 h 415741"/>
                <a:gd name="connsiteX196" fmla="*/ 259524 w 264562"/>
                <a:gd name="connsiteY196" fmla="*/ 369128 h 415741"/>
                <a:gd name="connsiteX197" fmla="*/ 259524 w 264562"/>
                <a:gd name="connsiteY197" fmla="*/ 366608 h 415741"/>
                <a:gd name="connsiteX198" fmla="*/ 265823 w 264562"/>
                <a:gd name="connsiteY198" fmla="*/ 364089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264562" h="415741">
                  <a:moveTo>
                    <a:pt x="265823" y="364089"/>
                  </a:moveTo>
                  <a:cubicBezTo>
                    <a:pt x="265823" y="362829"/>
                    <a:pt x="265823" y="362829"/>
                    <a:pt x="265823" y="361569"/>
                  </a:cubicBezTo>
                  <a:cubicBezTo>
                    <a:pt x="265823" y="359050"/>
                    <a:pt x="265823" y="356530"/>
                    <a:pt x="264563" y="354010"/>
                  </a:cubicBezTo>
                  <a:cubicBezTo>
                    <a:pt x="264563" y="352751"/>
                    <a:pt x="264563" y="352751"/>
                    <a:pt x="264563" y="351491"/>
                  </a:cubicBezTo>
                  <a:lnTo>
                    <a:pt x="264563" y="351491"/>
                  </a:lnTo>
                  <a:lnTo>
                    <a:pt x="264563" y="351491"/>
                  </a:lnTo>
                  <a:cubicBezTo>
                    <a:pt x="264563" y="350231"/>
                    <a:pt x="264563" y="348971"/>
                    <a:pt x="263303" y="346451"/>
                  </a:cubicBezTo>
                  <a:cubicBezTo>
                    <a:pt x="263303" y="346451"/>
                    <a:pt x="263303" y="346451"/>
                    <a:pt x="263303" y="345192"/>
                  </a:cubicBezTo>
                  <a:cubicBezTo>
                    <a:pt x="263303" y="343932"/>
                    <a:pt x="262043" y="342672"/>
                    <a:pt x="262043" y="341412"/>
                  </a:cubicBezTo>
                  <a:cubicBezTo>
                    <a:pt x="259524" y="335113"/>
                    <a:pt x="257004" y="328814"/>
                    <a:pt x="254484" y="322515"/>
                  </a:cubicBezTo>
                  <a:cubicBezTo>
                    <a:pt x="254484" y="322515"/>
                    <a:pt x="254484" y="321255"/>
                    <a:pt x="254484" y="321255"/>
                  </a:cubicBezTo>
                  <a:cubicBezTo>
                    <a:pt x="254484" y="319995"/>
                    <a:pt x="253225" y="319995"/>
                    <a:pt x="253225" y="318735"/>
                  </a:cubicBezTo>
                  <a:lnTo>
                    <a:pt x="253225" y="317475"/>
                  </a:lnTo>
                  <a:cubicBezTo>
                    <a:pt x="250705" y="313696"/>
                    <a:pt x="249445" y="308657"/>
                    <a:pt x="246925" y="304877"/>
                  </a:cubicBezTo>
                  <a:cubicBezTo>
                    <a:pt x="245666" y="302358"/>
                    <a:pt x="244406" y="301098"/>
                    <a:pt x="243146" y="298578"/>
                  </a:cubicBezTo>
                  <a:cubicBezTo>
                    <a:pt x="241886" y="296058"/>
                    <a:pt x="240626" y="293539"/>
                    <a:pt x="239366" y="291019"/>
                  </a:cubicBezTo>
                  <a:cubicBezTo>
                    <a:pt x="238107" y="288499"/>
                    <a:pt x="236847" y="285980"/>
                    <a:pt x="235587" y="283460"/>
                  </a:cubicBezTo>
                  <a:lnTo>
                    <a:pt x="235587" y="282200"/>
                  </a:lnTo>
                  <a:lnTo>
                    <a:pt x="235587" y="282200"/>
                  </a:lnTo>
                  <a:lnTo>
                    <a:pt x="234327" y="279681"/>
                  </a:lnTo>
                  <a:lnTo>
                    <a:pt x="233067" y="278421"/>
                  </a:lnTo>
                  <a:cubicBezTo>
                    <a:pt x="231807" y="275901"/>
                    <a:pt x="230548" y="273382"/>
                    <a:pt x="229288" y="270862"/>
                  </a:cubicBezTo>
                  <a:cubicBezTo>
                    <a:pt x="229288" y="270862"/>
                    <a:pt x="229288" y="270862"/>
                    <a:pt x="229288" y="270862"/>
                  </a:cubicBezTo>
                  <a:cubicBezTo>
                    <a:pt x="228028" y="268342"/>
                    <a:pt x="226768" y="267083"/>
                    <a:pt x="225508" y="264563"/>
                  </a:cubicBezTo>
                  <a:cubicBezTo>
                    <a:pt x="225508" y="263303"/>
                    <a:pt x="224249" y="263303"/>
                    <a:pt x="224249" y="262043"/>
                  </a:cubicBezTo>
                  <a:cubicBezTo>
                    <a:pt x="222989" y="260783"/>
                    <a:pt x="221729" y="258264"/>
                    <a:pt x="220469" y="257004"/>
                  </a:cubicBezTo>
                  <a:cubicBezTo>
                    <a:pt x="220469" y="257004"/>
                    <a:pt x="219209" y="255744"/>
                    <a:pt x="219209" y="255744"/>
                  </a:cubicBezTo>
                  <a:lnTo>
                    <a:pt x="219209" y="255744"/>
                  </a:lnTo>
                  <a:lnTo>
                    <a:pt x="219209" y="255744"/>
                  </a:lnTo>
                  <a:cubicBezTo>
                    <a:pt x="217949" y="254484"/>
                    <a:pt x="217949" y="254484"/>
                    <a:pt x="216690" y="253224"/>
                  </a:cubicBez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cubicBezTo>
                    <a:pt x="214170" y="248185"/>
                    <a:pt x="212910" y="244406"/>
                    <a:pt x="210390" y="240626"/>
                  </a:cubicBezTo>
                  <a:cubicBezTo>
                    <a:pt x="209131" y="239366"/>
                    <a:pt x="207871" y="236847"/>
                    <a:pt x="206611" y="235587"/>
                  </a:cubicBezTo>
                  <a:lnTo>
                    <a:pt x="206611" y="235587"/>
                  </a:lnTo>
                  <a:lnTo>
                    <a:pt x="206611" y="235587"/>
                  </a:lnTo>
                  <a:lnTo>
                    <a:pt x="205351" y="234327"/>
                  </a:lnTo>
                  <a:lnTo>
                    <a:pt x="205351" y="233067"/>
                  </a:lnTo>
                  <a:cubicBezTo>
                    <a:pt x="204091" y="231807"/>
                    <a:pt x="204091" y="230548"/>
                    <a:pt x="202832" y="229288"/>
                  </a:cubicBezTo>
                  <a:cubicBezTo>
                    <a:pt x="201572" y="228028"/>
                    <a:pt x="201572" y="226768"/>
                    <a:pt x="200312" y="224249"/>
                  </a:cubicBezTo>
                  <a:cubicBezTo>
                    <a:pt x="197792" y="220469"/>
                    <a:pt x="194013" y="215430"/>
                    <a:pt x="191493" y="210390"/>
                  </a:cubicBezTo>
                  <a:cubicBezTo>
                    <a:pt x="190233" y="209131"/>
                    <a:pt x="190233" y="207871"/>
                    <a:pt x="188973" y="206611"/>
                  </a:cubicBezTo>
                  <a:cubicBezTo>
                    <a:pt x="186454" y="202831"/>
                    <a:pt x="183934" y="200312"/>
                    <a:pt x="181414" y="196532"/>
                  </a:cubicBezTo>
                  <a:lnTo>
                    <a:pt x="181414" y="196532"/>
                  </a:lnTo>
                  <a:cubicBezTo>
                    <a:pt x="181414" y="196532"/>
                    <a:pt x="180155" y="195273"/>
                    <a:pt x="180155" y="195273"/>
                  </a:cubicBezTo>
                  <a:cubicBezTo>
                    <a:pt x="178895" y="194013"/>
                    <a:pt x="177635" y="192753"/>
                    <a:pt x="176375" y="191493"/>
                  </a:cubicBezTo>
                  <a:cubicBezTo>
                    <a:pt x="175115" y="190233"/>
                    <a:pt x="175115" y="188974"/>
                    <a:pt x="173856" y="188974"/>
                  </a:cubicBezTo>
                  <a:lnTo>
                    <a:pt x="173856" y="188974"/>
                  </a:lnTo>
                  <a:cubicBezTo>
                    <a:pt x="172596" y="187714"/>
                    <a:pt x="171336" y="186454"/>
                    <a:pt x="171336" y="185194"/>
                  </a:cubicBezTo>
                  <a:cubicBezTo>
                    <a:pt x="171336" y="183934"/>
                    <a:pt x="170076" y="183934"/>
                    <a:pt x="170076" y="182674"/>
                  </a:cubicBezTo>
                  <a:cubicBezTo>
                    <a:pt x="170076" y="181414"/>
                    <a:pt x="168816" y="181414"/>
                    <a:pt x="168816" y="180155"/>
                  </a:cubicBezTo>
                  <a:cubicBezTo>
                    <a:pt x="168816" y="180155"/>
                    <a:pt x="168816" y="180155"/>
                    <a:pt x="168816" y="178895"/>
                  </a:cubicBezTo>
                  <a:cubicBezTo>
                    <a:pt x="168816" y="177635"/>
                    <a:pt x="167557" y="177635"/>
                    <a:pt x="167557" y="176375"/>
                  </a:cubicBezTo>
                  <a:cubicBezTo>
                    <a:pt x="167557" y="176375"/>
                    <a:pt x="166297" y="175115"/>
                    <a:pt x="166297" y="175115"/>
                  </a:cubicBezTo>
                  <a:cubicBezTo>
                    <a:pt x="162517" y="170076"/>
                    <a:pt x="158738" y="165037"/>
                    <a:pt x="154958" y="159998"/>
                  </a:cubicBezTo>
                  <a:cubicBezTo>
                    <a:pt x="154958" y="158738"/>
                    <a:pt x="153698" y="158738"/>
                    <a:pt x="153698" y="157478"/>
                  </a:cubicBezTo>
                  <a:cubicBezTo>
                    <a:pt x="149919" y="151179"/>
                    <a:pt x="146140" y="143620"/>
                    <a:pt x="142360" y="137321"/>
                  </a:cubicBezTo>
                  <a:cubicBezTo>
                    <a:pt x="141100" y="134801"/>
                    <a:pt x="139840" y="132281"/>
                    <a:pt x="138581" y="131022"/>
                  </a:cubicBezTo>
                  <a:cubicBezTo>
                    <a:pt x="138581" y="129762"/>
                    <a:pt x="137321" y="128502"/>
                    <a:pt x="137321" y="127242"/>
                  </a:cubicBezTo>
                  <a:cubicBezTo>
                    <a:pt x="136061" y="124722"/>
                    <a:pt x="134801" y="123463"/>
                    <a:pt x="133541" y="120943"/>
                  </a:cubicBezTo>
                  <a:cubicBezTo>
                    <a:pt x="133541" y="119683"/>
                    <a:pt x="132281" y="118423"/>
                    <a:pt x="132281" y="117164"/>
                  </a:cubicBezTo>
                  <a:cubicBezTo>
                    <a:pt x="131022" y="113384"/>
                    <a:pt x="128502" y="108345"/>
                    <a:pt x="127242" y="103305"/>
                  </a:cubicBezTo>
                  <a:cubicBezTo>
                    <a:pt x="125982" y="99526"/>
                    <a:pt x="124722" y="94487"/>
                    <a:pt x="123463" y="90707"/>
                  </a:cubicBezTo>
                  <a:cubicBezTo>
                    <a:pt x="122203" y="88188"/>
                    <a:pt x="122203" y="84408"/>
                    <a:pt x="120943" y="81889"/>
                  </a:cubicBezTo>
                  <a:lnTo>
                    <a:pt x="120943" y="81889"/>
                  </a:lnTo>
                  <a:cubicBezTo>
                    <a:pt x="120943" y="80629"/>
                    <a:pt x="119683" y="78109"/>
                    <a:pt x="119683" y="76849"/>
                  </a:cubicBezTo>
                  <a:cubicBezTo>
                    <a:pt x="118423" y="73070"/>
                    <a:pt x="117164" y="68030"/>
                    <a:pt x="115904" y="62991"/>
                  </a:cubicBezTo>
                  <a:cubicBezTo>
                    <a:pt x="115904" y="61731"/>
                    <a:pt x="115904" y="60472"/>
                    <a:pt x="115904" y="59212"/>
                  </a:cubicBezTo>
                  <a:lnTo>
                    <a:pt x="115904" y="59212"/>
                  </a:lnTo>
                  <a:cubicBezTo>
                    <a:pt x="115904" y="56692"/>
                    <a:pt x="115904" y="55432"/>
                    <a:pt x="114644" y="52913"/>
                  </a:cubicBezTo>
                  <a:cubicBezTo>
                    <a:pt x="114644" y="49133"/>
                    <a:pt x="113384" y="46613"/>
                    <a:pt x="112124" y="42834"/>
                  </a:cubicBezTo>
                  <a:lnTo>
                    <a:pt x="112124" y="41574"/>
                  </a:lnTo>
                  <a:cubicBezTo>
                    <a:pt x="112124" y="39054"/>
                    <a:pt x="110864" y="36535"/>
                    <a:pt x="109605" y="34015"/>
                  </a:cubicBezTo>
                  <a:cubicBezTo>
                    <a:pt x="108345" y="30236"/>
                    <a:pt x="105825" y="26456"/>
                    <a:pt x="104565" y="23937"/>
                  </a:cubicBezTo>
                  <a:cubicBezTo>
                    <a:pt x="103305" y="22677"/>
                    <a:pt x="103305" y="21417"/>
                    <a:pt x="102046" y="20157"/>
                  </a:cubicBezTo>
                  <a:cubicBezTo>
                    <a:pt x="100786" y="18897"/>
                    <a:pt x="99526" y="17637"/>
                    <a:pt x="98266" y="16378"/>
                  </a:cubicBezTo>
                  <a:cubicBezTo>
                    <a:pt x="98266" y="16378"/>
                    <a:pt x="98266" y="16378"/>
                    <a:pt x="97006" y="15118"/>
                  </a:cubicBezTo>
                  <a:cubicBezTo>
                    <a:pt x="95747" y="13858"/>
                    <a:pt x="95747" y="13858"/>
                    <a:pt x="94487" y="12598"/>
                  </a:cubicBezTo>
                  <a:cubicBezTo>
                    <a:pt x="94487" y="12598"/>
                    <a:pt x="94487" y="12598"/>
                    <a:pt x="93227" y="12598"/>
                  </a:cubicBezTo>
                  <a:cubicBezTo>
                    <a:pt x="91967" y="11338"/>
                    <a:pt x="89448" y="10079"/>
                    <a:pt x="88188" y="8819"/>
                  </a:cubicBezTo>
                  <a:lnTo>
                    <a:pt x="88188" y="8819"/>
                  </a:lnTo>
                  <a:cubicBezTo>
                    <a:pt x="85668" y="7559"/>
                    <a:pt x="81889" y="5039"/>
                    <a:pt x="78109" y="3780"/>
                  </a:cubicBezTo>
                  <a:cubicBezTo>
                    <a:pt x="74329" y="2520"/>
                    <a:pt x="71810" y="1260"/>
                    <a:pt x="68030" y="1260"/>
                  </a:cubicBezTo>
                  <a:cubicBezTo>
                    <a:pt x="68030" y="1260"/>
                    <a:pt x="66771" y="1260"/>
                    <a:pt x="66771" y="1260"/>
                  </a:cubicBezTo>
                  <a:cubicBezTo>
                    <a:pt x="61731" y="0"/>
                    <a:pt x="55432" y="0"/>
                    <a:pt x="50393" y="0"/>
                  </a:cubicBezTo>
                  <a:cubicBezTo>
                    <a:pt x="49133" y="0"/>
                    <a:pt x="49133" y="0"/>
                    <a:pt x="47873" y="0"/>
                  </a:cubicBezTo>
                  <a:cubicBezTo>
                    <a:pt x="44094" y="0"/>
                    <a:pt x="39055" y="1260"/>
                    <a:pt x="35275" y="2520"/>
                  </a:cubicBezTo>
                  <a:cubicBezTo>
                    <a:pt x="34015" y="2520"/>
                    <a:pt x="32755" y="3780"/>
                    <a:pt x="31496" y="3780"/>
                  </a:cubicBezTo>
                  <a:cubicBezTo>
                    <a:pt x="30236" y="3780"/>
                    <a:pt x="28976" y="5039"/>
                    <a:pt x="27716" y="5039"/>
                  </a:cubicBezTo>
                  <a:cubicBezTo>
                    <a:pt x="25196" y="6299"/>
                    <a:pt x="22677" y="8819"/>
                    <a:pt x="21417" y="10079"/>
                  </a:cubicBezTo>
                  <a:cubicBezTo>
                    <a:pt x="20157" y="11338"/>
                    <a:pt x="18897" y="13858"/>
                    <a:pt x="16378" y="15118"/>
                  </a:cubicBezTo>
                  <a:cubicBezTo>
                    <a:pt x="16378" y="15118"/>
                    <a:pt x="16378" y="16378"/>
                    <a:pt x="15118" y="16378"/>
                  </a:cubicBezTo>
                  <a:cubicBezTo>
                    <a:pt x="15118" y="16378"/>
                    <a:pt x="15118" y="16378"/>
                    <a:pt x="15118" y="16378"/>
                  </a:cubicBezTo>
                  <a:cubicBezTo>
                    <a:pt x="15118" y="16378"/>
                    <a:pt x="13858" y="17637"/>
                    <a:pt x="13858" y="17637"/>
                  </a:cubicBezTo>
                  <a:cubicBezTo>
                    <a:pt x="13858" y="18897"/>
                    <a:pt x="12598" y="18897"/>
                    <a:pt x="12598" y="20157"/>
                  </a:cubicBezTo>
                  <a:lnTo>
                    <a:pt x="12598" y="20157"/>
                  </a:lnTo>
                  <a:cubicBezTo>
                    <a:pt x="12598" y="20157"/>
                    <a:pt x="12598" y="20157"/>
                    <a:pt x="12598" y="20157"/>
                  </a:cubicBezTo>
                  <a:cubicBezTo>
                    <a:pt x="11338" y="22677"/>
                    <a:pt x="8819" y="23937"/>
                    <a:pt x="7559" y="27716"/>
                  </a:cubicBezTo>
                  <a:cubicBezTo>
                    <a:pt x="6299" y="30236"/>
                    <a:pt x="5039" y="32755"/>
                    <a:pt x="3780" y="36535"/>
                  </a:cubicBezTo>
                  <a:cubicBezTo>
                    <a:pt x="2520" y="39054"/>
                    <a:pt x="2520" y="42834"/>
                    <a:pt x="1260" y="45354"/>
                  </a:cubicBezTo>
                  <a:cubicBezTo>
                    <a:pt x="1260" y="47873"/>
                    <a:pt x="0" y="50393"/>
                    <a:pt x="0" y="51653"/>
                  </a:cubicBezTo>
                  <a:lnTo>
                    <a:pt x="0" y="52913"/>
                  </a:lnTo>
                  <a:cubicBezTo>
                    <a:pt x="0" y="54172"/>
                    <a:pt x="0" y="54172"/>
                    <a:pt x="0" y="55432"/>
                  </a:cubicBez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0" y="56692"/>
                    <a:pt x="0" y="56692"/>
                    <a:pt x="0" y="57952"/>
                  </a:cubicBezTo>
                  <a:cubicBezTo>
                    <a:pt x="0" y="59212"/>
                    <a:pt x="0" y="60472"/>
                    <a:pt x="0" y="61731"/>
                  </a:cubicBezTo>
                  <a:cubicBezTo>
                    <a:pt x="0" y="61731"/>
                    <a:pt x="0" y="61731"/>
                    <a:pt x="0" y="62991"/>
                  </a:cubicBezTo>
                  <a:cubicBezTo>
                    <a:pt x="0" y="64251"/>
                    <a:pt x="0" y="65511"/>
                    <a:pt x="0" y="66771"/>
                  </a:cubicBezTo>
                  <a:cubicBezTo>
                    <a:pt x="0" y="70550"/>
                    <a:pt x="0" y="74330"/>
                    <a:pt x="0" y="78109"/>
                  </a:cubicBezTo>
                  <a:cubicBezTo>
                    <a:pt x="0" y="79369"/>
                    <a:pt x="0" y="80629"/>
                    <a:pt x="0" y="81889"/>
                  </a:cubicBezTo>
                  <a:cubicBezTo>
                    <a:pt x="0" y="84408"/>
                    <a:pt x="0" y="86928"/>
                    <a:pt x="0" y="88188"/>
                  </a:cubicBezTo>
                  <a:cubicBezTo>
                    <a:pt x="0" y="89447"/>
                    <a:pt x="0" y="90707"/>
                    <a:pt x="0" y="93227"/>
                  </a:cubicBezTo>
                  <a:lnTo>
                    <a:pt x="0" y="94487"/>
                  </a:lnTo>
                  <a:lnTo>
                    <a:pt x="0" y="95746"/>
                  </a:lnTo>
                  <a:cubicBezTo>
                    <a:pt x="0" y="97006"/>
                    <a:pt x="0" y="98266"/>
                    <a:pt x="0" y="99526"/>
                  </a:cubicBezTo>
                  <a:lnTo>
                    <a:pt x="0" y="100786"/>
                  </a:lnTo>
                  <a:cubicBezTo>
                    <a:pt x="0" y="103305"/>
                    <a:pt x="0" y="107085"/>
                    <a:pt x="1260" y="109605"/>
                  </a:cubicBezTo>
                  <a:cubicBezTo>
                    <a:pt x="1260" y="110864"/>
                    <a:pt x="1260" y="113384"/>
                    <a:pt x="2520" y="114644"/>
                  </a:cubicBezTo>
                  <a:cubicBezTo>
                    <a:pt x="2520" y="115904"/>
                    <a:pt x="2520" y="118423"/>
                    <a:pt x="3780" y="119683"/>
                  </a:cubicBezTo>
                  <a:lnTo>
                    <a:pt x="3780" y="120943"/>
                  </a:lnTo>
                  <a:cubicBezTo>
                    <a:pt x="5039" y="127242"/>
                    <a:pt x="6299" y="134801"/>
                    <a:pt x="7559" y="141100"/>
                  </a:cubicBezTo>
                  <a:cubicBezTo>
                    <a:pt x="7559" y="142360"/>
                    <a:pt x="7559" y="143620"/>
                    <a:pt x="8819" y="143620"/>
                  </a:cubicBezTo>
                  <a:lnTo>
                    <a:pt x="8819" y="143620"/>
                  </a:lnTo>
                  <a:cubicBezTo>
                    <a:pt x="8819" y="146139"/>
                    <a:pt x="10079" y="147399"/>
                    <a:pt x="10079" y="149919"/>
                  </a:cubicBezTo>
                  <a:lnTo>
                    <a:pt x="10079" y="151179"/>
                  </a:lnTo>
                  <a:cubicBezTo>
                    <a:pt x="10079" y="153698"/>
                    <a:pt x="11338" y="156218"/>
                    <a:pt x="12598" y="159998"/>
                  </a:cubicBezTo>
                  <a:cubicBezTo>
                    <a:pt x="13858" y="166297"/>
                    <a:pt x="16378" y="173856"/>
                    <a:pt x="18897" y="180155"/>
                  </a:cubicBezTo>
                  <a:cubicBezTo>
                    <a:pt x="21417" y="186454"/>
                    <a:pt x="23937" y="192753"/>
                    <a:pt x="26456" y="200312"/>
                  </a:cubicBezTo>
                  <a:cubicBezTo>
                    <a:pt x="26456" y="201572"/>
                    <a:pt x="27716" y="201572"/>
                    <a:pt x="27716" y="202831"/>
                  </a:cubicBezTo>
                  <a:lnTo>
                    <a:pt x="27716" y="202831"/>
                  </a:lnTo>
                  <a:cubicBezTo>
                    <a:pt x="28976" y="205351"/>
                    <a:pt x="28976" y="206611"/>
                    <a:pt x="30236" y="209131"/>
                  </a:cubicBezTo>
                  <a:cubicBezTo>
                    <a:pt x="31496" y="212910"/>
                    <a:pt x="34015" y="216690"/>
                    <a:pt x="35275" y="219209"/>
                  </a:cubicBezTo>
                  <a:lnTo>
                    <a:pt x="36535" y="221729"/>
                  </a:lnTo>
                  <a:cubicBezTo>
                    <a:pt x="37795" y="224249"/>
                    <a:pt x="39055" y="226768"/>
                    <a:pt x="40314" y="229288"/>
                  </a:cubicBezTo>
                  <a:cubicBezTo>
                    <a:pt x="41574" y="231807"/>
                    <a:pt x="42834" y="234327"/>
                    <a:pt x="44094" y="236847"/>
                  </a:cubicBezTo>
                  <a:lnTo>
                    <a:pt x="45354" y="239366"/>
                  </a:lnTo>
                  <a:cubicBezTo>
                    <a:pt x="47873" y="244406"/>
                    <a:pt x="50393" y="250705"/>
                    <a:pt x="54172" y="258264"/>
                  </a:cubicBezTo>
                  <a:cubicBezTo>
                    <a:pt x="55432" y="262043"/>
                    <a:pt x="57952" y="265823"/>
                    <a:pt x="59212" y="268342"/>
                  </a:cubicBezTo>
                  <a:cubicBezTo>
                    <a:pt x="60472" y="270862"/>
                    <a:pt x="61731" y="273382"/>
                    <a:pt x="64251" y="275901"/>
                  </a:cubicBezTo>
                  <a:lnTo>
                    <a:pt x="64251" y="275901"/>
                  </a:lnTo>
                  <a:lnTo>
                    <a:pt x="65511" y="277161"/>
                  </a:lnTo>
                  <a:lnTo>
                    <a:pt x="65511" y="278421"/>
                  </a:lnTo>
                  <a:cubicBezTo>
                    <a:pt x="69290" y="284720"/>
                    <a:pt x="73070" y="291019"/>
                    <a:pt x="76849" y="296058"/>
                  </a:cubicBezTo>
                  <a:cubicBezTo>
                    <a:pt x="78109" y="298578"/>
                    <a:pt x="80629" y="301098"/>
                    <a:pt x="81889" y="303617"/>
                  </a:cubicBezTo>
                  <a:lnTo>
                    <a:pt x="81889" y="303617"/>
                  </a:lnTo>
                  <a:lnTo>
                    <a:pt x="81889" y="303617"/>
                  </a:lnTo>
                  <a:cubicBezTo>
                    <a:pt x="84408" y="307397"/>
                    <a:pt x="86928" y="309916"/>
                    <a:pt x="88188" y="313696"/>
                  </a:cubicBezTo>
                  <a:cubicBezTo>
                    <a:pt x="89448" y="316216"/>
                    <a:pt x="91967" y="318735"/>
                    <a:pt x="93227" y="321255"/>
                  </a:cubicBezTo>
                  <a:cubicBezTo>
                    <a:pt x="95747" y="323775"/>
                    <a:pt x="97006" y="327554"/>
                    <a:pt x="99526" y="330074"/>
                  </a:cubicBezTo>
                  <a:cubicBezTo>
                    <a:pt x="103305" y="335113"/>
                    <a:pt x="107085" y="340152"/>
                    <a:pt x="112124" y="346451"/>
                  </a:cubicBezTo>
                  <a:cubicBezTo>
                    <a:pt x="113384" y="347711"/>
                    <a:pt x="113384" y="348971"/>
                    <a:pt x="114644" y="350231"/>
                  </a:cubicBezTo>
                  <a:cubicBezTo>
                    <a:pt x="117164" y="354010"/>
                    <a:pt x="120943" y="359050"/>
                    <a:pt x="123463" y="362829"/>
                  </a:cubicBezTo>
                  <a:cubicBezTo>
                    <a:pt x="124722" y="365349"/>
                    <a:pt x="127242" y="367868"/>
                    <a:pt x="128502" y="370388"/>
                  </a:cubicBezTo>
                  <a:cubicBezTo>
                    <a:pt x="129762" y="372908"/>
                    <a:pt x="132281" y="374167"/>
                    <a:pt x="133541" y="376687"/>
                  </a:cubicBezTo>
                  <a:lnTo>
                    <a:pt x="134801" y="377947"/>
                  </a:lnTo>
                  <a:cubicBezTo>
                    <a:pt x="136061" y="379207"/>
                    <a:pt x="137321" y="380467"/>
                    <a:pt x="137321" y="381727"/>
                  </a:cubicBezTo>
                  <a:lnTo>
                    <a:pt x="137321" y="381727"/>
                  </a:lnTo>
                  <a:cubicBezTo>
                    <a:pt x="141100" y="386766"/>
                    <a:pt x="144880" y="390545"/>
                    <a:pt x="148659" y="394325"/>
                  </a:cubicBezTo>
                  <a:cubicBezTo>
                    <a:pt x="149919" y="395584"/>
                    <a:pt x="151179" y="396844"/>
                    <a:pt x="152439" y="398104"/>
                  </a:cubicBezTo>
                  <a:cubicBezTo>
                    <a:pt x="152439" y="398104"/>
                    <a:pt x="153698" y="399364"/>
                    <a:pt x="153698" y="399364"/>
                  </a:cubicBezTo>
                  <a:cubicBezTo>
                    <a:pt x="154958" y="400624"/>
                    <a:pt x="154958" y="400624"/>
                    <a:pt x="156218" y="401884"/>
                  </a:cubicBezTo>
                  <a:cubicBezTo>
                    <a:pt x="156218" y="401884"/>
                    <a:pt x="156218" y="401884"/>
                    <a:pt x="156218" y="401884"/>
                  </a:cubicBezTo>
                  <a:cubicBezTo>
                    <a:pt x="158738" y="403143"/>
                    <a:pt x="161257" y="405663"/>
                    <a:pt x="163777" y="406923"/>
                  </a:cubicBezTo>
                  <a:cubicBezTo>
                    <a:pt x="165037" y="406923"/>
                    <a:pt x="166297" y="408183"/>
                    <a:pt x="166297" y="409443"/>
                  </a:cubicBezTo>
                  <a:lnTo>
                    <a:pt x="167557" y="410702"/>
                  </a:lnTo>
                  <a:lnTo>
                    <a:pt x="167557" y="410702"/>
                  </a:lnTo>
                  <a:cubicBezTo>
                    <a:pt x="168816" y="411962"/>
                    <a:pt x="170076" y="411962"/>
                    <a:pt x="171336" y="413222"/>
                  </a:cubicBezTo>
                  <a:cubicBezTo>
                    <a:pt x="173856" y="414482"/>
                    <a:pt x="175115" y="415742"/>
                    <a:pt x="177635" y="415742"/>
                  </a:cubicBezTo>
                  <a:cubicBezTo>
                    <a:pt x="178895" y="415742"/>
                    <a:pt x="180155" y="417001"/>
                    <a:pt x="181414" y="417001"/>
                  </a:cubicBezTo>
                  <a:lnTo>
                    <a:pt x="182674" y="417001"/>
                  </a:lnTo>
                  <a:cubicBezTo>
                    <a:pt x="185194" y="418261"/>
                    <a:pt x="186454" y="418261"/>
                    <a:pt x="188973" y="419521"/>
                  </a:cubicBezTo>
                  <a:cubicBezTo>
                    <a:pt x="191493" y="420781"/>
                    <a:pt x="194013" y="420781"/>
                    <a:pt x="197792" y="422041"/>
                  </a:cubicBezTo>
                  <a:cubicBezTo>
                    <a:pt x="201572" y="423301"/>
                    <a:pt x="206611" y="423301"/>
                    <a:pt x="210390" y="423301"/>
                  </a:cubicBezTo>
                  <a:cubicBezTo>
                    <a:pt x="211650" y="423301"/>
                    <a:pt x="214170" y="423301"/>
                    <a:pt x="215430" y="423301"/>
                  </a:cubicBezTo>
                  <a:cubicBezTo>
                    <a:pt x="215430" y="423301"/>
                    <a:pt x="216690" y="423301"/>
                    <a:pt x="216690" y="423301"/>
                  </a:cubicBezTo>
                  <a:cubicBezTo>
                    <a:pt x="217949" y="423301"/>
                    <a:pt x="219209" y="423301"/>
                    <a:pt x="221729" y="423301"/>
                  </a:cubicBezTo>
                  <a:lnTo>
                    <a:pt x="222989" y="423301"/>
                  </a:lnTo>
                  <a:cubicBezTo>
                    <a:pt x="225508" y="423301"/>
                    <a:pt x="226768" y="422041"/>
                    <a:pt x="228028" y="422041"/>
                  </a:cubicBezTo>
                  <a:cubicBezTo>
                    <a:pt x="230548" y="422041"/>
                    <a:pt x="231807" y="420781"/>
                    <a:pt x="234327" y="419521"/>
                  </a:cubicBezTo>
                  <a:cubicBezTo>
                    <a:pt x="235587" y="418261"/>
                    <a:pt x="236847" y="418261"/>
                    <a:pt x="239366" y="417001"/>
                  </a:cubicBezTo>
                  <a:cubicBezTo>
                    <a:pt x="241886" y="415742"/>
                    <a:pt x="244406" y="413222"/>
                    <a:pt x="245666" y="411962"/>
                  </a:cubicBezTo>
                  <a:cubicBezTo>
                    <a:pt x="246925" y="410702"/>
                    <a:pt x="248185" y="408183"/>
                    <a:pt x="249445" y="406923"/>
                  </a:cubicBezTo>
                  <a:cubicBezTo>
                    <a:pt x="250705" y="405663"/>
                    <a:pt x="251965" y="404403"/>
                    <a:pt x="251965" y="403143"/>
                  </a:cubicBezTo>
                  <a:cubicBezTo>
                    <a:pt x="253225" y="400624"/>
                    <a:pt x="254484" y="398104"/>
                    <a:pt x="255744" y="395584"/>
                  </a:cubicBezTo>
                  <a:cubicBezTo>
                    <a:pt x="255744" y="395584"/>
                    <a:pt x="255744" y="394325"/>
                    <a:pt x="255744" y="394325"/>
                  </a:cubicBezTo>
                  <a:lnTo>
                    <a:pt x="255744" y="393065"/>
                  </a:lnTo>
                  <a:cubicBezTo>
                    <a:pt x="255744" y="391805"/>
                    <a:pt x="255744" y="391805"/>
                    <a:pt x="257004" y="390545"/>
                  </a:cubicBezTo>
                  <a:cubicBezTo>
                    <a:pt x="257004" y="390545"/>
                    <a:pt x="257004" y="390545"/>
                    <a:pt x="257004" y="390545"/>
                  </a:cubicBezTo>
                  <a:cubicBezTo>
                    <a:pt x="258264" y="385506"/>
                    <a:pt x="259524" y="381727"/>
                    <a:pt x="259524" y="376687"/>
                  </a:cubicBezTo>
                  <a:cubicBezTo>
                    <a:pt x="259524" y="375427"/>
                    <a:pt x="259524" y="372908"/>
                    <a:pt x="259524" y="371648"/>
                  </a:cubicBezTo>
                  <a:cubicBezTo>
                    <a:pt x="259524" y="371648"/>
                    <a:pt x="259524" y="370388"/>
                    <a:pt x="259524" y="370388"/>
                  </a:cubicBezTo>
                  <a:lnTo>
                    <a:pt x="259524" y="369128"/>
                  </a:lnTo>
                  <a:cubicBezTo>
                    <a:pt x="259524" y="367868"/>
                    <a:pt x="259524" y="367868"/>
                    <a:pt x="259524" y="366608"/>
                  </a:cubicBezTo>
                  <a:cubicBezTo>
                    <a:pt x="265823" y="366608"/>
                    <a:pt x="265823" y="365349"/>
                    <a:pt x="265823" y="364089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/>
            <p:cNvSpPr/>
            <p:nvPr/>
          </p:nvSpPr>
          <p:spPr>
            <a:xfrm>
              <a:off x="2099581" y="3747735"/>
              <a:ext cx="1763753" cy="970064"/>
            </a:xfrm>
            <a:custGeom>
              <a:avLst/>
              <a:gdLst>
                <a:gd name="connsiteX0" fmla="*/ 91967 w 1763752"/>
                <a:gd name="connsiteY0" fmla="*/ 0 h 970063"/>
                <a:gd name="connsiteX1" fmla="*/ 293539 w 1763752"/>
                <a:gd name="connsiteY1" fmla="*/ 0 h 970063"/>
                <a:gd name="connsiteX2" fmla="*/ 1472733 w 1763752"/>
                <a:gd name="connsiteY2" fmla="*/ 0 h 970063"/>
                <a:gd name="connsiteX3" fmla="*/ 1674305 w 1763752"/>
                <a:gd name="connsiteY3" fmla="*/ 0 h 970063"/>
                <a:gd name="connsiteX4" fmla="*/ 1765012 w 1763752"/>
                <a:gd name="connsiteY4" fmla="*/ 90707 h 970063"/>
                <a:gd name="connsiteX5" fmla="*/ 1765012 w 1763752"/>
                <a:gd name="connsiteY5" fmla="*/ 977623 h 970063"/>
                <a:gd name="connsiteX6" fmla="*/ 1700761 w 1763752"/>
                <a:gd name="connsiteY6" fmla="*/ 977623 h 970063"/>
                <a:gd name="connsiteX7" fmla="*/ 1700761 w 1763752"/>
                <a:gd name="connsiteY7" fmla="*/ 177635 h 970063"/>
                <a:gd name="connsiteX8" fmla="*/ 1654148 w 1763752"/>
                <a:gd name="connsiteY8" fmla="*/ 131022 h 970063"/>
                <a:gd name="connsiteX9" fmla="*/ 1470214 w 1763752"/>
                <a:gd name="connsiteY9" fmla="*/ 131022 h 970063"/>
                <a:gd name="connsiteX10" fmla="*/ 291019 w 1763752"/>
                <a:gd name="connsiteY10" fmla="*/ 131022 h 970063"/>
                <a:gd name="connsiteX11" fmla="*/ 108345 w 1763752"/>
                <a:gd name="connsiteY11" fmla="*/ 131022 h 970063"/>
                <a:gd name="connsiteX12" fmla="*/ 61731 w 1763752"/>
                <a:gd name="connsiteY12" fmla="*/ 177635 h 970063"/>
                <a:gd name="connsiteX13" fmla="*/ 61731 w 1763752"/>
                <a:gd name="connsiteY13" fmla="*/ 977623 h 970063"/>
                <a:gd name="connsiteX14" fmla="*/ 0 w 1763752"/>
                <a:gd name="connsiteY14" fmla="*/ 977623 h 970063"/>
                <a:gd name="connsiteX15" fmla="*/ 0 w 1763752"/>
                <a:gd name="connsiteY15" fmla="*/ 90707 h 970063"/>
                <a:gd name="connsiteX16" fmla="*/ 91967 w 1763752"/>
                <a:gd name="connsiteY16" fmla="*/ 0 h 97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3752" h="970063">
                  <a:moveTo>
                    <a:pt x="91967" y="0"/>
                  </a:moveTo>
                  <a:lnTo>
                    <a:pt x="293539" y="0"/>
                  </a:lnTo>
                  <a:lnTo>
                    <a:pt x="1472733" y="0"/>
                  </a:lnTo>
                  <a:lnTo>
                    <a:pt x="1674305" y="0"/>
                  </a:lnTo>
                  <a:cubicBezTo>
                    <a:pt x="1724698" y="0"/>
                    <a:pt x="1765012" y="40314"/>
                    <a:pt x="1765012" y="90707"/>
                  </a:cubicBezTo>
                  <a:lnTo>
                    <a:pt x="1765012" y="977623"/>
                  </a:lnTo>
                  <a:lnTo>
                    <a:pt x="1700761" y="977623"/>
                  </a:lnTo>
                  <a:lnTo>
                    <a:pt x="1700761" y="177635"/>
                  </a:lnTo>
                  <a:cubicBezTo>
                    <a:pt x="1700761" y="152439"/>
                    <a:pt x="1680604" y="131022"/>
                    <a:pt x="1654148" y="131022"/>
                  </a:cubicBezTo>
                  <a:lnTo>
                    <a:pt x="1470214" y="131022"/>
                  </a:lnTo>
                  <a:lnTo>
                    <a:pt x="291019" y="131022"/>
                  </a:lnTo>
                  <a:lnTo>
                    <a:pt x="108345" y="131022"/>
                  </a:lnTo>
                  <a:cubicBezTo>
                    <a:pt x="83148" y="131022"/>
                    <a:pt x="61731" y="151179"/>
                    <a:pt x="61731" y="177635"/>
                  </a:cubicBezTo>
                  <a:lnTo>
                    <a:pt x="61731" y="977623"/>
                  </a:lnTo>
                  <a:lnTo>
                    <a:pt x="0" y="977623"/>
                  </a:lnTo>
                  <a:lnTo>
                    <a:pt x="0" y="90707"/>
                  </a:lnTo>
                  <a:cubicBezTo>
                    <a:pt x="0" y="41574"/>
                    <a:pt x="41574" y="0"/>
                    <a:pt x="91967" y="0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/>
            <p:cNvSpPr/>
            <p:nvPr/>
          </p:nvSpPr>
          <p:spPr>
            <a:xfrm>
              <a:off x="2493906" y="3689783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126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/>
            <p:cNvSpPr/>
            <p:nvPr/>
          </p:nvSpPr>
          <p:spPr>
            <a:xfrm>
              <a:off x="2521622" y="3714979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/>
            <p:cNvSpPr/>
            <p:nvPr/>
          </p:nvSpPr>
          <p:spPr>
            <a:xfrm>
              <a:off x="2524142" y="3725058"/>
              <a:ext cx="277161" cy="12598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/>
            <p:cNvSpPr/>
            <p:nvPr/>
          </p:nvSpPr>
          <p:spPr>
            <a:xfrm>
              <a:off x="2522882" y="3680964"/>
              <a:ext cx="277161" cy="12598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/>
            <p:cNvSpPr/>
            <p:nvPr/>
          </p:nvSpPr>
          <p:spPr>
            <a:xfrm>
              <a:off x="2520362" y="3693562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500 w 277161"/>
                <a:gd name="connsiteY1" fmla="*/ 0 h 0"/>
                <a:gd name="connsiteX2" fmla="*/ 288500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500" y="0"/>
                  </a:lnTo>
                  <a:lnTo>
                    <a:pt x="288500" y="7559"/>
                  </a:lnTo>
                  <a:lnTo>
                    <a:pt x="0" y="7559"/>
                  </a:lnTo>
                  <a:cubicBezTo>
                    <a:pt x="126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/>
            <p:cNvSpPr/>
            <p:nvPr/>
          </p:nvSpPr>
          <p:spPr>
            <a:xfrm>
              <a:off x="2521622" y="3703641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/>
            <p:cNvSpPr/>
            <p:nvPr/>
          </p:nvSpPr>
          <p:spPr>
            <a:xfrm>
              <a:off x="2521622" y="3691043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/>
            <p:cNvSpPr/>
            <p:nvPr/>
          </p:nvSpPr>
          <p:spPr>
            <a:xfrm>
              <a:off x="2521622" y="3701121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/>
            <p:cNvSpPr/>
            <p:nvPr/>
          </p:nvSpPr>
          <p:spPr>
            <a:xfrm>
              <a:off x="2521622" y="3711200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/>
            <p:cNvSpPr/>
            <p:nvPr/>
          </p:nvSpPr>
          <p:spPr>
            <a:xfrm>
              <a:off x="2522882" y="3722538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/>
            <p:cNvSpPr/>
            <p:nvPr/>
          </p:nvSpPr>
          <p:spPr>
            <a:xfrm>
              <a:off x="2190288" y="3664586"/>
              <a:ext cx="314956" cy="75589"/>
            </a:xfrm>
            <a:custGeom>
              <a:avLst/>
              <a:gdLst>
                <a:gd name="connsiteX0" fmla="*/ 303617 w 314955"/>
                <a:gd name="connsiteY0" fmla="*/ 30236 h 75589"/>
                <a:gd name="connsiteX1" fmla="*/ 303617 w 314955"/>
                <a:gd name="connsiteY1" fmla="*/ 35275 h 75589"/>
                <a:gd name="connsiteX2" fmla="*/ 306137 w 314955"/>
                <a:gd name="connsiteY2" fmla="*/ 52913 h 75589"/>
                <a:gd name="connsiteX3" fmla="*/ 313696 w 314955"/>
                <a:gd name="connsiteY3" fmla="*/ 75589 h 75589"/>
                <a:gd name="connsiteX4" fmla="*/ 31873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3617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3617" y="30236"/>
                  </a:moveTo>
                  <a:cubicBezTo>
                    <a:pt x="303617" y="31496"/>
                    <a:pt x="303617" y="34015"/>
                    <a:pt x="303617" y="35275"/>
                  </a:cubicBezTo>
                  <a:cubicBezTo>
                    <a:pt x="303617" y="40314"/>
                    <a:pt x="304877" y="46613"/>
                    <a:pt x="306137" y="52913"/>
                  </a:cubicBezTo>
                  <a:cubicBezTo>
                    <a:pt x="307397" y="60472"/>
                    <a:pt x="311176" y="68031"/>
                    <a:pt x="313696" y="75589"/>
                  </a:cubicBezTo>
                  <a:cubicBezTo>
                    <a:pt x="314956" y="79369"/>
                    <a:pt x="317476" y="83148"/>
                    <a:pt x="31873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3617" y="26456"/>
                    <a:pt x="303617" y="28976"/>
                    <a:pt x="303617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/>
            <p:cNvSpPr/>
            <p:nvPr/>
          </p:nvSpPr>
          <p:spPr>
            <a:xfrm>
              <a:off x="2493906" y="3664586"/>
              <a:ext cx="314956" cy="75589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6294" y="12598"/>
                    <a:pt x="322515" y="16378"/>
                    <a:pt x="317475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/>
            <p:cNvSpPr/>
            <p:nvPr/>
          </p:nvSpPr>
          <p:spPr>
            <a:xfrm>
              <a:off x="2494221" y="3520967"/>
              <a:ext cx="12598" cy="12598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5039 h 0"/>
                <a:gd name="connsiteX2" fmla="*/ 94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945" y="1260"/>
                    <a:pt x="945" y="3780"/>
                    <a:pt x="945" y="5039"/>
                  </a:cubicBezTo>
                  <a:cubicBezTo>
                    <a:pt x="-315" y="3780"/>
                    <a:pt x="-315" y="1260"/>
                    <a:pt x="945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/>
            <p:cNvSpPr/>
            <p:nvPr/>
          </p:nvSpPr>
          <p:spPr>
            <a:xfrm>
              <a:off x="2522882" y="3546163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/>
            <p:cNvSpPr/>
            <p:nvPr/>
          </p:nvSpPr>
          <p:spPr>
            <a:xfrm>
              <a:off x="2524142" y="3556242"/>
              <a:ext cx="277161" cy="12598"/>
            </a:xfrm>
            <a:custGeom>
              <a:avLst/>
              <a:gdLst>
                <a:gd name="connsiteX0" fmla="*/ 3780 w 277161"/>
                <a:gd name="connsiteY0" fmla="*/ 10078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26456 w 277161"/>
                <a:gd name="connsiteY4" fmla="*/ 10078 h 0"/>
                <a:gd name="connsiteX5" fmla="*/ 3780 w 277161"/>
                <a:gd name="connsiteY5" fmla="*/ 100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8"/>
                  </a:moveTo>
                  <a:cubicBezTo>
                    <a:pt x="2520" y="7559"/>
                    <a:pt x="1260" y="3779"/>
                    <a:pt x="0" y="0"/>
                  </a:cubicBezTo>
                  <a:lnTo>
                    <a:pt x="285980" y="0"/>
                  </a:lnTo>
                  <a:lnTo>
                    <a:pt x="285980" y="10078"/>
                  </a:lnTo>
                  <a:lnTo>
                    <a:pt x="26456" y="10078"/>
                  </a:lnTo>
                  <a:lnTo>
                    <a:pt x="3780" y="10078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/>
            <p:cNvSpPr/>
            <p:nvPr/>
          </p:nvSpPr>
          <p:spPr>
            <a:xfrm>
              <a:off x="2524142" y="3512148"/>
              <a:ext cx="277161" cy="12598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0 w 277161"/>
                <a:gd name="connsiteY4" fmla="*/ 10078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8"/>
                  </a:lnTo>
                  <a:lnTo>
                    <a:pt x="0" y="10078"/>
                  </a:lnTo>
                  <a:cubicBezTo>
                    <a:pt x="0" y="6299"/>
                    <a:pt x="126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/>
            <p:cNvSpPr/>
            <p:nvPr/>
          </p:nvSpPr>
          <p:spPr>
            <a:xfrm>
              <a:off x="2521622" y="3524746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/>
            <p:cNvSpPr/>
            <p:nvPr/>
          </p:nvSpPr>
          <p:spPr>
            <a:xfrm>
              <a:off x="2521622" y="3534825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/>
            <p:cNvSpPr/>
            <p:nvPr/>
          </p:nvSpPr>
          <p:spPr>
            <a:xfrm>
              <a:off x="2521622" y="3522226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/>
            <p:cNvSpPr/>
            <p:nvPr/>
          </p:nvSpPr>
          <p:spPr>
            <a:xfrm>
              <a:off x="2521622" y="3532305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/>
            <p:cNvSpPr/>
            <p:nvPr/>
          </p:nvSpPr>
          <p:spPr>
            <a:xfrm>
              <a:off x="2521622" y="3542384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/>
            <p:cNvSpPr/>
            <p:nvPr/>
          </p:nvSpPr>
          <p:spPr>
            <a:xfrm>
              <a:off x="2522882" y="3553722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/>
            <p:cNvSpPr/>
            <p:nvPr/>
          </p:nvSpPr>
          <p:spPr>
            <a:xfrm>
              <a:off x="2191548" y="3495770"/>
              <a:ext cx="314956" cy="75589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4"/>
                    <a:pt x="303617" y="46613"/>
                    <a:pt x="304877" y="52913"/>
                  </a:cubicBezTo>
                  <a:cubicBezTo>
                    <a:pt x="306137" y="60472"/>
                    <a:pt x="309917" y="68030"/>
                    <a:pt x="312436" y="75589"/>
                  </a:cubicBezTo>
                  <a:cubicBezTo>
                    <a:pt x="313696" y="79369"/>
                    <a:pt x="316216" y="83148"/>
                    <a:pt x="31747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645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/>
            <p:cNvSpPr/>
            <p:nvPr/>
          </p:nvSpPr>
          <p:spPr>
            <a:xfrm>
              <a:off x="2495166" y="3495770"/>
              <a:ext cx="314956" cy="75589"/>
            </a:xfrm>
            <a:custGeom>
              <a:avLst/>
              <a:gdLst>
                <a:gd name="connsiteX0" fmla="*/ 317476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4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6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6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4"/>
                  </a:cubicBezTo>
                  <a:cubicBezTo>
                    <a:pt x="27716" y="39054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2598"/>
                    <a:pt x="321255" y="16378"/>
                    <a:pt x="317476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/>
            <p:cNvSpPr/>
            <p:nvPr/>
          </p:nvSpPr>
          <p:spPr>
            <a:xfrm>
              <a:off x="2453591" y="3604115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252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/>
            <p:cNvSpPr/>
            <p:nvPr/>
          </p:nvSpPr>
          <p:spPr>
            <a:xfrm>
              <a:off x="2481308" y="3629311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126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/>
            <p:cNvSpPr/>
            <p:nvPr/>
          </p:nvSpPr>
          <p:spPr>
            <a:xfrm>
              <a:off x="2483827" y="3639390"/>
              <a:ext cx="277161" cy="12598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/>
            <p:cNvSpPr/>
            <p:nvPr/>
          </p:nvSpPr>
          <p:spPr>
            <a:xfrm>
              <a:off x="2482567" y="3595296"/>
              <a:ext cx="277161" cy="12598"/>
            </a:xfrm>
            <a:custGeom>
              <a:avLst/>
              <a:gdLst>
                <a:gd name="connsiteX0" fmla="*/ 3779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79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79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3780"/>
                    <a:pt x="3779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/>
            <p:cNvSpPr/>
            <p:nvPr/>
          </p:nvSpPr>
          <p:spPr>
            <a:xfrm>
              <a:off x="2481308" y="3609154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/>
            <p:cNvSpPr/>
            <p:nvPr/>
          </p:nvSpPr>
          <p:spPr>
            <a:xfrm>
              <a:off x="2481308" y="3619233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0"/>
                    <a:pt x="0" y="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3779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/>
            <p:cNvSpPr/>
            <p:nvPr/>
          </p:nvSpPr>
          <p:spPr>
            <a:xfrm>
              <a:off x="2481308" y="3606635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/>
            <p:cNvSpPr/>
            <p:nvPr/>
          </p:nvSpPr>
          <p:spPr>
            <a:xfrm>
              <a:off x="2481308" y="3616713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/>
            <p:cNvSpPr/>
            <p:nvPr/>
          </p:nvSpPr>
          <p:spPr>
            <a:xfrm>
              <a:off x="2481308" y="3626792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126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/>
            <p:cNvSpPr/>
            <p:nvPr/>
          </p:nvSpPr>
          <p:spPr>
            <a:xfrm>
              <a:off x="2482567" y="3636870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/>
            <p:cNvSpPr/>
            <p:nvPr/>
          </p:nvSpPr>
          <p:spPr>
            <a:xfrm>
              <a:off x="2151234" y="3578918"/>
              <a:ext cx="314956" cy="75589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6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5"/>
                    <a:pt x="303617" y="46614"/>
                    <a:pt x="304877" y="52913"/>
                  </a:cubicBezTo>
                  <a:cubicBezTo>
                    <a:pt x="306137" y="60472"/>
                    <a:pt x="309917" y="68031"/>
                    <a:pt x="312436" y="75589"/>
                  </a:cubicBezTo>
                  <a:cubicBezTo>
                    <a:pt x="313696" y="79369"/>
                    <a:pt x="316216" y="83148"/>
                    <a:pt x="317476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771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/>
            <p:cNvSpPr/>
            <p:nvPr/>
          </p:nvSpPr>
          <p:spPr>
            <a:xfrm>
              <a:off x="2454851" y="3578918"/>
              <a:ext cx="314956" cy="75589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5 h 75589"/>
                <a:gd name="connsiteX9" fmla="*/ 27716 w 314955"/>
                <a:gd name="connsiteY9" fmla="*/ 46614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2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2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5"/>
                    <a:pt x="27716" y="40315"/>
                  </a:cubicBezTo>
                  <a:cubicBezTo>
                    <a:pt x="27716" y="42834"/>
                    <a:pt x="27716" y="44094"/>
                    <a:pt x="27716" y="46614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2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80" y="59212"/>
                    <a:pt x="2520" y="51653"/>
                  </a:cubicBezTo>
                  <a:cubicBezTo>
                    <a:pt x="1260" y="45354"/>
                    <a:pt x="0" y="40315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80" y="6299"/>
                    <a:pt x="10079" y="0"/>
                  </a:cubicBezTo>
                  <a:lnTo>
                    <a:pt x="28976" y="0"/>
                  </a:lnTo>
                  <a:lnTo>
                    <a:pt x="60472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3858"/>
                    <a:pt x="321255" y="16378"/>
                    <a:pt x="317475" y="1637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/>
            <p:cNvSpPr/>
            <p:nvPr/>
          </p:nvSpPr>
          <p:spPr>
            <a:xfrm>
              <a:off x="3361924" y="4634651"/>
              <a:ext cx="289759" cy="88188"/>
            </a:xfrm>
            <a:custGeom>
              <a:avLst/>
              <a:gdLst>
                <a:gd name="connsiteX0" fmla="*/ 296058 w 289759"/>
                <a:gd name="connsiteY0" fmla="*/ 80629 h 88187"/>
                <a:gd name="connsiteX1" fmla="*/ 293539 w 289759"/>
                <a:gd name="connsiteY1" fmla="*/ 76849 h 88187"/>
                <a:gd name="connsiteX2" fmla="*/ 287240 w 289759"/>
                <a:gd name="connsiteY2" fmla="*/ 73070 h 88187"/>
                <a:gd name="connsiteX3" fmla="*/ 282201 w 289759"/>
                <a:gd name="connsiteY3" fmla="*/ 69290 h 88187"/>
                <a:gd name="connsiteX4" fmla="*/ 270862 w 289759"/>
                <a:gd name="connsiteY4" fmla="*/ 62991 h 88187"/>
                <a:gd name="connsiteX5" fmla="*/ 246925 w 289759"/>
                <a:gd name="connsiteY5" fmla="*/ 52912 h 88187"/>
                <a:gd name="connsiteX6" fmla="*/ 235587 w 289759"/>
                <a:gd name="connsiteY6" fmla="*/ 49133 h 88187"/>
                <a:gd name="connsiteX7" fmla="*/ 222989 w 289759"/>
                <a:gd name="connsiteY7" fmla="*/ 44094 h 88187"/>
                <a:gd name="connsiteX8" fmla="*/ 210390 w 289759"/>
                <a:gd name="connsiteY8" fmla="*/ 40314 h 88187"/>
                <a:gd name="connsiteX9" fmla="*/ 209131 w 289759"/>
                <a:gd name="connsiteY9" fmla="*/ 39054 h 88187"/>
                <a:gd name="connsiteX10" fmla="*/ 195273 w 289759"/>
                <a:gd name="connsiteY10" fmla="*/ 32755 h 88187"/>
                <a:gd name="connsiteX11" fmla="*/ 181415 w 289759"/>
                <a:gd name="connsiteY11" fmla="*/ 26456 h 88187"/>
                <a:gd name="connsiteX12" fmla="*/ 166297 w 289759"/>
                <a:gd name="connsiteY12" fmla="*/ 20157 h 88187"/>
                <a:gd name="connsiteX13" fmla="*/ 158738 w 289759"/>
                <a:gd name="connsiteY13" fmla="*/ 17637 h 88187"/>
                <a:gd name="connsiteX14" fmla="*/ 151179 w 289759"/>
                <a:gd name="connsiteY14" fmla="*/ 15118 h 88187"/>
                <a:gd name="connsiteX15" fmla="*/ 143620 w 289759"/>
                <a:gd name="connsiteY15" fmla="*/ 12598 h 88187"/>
                <a:gd name="connsiteX16" fmla="*/ 137321 w 289759"/>
                <a:gd name="connsiteY16" fmla="*/ 10078 h 88187"/>
                <a:gd name="connsiteX17" fmla="*/ 129762 w 289759"/>
                <a:gd name="connsiteY17" fmla="*/ 7559 h 88187"/>
                <a:gd name="connsiteX18" fmla="*/ 122203 w 289759"/>
                <a:gd name="connsiteY18" fmla="*/ 5039 h 88187"/>
                <a:gd name="connsiteX19" fmla="*/ 115904 w 289759"/>
                <a:gd name="connsiteY19" fmla="*/ 2519 h 88187"/>
                <a:gd name="connsiteX20" fmla="*/ 110864 w 289759"/>
                <a:gd name="connsiteY20" fmla="*/ 1260 h 88187"/>
                <a:gd name="connsiteX21" fmla="*/ 107085 w 289759"/>
                <a:gd name="connsiteY21" fmla="*/ 1260 h 88187"/>
                <a:gd name="connsiteX22" fmla="*/ 99526 w 289759"/>
                <a:gd name="connsiteY22" fmla="*/ 1260 h 88187"/>
                <a:gd name="connsiteX23" fmla="*/ 94487 w 289759"/>
                <a:gd name="connsiteY23" fmla="*/ 1260 h 88187"/>
                <a:gd name="connsiteX24" fmla="*/ 84408 w 289759"/>
                <a:gd name="connsiteY24" fmla="*/ 0 h 88187"/>
                <a:gd name="connsiteX25" fmla="*/ 73070 w 289759"/>
                <a:gd name="connsiteY25" fmla="*/ 0 h 88187"/>
                <a:gd name="connsiteX26" fmla="*/ 49133 w 289759"/>
                <a:gd name="connsiteY26" fmla="*/ 0 h 88187"/>
                <a:gd name="connsiteX27" fmla="*/ 40314 w 289759"/>
                <a:gd name="connsiteY27" fmla="*/ 0 h 88187"/>
                <a:gd name="connsiteX28" fmla="*/ 32755 w 289759"/>
                <a:gd name="connsiteY28" fmla="*/ 0 h 88187"/>
                <a:gd name="connsiteX29" fmla="*/ 25196 w 289759"/>
                <a:gd name="connsiteY29" fmla="*/ 0 h 88187"/>
                <a:gd name="connsiteX30" fmla="*/ 21417 w 289759"/>
                <a:gd name="connsiteY30" fmla="*/ 0 h 88187"/>
                <a:gd name="connsiteX31" fmla="*/ 17638 w 289759"/>
                <a:gd name="connsiteY31" fmla="*/ 0 h 88187"/>
                <a:gd name="connsiteX32" fmla="*/ 11339 w 289759"/>
                <a:gd name="connsiteY32" fmla="*/ 1260 h 88187"/>
                <a:gd name="connsiteX33" fmla="*/ 3780 w 289759"/>
                <a:gd name="connsiteY33" fmla="*/ 2519 h 88187"/>
                <a:gd name="connsiteX34" fmla="*/ 1260 w 289759"/>
                <a:gd name="connsiteY34" fmla="*/ 3779 h 88187"/>
                <a:gd name="connsiteX35" fmla="*/ 1260 w 289759"/>
                <a:gd name="connsiteY35" fmla="*/ 3779 h 88187"/>
                <a:gd name="connsiteX36" fmla="*/ 0 w 289759"/>
                <a:gd name="connsiteY36" fmla="*/ 6299 h 88187"/>
                <a:gd name="connsiteX37" fmla="*/ 0 w 289759"/>
                <a:gd name="connsiteY37" fmla="*/ 51652 h 88187"/>
                <a:gd name="connsiteX38" fmla="*/ 0 w 289759"/>
                <a:gd name="connsiteY38" fmla="*/ 59211 h 88187"/>
                <a:gd name="connsiteX39" fmla="*/ 0 w 289759"/>
                <a:gd name="connsiteY39" fmla="*/ 61731 h 88187"/>
                <a:gd name="connsiteX40" fmla="*/ 0 w 289759"/>
                <a:gd name="connsiteY40" fmla="*/ 66770 h 88187"/>
                <a:gd name="connsiteX41" fmla="*/ 0 w 289759"/>
                <a:gd name="connsiteY41" fmla="*/ 70550 h 88187"/>
                <a:gd name="connsiteX42" fmla="*/ 0 w 289759"/>
                <a:gd name="connsiteY42" fmla="*/ 70550 h 88187"/>
                <a:gd name="connsiteX43" fmla="*/ 0 w 289759"/>
                <a:gd name="connsiteY43" fmla="*/ 83148 h 88187"/>
                <a:gd name="connsiteX44" fmla="*/ 3780 w 289759"/>
                <a:gd name="connsiteY44" fmla="*/ 81889 h 88187"/>
                <a:gd name="connsiteX45" fmla="*/ 3780 w 289759"/>
                <a:gd name="connsiteY45" fmla="*/ 81889 h 88187"/>
                <a:gd name="connsiteX46" fmla="*/ 11339 w 289759"/>
                <a:gd name="connsiteY46" fmla="*/ 85668 h 88187"/>
                <a:gd name="connsiteX47" fmla="*/ 17638 w 289759"/>
                <a:gd name="connsiteY47" fmla="*/ 86928 h 88187"/>
                <a:gd name="connsiteX48" fmla="*/ 18897 w 289759"/>
                <a:gd name="connsiteY48" fmla="*/ 86928 h 88187"/>
                <a:gd name="connsiteX49" fmla="*/ 34015 w 289759"/>
                <a:gd name="connsiteY49" fmla="*/ 88188 h 88187"/>
                <a:gd name="connsiteX50" fmla="*/ 35275 w 289759"/>
                <a:gd name="connsiteY50" fmla="*/ 88188 h 88187"/>
                <a:gd name="connsiteX51" fmla="*/ 40314 w 289759"/>
                <a:gd name="connsiteY51" fmla="*/ 86928 h 88187"/>
                <a:gd name="connsiteX52" fmla="*/ 45354 w 289759"/>
                <a:gd name="connsiteY52" fmla="*/ 84408 h 88187"/>
                <a:gd name="connsiteX53" fmla="*/ 50393 w 289759"/>
                <a:gd name="connsiteY53" fmla="*/ 80629 h 88187"/>
                <a:gd name="connsiteX54" fmla="*/ 51653 w 289759"/>
                <a:gd name="connsiteY54" fmla="*/ 81889 h 88187"/>
                <a:gd name="connsiteX55" fmla="*/ 54172 w 289759"/>
                <a:gd name="connsiteY55" fmla="*/ 83148 h 88187"/>
                <a:gd name="connsiteX56" fmla="*/ 57952 w 289759"/>
                <a:gd name="connsiteY56" fmla="*/ 84408 h 88187"/>
                <a:gd name="connsiteX57" fmla="*/ 60472 w 289759"/>
                <a:gd name="connsiteY57" fmla="*/ 84408 h 88187"/>
                <a:gd name="connsiteX58" fmla="*/ 66771 w 289759"/>
                <a:gd name="connsiteY58" fmla="*/ 84408 h 88187"/>
                <a:gd name="connsiteX59" fmla="*/ 80629 w 289759"/>
                <a:gd name="connsiteY59" fmla="*/ 85668 h 88187"/>
                <a:gd name="connsiteX60" fmla="*/ 93227 w 289759"/>
                <a:gd name="connsiteY60" fmla="*/ 85668 h 88187"/>
                <a:gd name="connsiteX61" fmla="*/ 118424 w 289759"/>
                <a:gd name="connsiteY61" fmla="*/ 85668 h 88187"/>
                <a:gd name="connsiteX62" fmla="*/ 124723 w 289759"/>
                <a:gd name="connsiteY62" fmla="*/ 85668 h 88187"/>
                <a:gd name="connsiteX63" fmla="*/ 131022 w 289759"/>
                <a:gd name="connsiteY63" fmla="*/ 85668 h 88187"/>
                <a:gd name="connsiteX64" fmla="*/ 143620 w 289759"/>
                <a:gd name="connsiteY64" fmla="*/ 85668 h 88187"/>
                <a:gd name="connsiteX65" fmla="*/ 153698 w 289759"/>
                <a:gd name="connsiteY65" fmla="*/ 85668 h 88187"/>
                <a:gd name="connsiteX66" fmla="*/ 165037 w 289759"/>
                <a:gd name="connsiteY66" fmla="*/ 86928 h 88187"/>
                <a:gd name="connsiteX67" fmla="*/ 176375 w 289759"/>
                <a:gd name="connsiteY67" fmla="*/ 86928 h 88187"/>
                <a:gd name="connsiteX68" fmla="*/ 186454 w 289759"/>
                <a:gd name="connsiteY68" fmla="*/ 86928 h 88187"/>
                <a:gd name="connsiteX69" fmla="*/ 185194 w 289759"/>
                <a:gd name="connsiteY69" fmla="*/ 86928 h 88187"/>
                <a:gd name="connsiteX70" fmla="*/ 196533 w 289759"/>
                <a:gd name="connsiteY70" fmla="*/ 86928 h 88187"/>
                <a:gd name="connsiteX71" fmla="*/ 204091 w 289759"/>
                <a:gd name="connsiteY71" fmla="*/ 86928 h 88187"/>
                <a:gd name="connsiteX72" fmla="*/ 205351 w 289759"/>
                <a:gd name="connsiteY72" fmla="*/ 86928 h 88187"/>
                <a:gd name="connsiteX73" fmla="*/ 205351 w 289759"/>
                <a:gd name="connsiteY73" fmla="*/ 86928 h 88187"/>
                <a:gd name="connsiteX74" fmla="*/ 220469 w 289759"/>
                <a:gd name="connsiteY74" fmla="*/ 88188 h 88187"/>
                <a:gd name="connsiteX75" fmla="*/ 235587 w 289759"/>
                <a:gd name="connsiteY75" fmla="*/ 88188 h 88187"/>
                <a:gd name="connsiteX76" fmla="*/ 235587 w 289759"/>
                <a:gd name="connsiteY76" fmla="*/ 88188 h 88187"/>
                <a:gd name="connsiteX77" fmla="*/ 241886 w 289759"/>
                <a:gd name="connsiteY77" fmla="*/ 88188 h 88187"/>
                <a:gd name="connsiteX78" fmla="*/ 243146 w 289759"/>
                <a:gd name="connsiteY78" fmla="*/ 88188 h 88187"/>
                <a:gd name="connsiteX79" fmla="*/ 248185 w 289759"/>
                <a:gd name="connsiteY79" fmla="*/ 88188 h 88187"/>
                <a:gd name="connsiteX80" fmla="*/ 254484 w 289759"/>
                <a:gd name="connsiteY80" fmla="*/ 88188 h 88187"/>
                <a:gd name="connsiteX81" fmla="*/ 265823 w 289759"/>
                <a:gd name="connsiteY81" fmla="*/ 88188 h 88187"/>
                <a:gd name="connsiteX82" fmla="*/ 275901 w 289759"/>
                <a:gd name="connsiteY82" fmla="*/ 88188 h 88187"/>
                <a:gd name="connsiteX83" fmla="*/ 274642 w 289759"/>
                <a:gd name="connsiteY83" fmla="*/ 88188 h 88187"/>
                <a:gd name="connsiteX84" fmla="*/ 288500 w 289759"/>
                <a:gd name="connsiteY84" fmla="*/ 88188 h 88187"/>
                <a:gd name="connsiteX85" fmla="*/ 294799 w 289759"/>
                <a:gd name="connsiteY85" fmla="*/ 86928 h 88187"/>
                <a:gd name="connsiteX86" fmla="*/ 299838 w 289759"/>
                <a:gd name="connsiteY86" fmla="*/ 83148 h 88187"/>
                <a:gd name="connsiteX87" fmla="*/ 299838 w 289759"/>
                <a:gd name="connsiteY87" fmla="*/ 81889 h 88187"/>
                <a:gd name="connsiteX88" fmla="*/ 296058 w 289759"/>
                <a:gd name="connsiteY88" fmla="*/ 80629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9759" h="88187">
                  <a:moveTo>
                    <a:pt x="296058" y="80629"/>
                  </a:moveTo>
                  <a:cubicBezTo>
                    <a:pt x="296058" y="79369"/>
                    <a:pt x="294799" y="78109"/>
                    <a:pt x="293539" y="76849"/>
                  </a:cubicBezTo>
                  <a:cubicBezTo>
                    <a:pt x="292279" y="75589"/>
                    <a:pt x="289759" y="74330"/>
                    <a:pt x="287240" y="73070"/>
                  </a:cubicBezTo>
                  <a:cubicBezTo>
                    <a:pt x="285980" y="71810"/>
                    <a:pt x="283460" y="70550"/>
                    <a:pt x="282201" y="69290"/>
                  </a:cubicBezTo>
                  <a:cubicBezTo>
                    <a:pt x="278421" y="66770"/>
                    <a:pt x="274642" y="65511"/>
                    <a:pt x="270862" y="62991"/>
                  </a:cubicBezTo>
                  <a:cubicBezTo>
                    <a:pt x="263303" y="59211"/>
                    <a:pt x="254484" y="55432"/>
                    <a:pt x="246925" y="52912"/>
                  </a:cubicBezTo>
                  <a:cubicBezTo>
                    <a:pt x="243146" y="51652"/>
                    <a:pt x="239366" y="50393"/>
                    <a:pt x="235587" y="49133"/>
                  </a:cubicBezTo>
                  <a:cubicBezTo>
                    <a:pt x="231808" y="47873"/>
                    <a:pt x="228028" y="46613"/>
                    <a:pt x="222989" y="44094"/>
                  </a:cubicBezTo>
                  <a:cubicBezTo>
                    <a:pt x="219209" y="42834"/>
                    <a:pt x="215430" y="41574"/>
                    <a:pt x="210390" y="40314"/>
                  </a:cubicBezTo>
                  <a:cubicBezTo>
                    <a:pt x="210390" y="40314"/>
                    <a:pt x="209131" y="40314"/>
                    <a:pt x="209131" y="39054"/>
                  </a:cubicBezTo>
                  <a:cubicBezTo>
                    <a:pt x="204091" y="36535"/>
                    <a:pt x="199052" y="34015"/>
                    <a:pt x="195273" y="32755"/>
                  </a:cubicBezTo>
                  <a:cubicBezTo>
                    <a:pt x="190233" y="30236"/>
                    <a:pt x="185194" y="28976"/>
                    <a:pt x="181415" y="26456"/>
                  </a:cubicBezTo>
                  <a:cubicBezTo>
                    <a:pt x="176375" y="23937"/>
                    <a:pt x="171336" y="22677"/>
                    <a:pt x="166297" y="20157"/>
                  </a:cubicBezTo>
                  <a:cubicBezTo>
                    <a:pt x="163777" y="18897"/>
                    <a:pt x="161257" y="17637"/>
                    <a:pt x="158738" y="17637"/>
                  </a:cubicBezTo>
                  <a:cubicBezTo>
                    <a:pt x="156218" y="16378"/>
                    <a:pt x="153698" y="16378"/>
                    <a:pt x="151179" y="15118"/>
                  </a:cubicBezTo>
                  <a:cubicBezTo>
                    <a:pt x="148659" y="13858"/>
                    <a:pt x="146140" y="13858"/>
                    <a:pt x="143620" y="12598"/>
                  </a:cubicBezTo>
                  <a:cubicBezTo>
                    <a:pt x="141100" y="11338"/>
                    <a:pt x="138581" y="11338"/>
                    <a:pt x="137321" y="10078"/>
                  </a:cubicBezTo>
                  <a:cubicBezTo>
                    <a:pt x="134801" y="8819"/>
                    <a:pt x="132281" y="8819"/>
                    <a:pt x="129762" y="7559"/>
                  </a:cubicBezTo>
                  <a:cubicBezTo>
                    <a:pt x="127242" y="6299"/>
                    <a:pt x="124723" y="6299"/>
                    <a:pt x="122203" y="5039"/>
                  </a:cubicBezTo>
                  <a:cubicBezTo>
                    <a:pt x="119683" y="3779"/>
                    <a:pt x="117164" y="3779"/>
                    <a:pt x="115904" y="2519"/>
                  </a:cubicBezTo>
                  <a:cubicBezTo>
                    <a:pt x="114644" y="2519"/>
                    <a:pt x="112124" y="1260"/>
                    <a:pt x="110864" y="1260"/>
                  </a:cubicBezTo>
                  <a:cubicBezTo>
                    <a:pt x="109605" y="1260"/>
                    <a:pt x="108345" y="1260"/>
                    <a:pt x="107085" y="1260"/>
                  </a:cubicBezTo>
                  <a:cubicBezTo>
                    <a:pt x="104565" y="1260"/>
                    <a:pt x="102046" y="1260"/>
                    <a:pt x="99526" y="1260"/>
                  </a:cubicBezTo>
                  <a:cubicBezTo>
                    <a:pt x="98266" y="1260"/>
                    <a:pt x="95747" y="1260"/>
                    <a:pt x="94487" y="1260"/>
                  </a:cubicBezTo>
                  <a:cubicBezTo>
                    <a:pt x="90707" y="1260"/>
                    <a:pt x="88188" y="1260"/>
                    <a:pt x="84408" y="0"/>
                  </a:cubicBezTo>
                  <a:cubicBezTo>
                    <a:pt x="80629" y="0"/>
                    <a:pt x="76849" y="0"/>
                    <a:pt x="73070" y="0"/>
                  </a:cubicBezTo>
                  <a:cubicBezTo>
                    <a:pt x="65511" y="0"/>
                    <a:pt x="56692" y="0"/>
                    <a:pt x="49133" y="0"/>
                  </a:cubicBezTo>
                  <a:cubicBezTo>
                    <a:pt x="46613" y="0"/>
                    <a:pt x="44094" y="0"/>
                    <a:pt x="40314" y="0"/>
                  </a:cubicBezTo>
                  <a:cubicBezTo>
                    <a:pt x="37795" y="0"/>
                    <a:pt x="35275" y="0"/>
                    <a:pt x="32755" y="0"/>
                  </a:cubicBezTo>
                  <a:cubicBezTo>
                    <a:pt x="30236" y="0"/>
                    <a:pt x="27716" y="0"/>
                    <a:pt x="25196" y="0"/>
                  </a:cubicBezTo>
                  <a:cubicBezTo>
                    <a:pt x="23937" y="0"/>
                    <a:pt x="22677" y="0"/>
                    <a:pt x="21417" y="0"/>
                  </a:cubicBezTo>
                  <a:cubicBezTo>
                    <a:pt x="20157" y="0"/>
                    <a:pt x="18897" y="0"/>
                    <a:pt x="17638" y="0"/>
                  </a:cubicBezTo>
                  <a:cubicBezTo>
                    <a:pt x="15118" y="0"/>
                    <a:pt x="12598" y="0"/>
                    <a:pt x="11339" y="1260"/>
                  </a:cubicBezTo>
                  <a:cubicBezTo>
                    <a:pt x="8819" y="1260"/>
                    <a:pt x="6299" y="1260"/>
                    <a:pt x="3780" y="2519"/>
                  </a:cubicBezTo>
                  <a:cubicBezTo>
                    <a:pt x="2520" y="2519"/>
                    <a:pt x="1260" y="2519"/>
                    <a:pt x="1260" y="3779"/>
                  </a:cubicBezTo>
                  <a:cubicBezTo>
                    <a:pt x="1260" y="3779"/>
                    <a:pt x="1260" y="3779"/>
                    <a:pt x="1260" y="3779"/>
                  </a:cubicBezTo>
                  <a:cubicBezTo>
                    <a:pt x="0" y="5039"/>
                    <a:pt x="0" y="5039"/>
                    <a:pt x="0" y="6299"/>
                  </a:cubicBezTo>
                  <a:lnTo>
                    <a:pt x="0" y="51652"/>
                  </a:lnTo>
                  <a:cubicBezTo>
                    <a:pt x="0" y="54172"/>
                    <a:pt x="0" y="56692"/>
                    <a:pt x="0" y="59211"/>
                  </a:cubicBezTo>
                  <a:cubicBezTo>
                    <a:pt x="0" y="60471"/>
                    <a:pt x="0" y="60471"/>
                    <a:pt x="0" y="61731"/>
                  </a:cubicBezTo>
                  <a:cubicBezTo>
                    <a:pt x="0" y="62991"/>
                    <a:pt x="0" y="64251"/>
                    <a:pt x="0" y="66770"/>
                  </a:cubicBezTo>
                  <a:cubicBezTo>
                    <a:pt x="0" y="68030"/>
                    <a:pt x="0" y="69290"/>
                    <a:pt x="0" y="70550"/>
                  </a:cubicBezTo>
                  <a:cubicBezTo>
                    <a:pt x="0" y="70550"/>
                    <a:pt x="0" y="70550"/>
                    <a:pt x="0" y="70550"/>
                  </a:cubicBezTo>
                  <a:lnTo>
                    <a:pt x="0" y="83148"/>
                  </a:lnTo>
                  <a:cubicBezTo>
                    <a:pt x="1260" y="83148"/>
                    <a:pt x="2520" y="81889"/>
                    <a:pt x="3780" y="81889"/>
                  </a:cubicBezTo>
                  <a:cubicBezTo>
                    <a:pt x="3780" y="81889"/>
                    <a:pt x="3780" y="81889"/>
                    <a:pt x="3780" y="81889"/>
                  </a:cubicBezTo>
                  <a:cubicBezTo>
                    <a:pt x="6299" y="84408"/>
                    <a:pt x="8819" y="84408"/>
                    <a:pt x="11339" y="85668"/>
                  </a:cubicBezTo>
                  <a:cubicBezTo>
                    <a:pt x="12598" y="85668"/>
                    <a:pt x="15118" y="86928"/>
                    <a:pt x="17638" y="86928"/>
                  </a:cubicBezTo>
                  <a:lnTo>
                    <a:pt x="18897" y="86928"/>
                  </a:lnTo>
                  <a:cubicBezTo>
                    <a:pt x="23937" y="88188"/>
                    <a:pt x="28976" y="88188"/>
                    <a:pt x="34015" y="88188"/>
                  </a:cubicBezTo>
                  <a:cubicBezTo>
                    <a:pt x="34015" y="88188"/>
                    <a:pt x="34015" y="88188"/>
                    <a:pt x="35275" y="88188"/>
                  </a:cubicBezTo>
                  <a:cubicBezTo>
                    <a:pt x="36535" y="88188"/>
                    <a:pt x="37795" y="88188"/>
                    <a:pt x="40314" y="86928"/>
                  </a:cubicBezTo>
                  <a:cubicBezTo>
                    <a:pt x="41574" y="86928"/>
                    <a:pt x="44094" y="85668"/>
                    <a:pt x="45354" y="84408"/>
                  </a:cubicBezTo>
                  <a:cubicBezTo>
                    <a:pt x="46613" y="83148"/>
                    <a:pt x="49133" y="81889"/>
                    <a:pt x="50393" y="80629"/>
                  </a:cubicBezTo>
                  <a:cubicBezTo>
                    <a:pt x="50393" y="80629"/>
                    <a:pt x="50393" y="80629"/>
                    <a:pt x="51653" y="81889"/>
                  </a:cubicBezTo>
                  <a:cubicBezTo>
                    <a:pt x="52913" y="81889"/>
                    <a:pt x="52913" y="83148"/>
                    <a:pt x="54172" y="83148"/>
                  </a:cubicBezTo>
                  <a:cubicBezTo>
                    <a:pt x="55432" y="83148"/>
                    <a:pt x="56692" y="84408"/>
                    <a:pt x="57952" y="84408"/>
                  </a:cubicBezTo>
                  <a:cubicBezTo>
                    <a:pt x="59212" y="84408"/>
                    <a:pt x="59212" y="84408"/>
                    <a:pt x="60472" y="84408"/>
                  </a:cubicBezTo>
                  <a:cubicBezTo>
                    <a:pt x="62991" y="84408"/>
                    <a:pt x="64251" y="84408"/>
                    <a:pt x="66771" y="84408"/>
                  </a:cubicBezTo>
                  <a:cubicBezTo>
                    <a:pt x="71810" y="84408"/>
                    <a:pt x="75589" y="84408"/>
                    <a:pt x="80629" y="85668"/>
                  </a:cubicBezTo>
                  <a:cubicBezTo>
                    <a:pt x="84408" y="85668"/>
                    <a:pt x="89448" y="85668"/>
                    <a:pt x="93227" y="85668"/>
                  </a:cubicBezTo>
                  <a:cubicBezTo>
                    <a:pt x="102046" y="85668"/>
                    <a:pt x="109605" y="85668"/>
                    <a:pt x="118424" y="85668"/>
                  </a:cubicBezTo>
                  <a:cubicBezTo>
                    <a:pt x="120943" y="85668"/>
                    <a:pt x="122203" y="85668"/>
                    <a:pt x="124723" y="85668"/>
                  </a:cubicBezTo>
                  <a:cubicBezTo>
                    <a:pt x="127242" y="85668"/>
                    <a:pt x="128502" y="85668"/>
                    <a:pt x="131022" y="85668"/>
                  </a:cubicBezTo>
                  <a:cubicBezTo>
                    <a:pt x="134801" y="85668"/>
                    <a:pt x="138581" y="85668"/>
                    <a:pt x="143620" y="85668"/>
                  </a:cubicBezTo>
                  <a:cubicBezTo>
                    <a:pt x="147399" y="85668"/>
                    <a:pt x="151179" y="85668"/>
                    <a:pt x="153698" y="85668"/>
                  </a:cubicBezTo>
                  <a:cubicBezTo>
                    <a:pt x="157478" y="85668"/>
                    <a:pt x="161257" y="85668"/>
                    <a:pt x="165037" y="86928"/>
                  </a:cubicBezTo>
                  <a:cubicBezTo>
                    <a:pt x="168816" y="86928"/>
                    <a:pt x="172596" y="86928"/>
                    <a:pt x="176375" y="86928"/>
                  </a:cubicBezTo>
                  <a:cubicBezTo>
                    <a:pt x="180155" y="86928"/>
                    <a:pt x="183934" y="86928"/>
                    <a:pt x="186454" y="86928"/>
                  </a:cubicBezTo>
                  <a:lnTo>
                    <a:pt x="185194" y="86928"/>
                  </a:lnTo>
                  <a:cubicBezTo>
                    <a:pt x="188973" y="86928"/>
                    <a:pt x="192753" y="86928"/>
                    <a:pt x="196533" y="86928"/>
                  </a:cubicBezTo>
                  <a:cubicBezTo>
                    <a:pt x="199052" y="86928"/>
                    <a:pt x="201572" y="86928"/>
                    <a:pt x="204091" y="86928"/>
                  </a:cubicBezTo>
                  <a:cubicBezTo>
                    <a:pt x="204091" y="86928"/>
                    <a:pt x="205351" y="86928"/>
                    <a:pt x="205351" y="86928"/>
                  </a:cubicBezTo>
                  <a:lnTo>
                    <a:pt x="205351" y="86928"/>
                  </a:lnTo>
                  <a:cubicBezTo>
                    <a:pt x="210390" y="86928"/>
                    <a:pt x="215430" y="88188"/>
                    <a:pt x="220469" y="88188"/>
                  </a:cubicBezTo>
                  <a:cubicBezTo>
                    <a:pt x="225508" y="88188"/>
                    <a:pt x="230548" y="88188"/>
                    <a:pt x="235587" y="88188"/>
                  </a:cubicBezTo>
                  <a:lnTo>
                    <a:pt x="235587" y="88188"/>
                  </a:lnTo>
                  <a:cubicBezTo>
                    <a:pt x="238107" y="88188"/>
                    <a:pt x="239366" y="88188"/>
                    <a:pt x="241886" y="88188"/>
                  </a:cubicBezTo>
                  <a:lnTo>
                    <a:pt x="243146" y="88188"/>
                  </a:lnTo>
                  <a:cubicBezTo>
                    <a:pt x="244406" y="88188"/>
                    <a:pt x="246925" y="88188"/>
                    <a:pt x="248185" y="88188"/>
                  </a:cubicBezTo>
                  <a:cubicBezTo>
                    <a:pt x="250705" y="88188"/>
                    <a:pt x="253225" y="88188"/>
                    <a:pt x="254484" y="88188"/>
                  </a:cubicBezTo>
                  <a:cubicBezTo>
                    <a:pt x="258264" y="88188"/>
                    <a:pt x="262043" y="88188"/>
                    <a:pt x="265823" y="88188"/>
                  </a:cubicBezTo>
                  <a:cubicBezTo>
                    <a:pt x="269602" y="88188"/>
                    <a:pt x="272122" y="88188"/>
                    <a:pt x="275901" y="88188"/>
                  </a:cubicBezTo>
                  <a:cubicBezTo>
                    <a:pt x="275901" y="88188"/>
                    <a:pt x="274642" y="88188"/>
                    <a:pt x="274642" y="88188"/>
                  </a:cubicBezTo>
                  <a:cubicBezTo>
                    <a:pt x="279681" y="88188"/>
                    <a:pt x="283460" y="88188"/>
                    <a:pt x="288500" y="88188"/>
                  </a:cubicBezTo>
                  <a:cubicBezTo>
                    <a:pt x="291019" y="88188"/>
                    <a:pt x="292279" y="88188"/>
                    <a:pt x="294799" y="86928"/>
                  </a:cubicBezTo>
                  <a:cubicBezTo>
                    <a:pt x="297318" y="86928"/>
                    <a:pt x="298578" y="85668"/>
                    <a:pt x="299838" y="83148"/>
                  </a:cubicBezTo>
                  <a:cubicBezTo>
                    <a:pt x="299838" y="83148"/>
                    <a:pt x="299838" y="81889"/>
                    <a:pt x="299838" y="81889"/>
                  </a:cubicBezTo>
                  <a:cubicBezTo>
                    <a:pt x="296058" y="81889"/>
                    <a:pt x="296058" y="81889"/>
                    <a:pt x="296058" y="80629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/>
            <p:cNvSpPr/>
            <p:nvPr/>
          </p:nvSpPr>
          <p:spPr>
            <a:xfrm>
              <a:off x="3063346" y="4559061"/>
              <a:ext cx="277161" cy="176375"/>
            </a:xfrm>
            <a:custGeom>
              <a:avLst/>
              <a:gdLst>
                <a:gd name="connsiteX0" fmla="*/ 279681 w 277161"/>
                <a:gd name="connsiteY0" fmla="*/ 167556 h 176375"/>
                <a:gd name="connsiteX1" fmla="*/ 278421 w 277161"/>
                <a:gd name="connsiteY1" fmla="*/ 163777 h 176375"/>
                <a:gd name="connsiteX2" fmla="*/ 274642 w 277161"/>
                <a:gd name="connsiteY2" fmla="*/ 158737 h 176375"/>
                <a:gd name="connsiteX3" fmla="*/ 270862 w 277161"/>
                <a:gd name="connsiteY3" fmla="*/ 153698 h 176375"/>
                <a:gd name="connsiteX4" fmla="*/ 262043 w 277161"/>
                <a:gd name="connsiteY4" fmla="*/ 143620 h 176375"/>
                <a:gd name="connsiteX5" fmla="*/ 243146 w 277161"/>
                <a:gd name="connsiteY5" fmla="*/ 125982 h 176375"/>
                <a:gd name="connsiteX6" fmla="*/ 234327 w 277161"/>
                <a:gd name="connsiteY6" fmla="*/ 118423 h 176375"/>
                <a:gd name="connsiteX7" fmla="*/ 224249 w 277161"/>
                <a:gd name="connsiteY7" fmla="*/ 109604 h 176375"/>
                <a:gd name="connsiteX8" fmla="*/ 214170 w 277161"/>
                <a:gd name="connsiteY8" fmla="*/ 102045 h 176375"/>
                <a:gd name="connsiteX9" fmla="*/ 212910 w 277161"/>
                <a:gd name="connsiteY9" fmla="*/ 100786 h 176375"/>
                <a:gd name="connsiteX10" fmla="*/ 201572 w 277161"/>
                <a:gd name="connsiteY10" fmla="*/ 89447 h 176375"/>
                <a:gd name="connsiteX11" fmla="*/ 190233 w 277161"/>
                <a:gd name="connsiteY11" fmla="*/ 78109 h 176375"/>
                <a:gd name="connsiteX12" fmla="*/ 178895 w 277161"/>
                <a:gd name="connsiteY12" fmla="*/ 68030 h 176375"/>
                <a:gd name="connsiteX13" fmla="*/ 172596 w 277161"/>
                <a:gd name="connsiteY13" fmla="*/ 62991 h 176375"/>
                <a:gd name="connsiteX14" fmla="*/ 166297 w 277161"/>
                <a:gd name="connsiteY14" fmla="*/ 57952 h 176375"/>
                <a:gd name="connsiteX15" fmla="*/ 159998 w 277161"/>
                <a:gd name="connsiteY15" fmla="*/ 52912 h 176375"/>
                <a:gd name="connsiteX16" fmla="*/ 153698 w 277161"/>
                <a:gd name="connsiteY16" fmla="*/ 49133 h 176375"/>
                <a:gd name="connsiteX17" fmla="*/ 147399 w 277161"/>
                <a:gd name="connsiteY17" fmla="*/ 44094 h 176375"/>
                <a:gd name="connsiteX18" fmla="*/ 141100 w 277161"/>
                <a:gd name="connsiteY18" fmla="*/ 39054 h 176375"/>
                <a:gd name="connsiteX19" fmla="*/ 134801 w 277161"/>
                <a:gd name="connsiteY19" fmla="*/ 35275 h 176375"/>
                <a:gd name="connsiteX20" fmla="*/ 131022 w 277161"/>
                <a:gd name="connsiteY20" fmla="*/ 32755 h 176375"/>
                <a:gd name="connsiteX21" fmla="*/ 128502 w 277161"/>
                <a:gd name="connsiteY21" fmla="*/ 31496 h 176375"/>
                <a:gd name="connsiteX22" fmla="*/ 120943 w 277161"/>
                <a:gd name="connsiteY22" fmla="*/ 28976 h 176375"/>
                <a:gd name="connsiteX23" fmla="*/ 115904 w 277161"/>
                <a:gd name="connsiteY23" fmla="*/ 27716 h 176375"/>
                <a:gd name="connsiteX24" fmla="*/ 107085 w 277161"/>
                <a:gd name="connsiteY24" fmla="*/ 23937 h 176375"/>
                <a:gd name="connsiteX25" fmla="*/ 97006 w 277161"/>
                <a:gd name="connsiteY25" fmla="*/ 20157 h 176375"/>
                <a:gd name="connsiteX26" fmla="*/ 74329 w 277161"/>
                <a:gd name="connsiteY26" fmla="*/ 12598 h 176375"/>
                <a:gd name="connsiteX27" fmla="*/ 66771 w 277161"/>
                <a:gd name="connsiteY27" fmla="*/ 10078 h 176375"/>
                <a:gd name="connsiteX28" fmla="*/ 59212 w 277161"/>
                <a:gd name="connsiteY28" fmla="*/ 7559 h 176375"/>
                <a:gd name="connsiteX29" fmla="*/ 51653 w 277161"/>
                <a:gd name="connsiteY29" fmla="*/ 5039 h 176375"/>
                <a:gd name="connsiteX30" fmla="*/ 49133 w 277161"/>
                <a:gd name="connsiteY30" fmla="*/ 3779 h 176375"/>
                <a:gd name="connsiteX31" fmla="*/ 45354 w 277161"/>
                <a:gd name="connsiteY31" fmla="*/ 2519 h 176375"/>
                <a:gd name="connsiteX32" fmla="*/ 39055 w 277161"/>
                <a:gd name="connsiteY32" fmla="*/ 1260 h 176375"/>
                <a:gd name="connsiteX33" fmla="*/ 31496 w 277161"/>
                <a:gd name="connsiteY33" fmla="*/ 0 h 176375"/>
                <a:gd name="connsiteX34" fmla="*/ 27716 w 277161"/>
                <a:gd name="connsiteY34" fmla="*/ 0 h 176375"/>
                <a:gd name="connsiteX35" fmla="*/ 27716 w 277161"/>
                <a:gd name="connsiteY35" fmla="*/ 0 h 176375"/>
                <a:gd name="connsiteX36" fmla="*/ 25196 w 277161"/>
                <a:gd name="connsiteY36" fmla="*/ 1260 h 176375"/>
                <a:gd name="connsiteX37" fmla="*/ 10079 w 277161"/>
                <a:gd name="connsiteY37" fmla="*/ 44094 h 176375"/>
                <a:gd name="connsiteX38" fmla="*/ 7559 w 277161"/>
                <a:gd name="connsiteY38" fmla="*/ 51652 h 176375"/>
                <a:gd name="connsiteX39" fmla="*/ 6299 w 277161"/>
                <a:gd name="connsiteY39" fmla="*/ 54172 h 176375"/>
                <a:gd name="connsiteX40" fmla="*/ 5039 w 277161"/>
                <a:gd name="connsiteY40" fmla="*/ 59211 h 176375"/>
                <a:gd name="connsiteX41" fmla="*/ 3780 w 277161"/>
                <a:gd name="connsiteY41" fmla="*/ 62991 h 176375"/>
                <a:gd name="connsiteX42" fmla="*/ 3780 w 277161"/>
                <a:gd name="connsiteY42" fmla="*/ 62991 h 176375"/>
                <a:gd name="connsiteX43" fmla="*/ 0 w 277161"/>
                <a:gd name="connsiteY43" fmla="*/ 74330 h 176375"/>
                <a:gd name="connsiteX44" fmla="*/ 3780 w 277161"/>
                <a:gd name="connsiteY44" fmla="*/ 74330 h 176375"/>
                <a:gd name="connsiteX45" fmla="*/ 3780 w 277161"/>
                <a:gd name="connsiteY45" fmla="*/ 74330 h 176375"/>
                <a:gd name="connsiteX46" fmla="*/ 8819 w 277161"/>
                <a:gd name="connsiteY46" fmla="*/ 79369 h 176375"/>
                <a:gd name="connsiteX47" fmla="*/ 13858 w 277161"/>
                <a:gd name="connsiteY47" fmla="*/ 81889 h 176375"/>
                <a:gd name="connsiteX48" fmla="*/ 15118 w 277161"/>
                <a:gd name="connsiteY48" fmla="*/ 83148 h 176375"/>
                <a:gd name="connsiteX49" fmla="*/ 27716 w 277161"/>
                <a:gd name="connsiteY49" fmla="*/ 89447 h 176375"/>
                <a:gd name="connsiteX50" fmla="*/ 28976 w 277161"/>
                <a:gd name="connsiteY50" fmla="*/ 89447 h 176375"/>
                <a:gd name="connsiteX51" fmla="*/ 34015 w 277161"/>
                <a:gd name="connsiteY51" fmla="*/ 90707 h 176375"/>
                <a:gd name="connsiteX52" fmla="*/ 39055 w 277161"/>
                <a:gd name="connsiteY52" fmla="*/ 89447 h 176375"/>
                <a:gd name="connsiteX53" fmla="*/ 45354 w 277161"/>
                <a:gd name="connsiteY53" fmla="*/ 88188 h 176375"/>
                <a:gd name="connsiteX54" fmla="*/ 45354 w 277161"/>
                <a:gd name="connsiteY54" fmla="*/ 89447 h 176375"/>
                <a:gd name="connsiteX55" fmla="*/ 47873 w 277161"/>
                <a:gd name="connsiteY55" fmla="*/ 91967 h 176375"/>
                <a:gd name="connsiteX56" fmla="*/ 50393 w 277161"/>
                <a:gd name="connsiteY56" fmla="*/ 94487 h 176375"/>
                <a:gd name="connsiteX57" fmla="*/ 52913 w 277161"/>
                <a:gd name="connsiteY57" fmla="*/ 95746 h 176375"/>
                <a:gd name="connsiteX58" fmla="*/ 57952 w 277161"/>
                <a:gd name="connsiteY58" fmla="*/ 98266 h 176375"/>
                <a:gd name="connsiteX59" fmla="*/ 70550 w 277161"/>
                <a:gd name="connsiteY59" fmla="*/ 103305 h 176375"/>
                <a:gd name="connsiteX60" fmla="*/ 81889 w 277161"/>
                <a:gd name="connsiteY60" fmla="*/ 108344 h 176375"/>
                <a:gd name="connsiteX61" fmla="*/ 105825 w 277161"/>
                <a:gd name="connsiteY61" fmla="*/ 115904 h 176375"/>
                <a:gd name="connsiteX62" fmla="*/ 110864 w 277161"/>
                <a:gd name="connsiteY62" fmla="*/ 117163 h 176375"/>
                <a:gd name="connsiteX63" fmla="*/ 117164 w 277161"/>
                <a:gd name="connsiteY63" fmla="*/ 119683 h 176375"/>
                <a:gd name="connsiteX64" fmla="*/ 128502 w 277161"/>
                <a:gd name="connsiteY64" fmla="*/ 123463 h 176375"/>
                <a:gd name="connsiteX65" fmla="*/ 138581 w 277161"/>
                <a:gd name="connsiteY65" fmla="*/ 127242 h 176375"/>
                <a:gd name="connsiteX66" fmla="*/ 148659 w 277161"/>
                <a:gd name="connsiteY66" fmla="*/ 132281 h 176375"/>
                <a:gd name="connsiteX67" fmla="*/ 158738 w 277161"/>
                <a:gd name="connsiteY67" fmla="*/ 136061 h 176375"/>
                <a:gd name="connsiteX68" fmla="*/ 168816 w 277161"/>
                <a:gd name="connsiteY68" fmla="*/ 139840 h 176375"/>
                <a:gd name="connsiteX69" fmla="*/ 167557 w 277161"/>
                <a:gd name="connsiteY69" fmla="*/ 139840 h 176375"/>
                <a:gd name="connsiteX70" fmla="*/ 178895 w 277161"/>
                <a:gd name="connsiteY70" fmla="*/ 143620 h 176375"/>
                <a:gd name="connsiteX71" fmla="*/ 186454 w 277161"/>
                <a:gd name="connsiteY71" fmla="*/ 146139 h 176375"/>
                <a:gd name="connsiteX72" fmla="*/ 187714 w 277161"/>
                <a:gd name="connsiteY72" fmla="*/ 147399 h 176375"/>
                <a:gd name="connsiteX73" fmla="*/ 187714 w 277161"/>
                <a:gd name="connsiteY73" fmla="*/ 147399 h 176375"/>
                <a:gd name="connsiteX74" fmla="*/ 201572 w 277161"/>
                <a:gd name="connsiteY74" fmla="*/ 153698 h 176375"/>
                <a:gd name="connsiteX75" fmla="*/ 215430 w 277161"/>
                <a:gd name="connsiteY75" fmla="*/ 158737 h 176375"/>
                <a:gd name="connsiteX76" fmla="*/ 215430 w 277161"/>
                <a:gd name="connsiteY76" fmla="*/ 158737 h 176375"/>
                <a:gd name="connsiteX77" fmla="*/ 221729 w 277161"/>
                <a:gd name="connsiteY77" fmla="*/ 161257 h 176375"/>
                <a:gd name="connsiteX78" fmla="*/ 222989 w 277161"/>
                <a:gd name="connsiteY78" fmla="*/ 161257 h 176375"/>
                <a:gd name="connsiteX79" fmla="*/ 228028 w 277161"/>
                <a:gd name="connsiteY79" fmla="*/ 162517 h 176375"/>
                <a:gd name="connsiteX80" fmla="*/ 234327 w 277161"/>
                <a:gd name="connsiteY80" fmla="*/ 165037 h 176375"/>
                <a:gd name="connsiteX81" fmla="*/ 244406 w 277161"/>
                <a:gd name="connsiteY81" fmla="*/ 168816 h 176375"/>
                <a:gd name="connsiteX82" fmla="*/ 254484 w 277161"/>
                <a:gd name="connsiteY82" fmla="*/ 172596 h 176375"/>
                <a:gd name="connsiteX83" fmla="*/ 253225 w 277161"/>
                <a:gd name="connsiteY83" fmla="*/ 172596 h 176375"/>
                <a:gd name="connsiteX84" fmla="*/ 265823 w 277161"/>
                <a:gd name="connsiteY84" fmla="*/ 176375 h 176375"/>
                <a:gd name="connsiteX85" fmla="*/ 272122 w 277161"/>
                <a:gd name="connsiteY85" fmla="*/ 177635 h 176375"/>
                <a:gd name="connsiteX86" fmla="*/ 278421 w 277161"/>
                <a:gd name="connsiteY86" fmla="*/ 176375 h 176375"/>
                <a:gd name="connsiteX87" fmla="*/ 279681 w 277161"/>
                <a:gd name="connsiteY87" fmla="*/ 175115 h 176375"/>
                <a:gd name="connsiteX88" fmla="*/ 279681 w 277161"/>
                <a:gd name="connsiteY88" fmla="*/ 167556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77161" h="176375">
                  <a:moveTo>
                    <a:pt x="279681" y="167556"/>
                  </a:moveTo>
                  <a:cubicBezTo>
                    <a:pt x="279681" y="166296"/>
                    <a:pt x="278421" y="165037"/>
                    <a:pt x="278421" y="163777"/>
                  </a:cubicBezTo>
                  <a:cubicBezTo>
                    <a:pt x="277161" y="161257"/>
                    <a:pt x="275901" y="159997"/>
                    <a:pt x="274642" y="158737"/>
                  </a:cubicBezTo>
                  <a:cubicBezTo>
                    <a:pt x="273382" y="157478"/>
                    <a:pt x="272122" y="154958"/>
                    <a:pt x="270862" y="153698"/>
                  </a:cubicBezTo>
                  <a:cubicBezTo>
                    <a:pt x="268342" y="149919"/>
                    <a:pt x="264563" y="147399"/>
                    <a:pt x="262043" y="143620"/>
                  </a:cubicBezTo>
                  <a:cubicBezTo>
                    <a:pt x="255744" y="137321"/>
                    <a:pt x="249445" y="131022"/>
                    <a:pt x="243146" y="125982"/>
                  </a:cubicBezTo>
                  <a:cubicBezTo>
                    <a:pt x="240626" y="123463"/>
                    <a:pt x="236847" y="120943"/>
                    <a:pt x="234327" y="118423"/>
                  </a:cubicBezTo>
                  <a:cubicBezTo>
                    <a:pt x="230548" y="115904"/>
                    <a:pt x="228028" y="113384"/>
                    <a:pt x="224249" y="109604"/>
                  </a:cubicBezTo>
                  <a:cubicBezTo>
                    <a:pt x="220469" y="107085"/>
                    <a:pt x="217949" y="104565"/>
                    <a:pt x="214170" y="102045"/>
                  </a:cubicBezTo>
                  <a:cubicBezTo>
                    <a:pt x="214170" y="102045"/>
                    <a:pt x="212910" y="100786"/>
                    <a:pt x="212910" y="100786"/>
                  </a:cubicBezTo>
                  <a:cubicBezTo>
                    <a:pt x="209131" y="97006"/>
                    <a:pt x="205351" y="93227"/>
                    <a:pt x="201572" y="89447"/>
                  </a:cubicBezTo>
                  <a:cubicBezTo>
                    <a:pt x="197792" y="85668"/>
                    <a:pt x="194013" y="81889"/>
                    <a:pt x="190233" y="78109"/>
                  </a:cubicBezTo>
                  <a:cubicBezTo>
                    <a:pt x="186454" y="74330"/>
                    <a:pt x="182674" y="70550"/>
                    <a:pt x="178895" y="68030"/>
                  </a:cubicBezTo>
                  <a:cubicBezTo>
                    <a:pt x="176375" y="66770"/>
                    <a:pt x="175115" y="64251"/>
                    <a:pt x="172596" y="62991"/>
                  </a:cubicBezTo>
                  <a:cubicBezTo>
                    <a:pt x="170076" y="61731"/>
                    <a:pt x="168816" y="59211"/>
                    <a:pt x="166297" y="57952"/>
                  </a:cubicBezTo>
                  <a:cubicBezTo>
                    <a:pt x="163777" y="56692"/>
                    <a:pt x="162517" y="54172"/>
                    <a:pt x="159998" y="52912"/>
                  </a:cubicBezTo>
                  <a:cubicBezTo>
                    <a:pt x="157478" y="51652"/>
                    <a:pt x="156218" y="50393"/>
                    <a:pt x="153698" y="49133"/>
                  </a:cubicBezTo>
                  <a:cubicBezTo>
                    <a:pt x="151179" y="47873"/>
                    <a:pt x="149919" y="45353"/>
                    <a:pt x="147399" y="44094"/>
                  </a:cubicBezTo>
                  <a:cubicBezTo>
                    <a:pt x="144880" y="42834"/>
                    <a:pt x="143620" y="41574"/>
                    <a:pt x="141100" y="39054"/>
                  </a:cubicBezTo>
                  <a:cubicBezTo>
                    <a:pt x="138581" y="37795"/>
                    <a:pt x="137321" y="36535"/>
                    <a:pt x="134801" y="35275"/>
                  </a:cubicBezTo>
                  <a:cubicBezTo>
                    <a:pt x="133541" y="34015"/>
                    <a:pt x="132281" y="34015"/>
                    <a:pt x="131022" y="32755"/>
                  </a:cubicBezTo>
                  <a:cubicBezTo>
                    <a:pt x="129762" y="32755"/>
                    <a:pt x="129762" y="31496"/>
                    <a:pt x="128502" y="31496"/>
                  </a:cubicBezTo>
                  <a:cubicBezTo>
                    <a:pt x="125982" y="30236"/>
                    <a:pt x="123463" y="30236"/>
                    <a:pt x="120943" y="28976"/>
                  </a:cubicBezTo>
                  <a:cubicBezTo>
                    <a:pt x="119683" y="28976"/>
                    <a:pt x="117164" y="27716"/>
                    <a:pt x="115904" y="27716"/>
                  </a:cubicBezTo>
                  <a:cubicBezTo>
                    <a:pt x="113384" y="26456"/>
                    <a:pt x="109605" y="25196"/>
                    <a:pt x="107085" y="23937"/>
                  </a:cubicBezTo>
                  <a:cubicBezTo>
                    <a:pt x="103305" y="22677"/>
                    <a:pt x="99526" y="21417"/>
                    <a:pt x="97006" y="20157"/>
                  </a:cubicBezTo>
                  <a:cubicBezTo>
                    <a:pt x="89448" y="17637"/>
                    <a:pt x="81889" y="15118"/>
                    <a:pt x="74329" y="12598"/>
                  </a:cubicBezTo>
                  <a:cubicBezTo>
                    <a:pt x="71810" y="11338"/>
                    <a:pt x="69290" y="10078"/>
                    <a:pt x="66771" y="10078"/>
                  </a:cubicBezTo>
                  <a:cubicBezTo>
                    <a:pt x="64251" y="8819"/>
                    <a:pt x="61731" y="8819"/>
                    <a:pt x="59212" y="7559"/>
                  </a:cubicBezTo>
                  <a:cubicBezTo>
                    <a:pt x="56692" y="6299"/>
                    <a:pt x="54172" y="6299"/>
                    <a:pt x="51653" y="5039"/>
                  </a:cubicBezTo>
                  <a:cubicBezTo>
                    <a:pt x="50393" y="5039"/>
                    <a:pt x="49133" y="3779"/>
                    <a:pt x="49133" y="3779"/>
                  </a:cubicBezTo>
                  <a:cubicBezTo>
                    <a:pt x="47873" y="3779"/>
                    <a:pt x="46613" y="2519"/>
                    <a:pt x="45354" y="2519"/>
                  </a:cubicBezTo>
                  <a:cubicBezTo>
                    <a:pt x="42834" y="2519"/>
                    <a:pt x="40314" y="1260"/>
                    <a:pt x="39055" y="1260"/>
                  </a:cubicBezTo>
                  <a:cubicBezTo>
                    <a:pt x="36535" y="1260"/>
                    <a:pt x="34015" y="0"/>
                    <a:pt x="31496" y="0"/>
                  </a:cubicBezTo>
                  <a:cubicBezTo>
                    <a:pt x="30236" y="0"/>
                    <a:pt x="28976" y="0"/>
                    <a:pt x="27716" y="0"/>
                  </a:cubicBezTo>
                  <a:cubicBezTo>
                    <a:pt x="27716" y="0"/>
                    <a:pt x="27716" y="0"/>
                    <a:pt x="27716" y="0"/>
                  </a:cubicBezTo>
                  <a:cubicBezTo>
                    <a:pt x="26456" y="0"/>
                    <a:pt x="26456" y="1260"/>
                    <a:pt x="25196" y="1260"/>
                  </a:cubicBezTo>
                  <a:lnTo>
                    <a:pt x="10079" y="44094"/>
                  </a:lnTo>
                  <a:cubicBezTo>
                    <a:pt x="8819" y="46613"/>
                    <a:pt x="8819" y="49133"/>
                    <a:pt x="7559" y="51652"/>
                  </a:cubicBezTo>
                  <a:cubicBezTo>
                    <a:pt x="7559" y="52912"/>
                    <a:pt x="7559" y="52912"/>
                    <a:pt x="6299" y="54172"/>
                  </a:cubicBezTo>
                  <a:cubicBezTo>
                    <a:pt x="6299" y="55432"/>
                    <a:pt x="5039" y="56692"/>
                    <a:pt x="5039" y="59211"/>
                  </a:cubicBezTo>
                  <a:cubicBezTo>
                    <a:pt x="5039" y="60471"/>
                    <a:pt x="3780" y="61731"/>
                    <a:pt x="3780" y="62991"/>
                  </a:cubicBezTo>
                  <a:cubicBezTo>
                    <a:pt x="3780" y="62991"/>
                    <a:pt x="3780" y="62991"/>
                    <a:pt x="3780" y="62991"/>
                  </a:cubicBezTo>
                  <a:lnTo>
                    <a:pt x="0" y="74330"/>
                  </a:lnTo>
                  <a:cubicBezTo>
                    <a:pt x="1260" y="74330"/>
                    <a:pt x="2520" y="74330"/>
                    <a:pt x="3780" y="74330"/>
                  </a:cubicBezTo>
                  <a:cubicBezTo>
                    <a:pt x="3780" y="74330"/>
                    <a:pt x="3780" y="74330"/>
                    <a:pt x="3780" y="74330"/>
                  </a:cubicBezTo>
                  <a:cubicBezTo>
                    <a:pt x="5039" y="76849"/>
                    <a:pt x="7559" y="79369"/>
                    <a:pt x="8819" y="79369"/>
                  </a:cubicBezTo>
                  <a:cubicBezTo>
                    <a:pt x="10079" y="80629"/>
                    <a:pt x="12598" y="81889"/>
                    <a:pt x="13858" y="81889"/>
                  </a:cubicBezTo>
                  <a:lnTo>
                    <a:pt x="15118" y="83148"/>
                  </a:lnTo>
                  <a:cubicBezTo>
                    <a:pt x="18897" y="85668"/>
                    <a:pt x="23937" y="88188"/>
                    <a:pt x="27716" y="89447"/>
                  </a:cubicBezTo>
                  <a:cubicBezTo>
                    <a:pt x="27716" y="89447"/>
                    <a:pt x="27716" y="89447"/>
                    <a:pt x="28976" y="89447"/>
                  </a:cubicBezTo>
                  <a:cubicBezTo>
                    <a:pt x="30236" y="89447"/>
                    <a:pt x="31496" y="90707"/>
                    <a:pt x="34015" y="90707"/>
                  </a:cubicBezTo>
                  <a:cubicBezTo>
                    <a:pt x="36535" y="90707"/>
                    <a:pt x="37795" y="90707"/>
                    <a:pt x="39055" y="89447"/>
                  </a:cubicBezTo>
                  <a:cubicBezTo>
                    <a:pt x="41574" y="89447"/>
                    <a:pt x="42834" y="88188"/>
                    <a:pt x="45354" y="88188"/>
                  </a:cubicBezTo>
                  <a:cubicBezTo>
                    <a:pt x="45354" y="88188"/>
                    <a:pt x="45354" y="89447"/>
                    <a:pt x="45354" y="89447"/>
                  </a:cubicBezTo>
                  <a:cubicBezTo>
                    <a:pt x="45354" y="90707"/>
                    <a:pt x="46613" y="90707"/>
                    <a:pt x="47873" y="91967"/>
                  </a:cubicBezTo>
                  <a:cubicBezTo>
                    <a:pt x="49133" y="93227"/>
                    <a:pt x="49133" y="93227"/>
                    <a:pt x="50393" y="94487"/>
                  </a:cubicBezTo>
                  <a:cubicBezTo>
                    <a:pt x="51653" y="94487"/>
                    <a:pt x="51653" y="95746"/>
                    <a:pt x="52913" y="95746"/>
                  </a:cubicBezTo>
                  <a:cubicBezTo>
                    <a:pt x="54172" y="97006"/>
                    <a:pt x="56692" y="97006"/>
                    <a:pt x="57952" y="98266"/>
                  </a:cubicBezTo>
                  <a:cubicBezTo>
                    <a:pt x="61731" y="99526"/>
                    <a:pt x="66771" y="102045"/>
                    <a:pt x="70550" y="103305"/>
                  </a:cubicBezTo>
                  <a:cubicBezTo>
                    <a:pt x="74329" y="104565"/>
                    <a:pt x="78109" y="107085"/>
                    <a:pt x="81889" y="108344"/>
                  </a:cubicBezTo>
                  <a:cubicBezTo>
                    <a:pt x="89448" y="110864"/>
                    <a:pt x="98266" y="113384"/>
                    <a:pt x="105825" y="115904"/>
                  </a:cubicBezTo>
                  <a:cubicBezTo>
                    <a:pt x="107085" y="115904"/>
                    <a:pt x="109605" y="117163"/>
                    <a:pt x="110864" y="117163"/>
                  </a:cubicBezTo>
                  <a:cubicBezTo>
                    <a:pt x="113384" y="117163"/>
                    <a:pt x="114644" y="118423"/>
                    <a:pt x="117164" y="119683"/>
                  </a:cubicBezTo>
                  <a:cubicBezTo>
                    <a:pt x="120943" y="120943"/>
                    <a:pt x="124722" y="122203"/>
                    <a:pt x="128502" y="123463"/>
                  </a:cubicBezTo>
                  <a:cubicBezTo>
                    <a:pt x="132281" y="124722"/>
                    <a:pt x="134801" y="125982"/>
                    <a:pt x="138581" y="127242"/>
                  </a:cubicBezTo>
                  <a:cubicBezTo>
                    <a:pt x="142360" y="128502"/>
                    <a:pt x="144880" y="129762"/>
                    <a:pt x="148659" y="132281"/>
                  </a:cubicBezTo>
                  <a:cubicBezTo>
                    <a:pt x="152439" y="133541"/>
                    <a:pt x="156218" y="134801"/>
                    <a:pt x="158738" y="136061"/>
                  </a:cubicBezTo>
                  <a:cubicBezTo>
                    <a:pt x="162517" y="137321"/>
                    <a:pt x="165037" y="138581"/>
                    <a:pt x="168816" y="139840"/>
                  </a:cubicBezTo>
                  <a:lnTo>
                    <a:pt x="167557" y="139840"/>
                  </a:lnTo>
                  <a:cubicBezTo>
                    <a:pt x="171336" y="141100"/>
                    <a:pt x="175115" y="142360"/>
                    <a:pt x="178895" y="143620"/>
                  </a:cubicBezTo>
                  <a:cubicBezTo>
                    <a:pt x="181414" y="144880"/>
                    <a:pt x="183934" y="144880"/>
                    <a:pt x="186454" y="146139"/>
                  </a:cubicBezTo>
                  <a:cubicBezTo>
                    <a:pt x="186454" y="146139"/>
                    <a:pt x="187714" y="146139"/>
                    <a:pt x="187714" y="147399"/>
                  </a:cubicBezTo>
                  <a:lnTo>
                    <a:pt x="187714" y="147399"/>
                  </a:lnTo>
                  <a:cubicBezTo>
                    <a:pt x="192753" y="149919"/>
                    <a:pt x="196533" y="151179"/>
                    <a:pt x="201572" y="153698"/>
                  </a:cubicBezTo>
                  <a:cubicBezTo>
                    <a:pt x="206611" y="156218"/>
                    <a:pt x="210390" y="157478"/>
                    <a:pt x="215430" y="158737"/>
                  </a:cubicBezTo>
                  <a:lnTo>
                    <a:pt x="215430" y="158737"/>
                  </a:lnTo>
                  <a:cubicBezTo>
                    <a:pt x="217949" y="159997"/>
                    <a:pt x="219209" y="159997"/>
                    <a:pt x="221729" y="161257"/>
                  </a:cubicBezTo>
                  <a:lnTo>
                    <a:pt x="222989" y="161257"/>
                  </a:lnTo>
                  <a:cubicBezTo>
                    <a:pt x="224249" y="161257"/>
                    <a:pt x="225508" y="162517"/>
                    <a:pt x="228028" y="162517"/>
                  </a:cubicBezTo>
                  <a:cubicBezTo>
                    <a:pt x="230548" y="163777"/>
                    <a:pt x="231807" y="163777"/>
                    <a:pt x="234327" y="165037"/>
                  </a:cubicBezTo>
                  <a:cubicBezTo>
                    <a:pt x="238107" y="166296"/>
                    <a:pt x="241886" y="167556"/>
                    <a:pt x="244406" y="168816"/>
                  </a:cubicBezTo>
                  <a:cubicBezTo>
                    <a:pt x="248185" y="170076"/>
                    <a:pt x="250705" y="171336"/>
                    <a:pt x="254484" y="172596"/>
                  </a:cubicBezTo>
                  <a:cubicBezTo>
                    <a:pt x="254484" y="172596"/>
                    <a:pt x="253225" y="172596"/>
                    <a:pt x="253225" y="172596"/>
                  </a:cubicBezTo>
                  <a:cubicBezTo>
                    <a:pt x="257004" y="173855"/>
                    <a:pt x="262043" y="175115"/>
                    <a:pt x="265823" y="176375"/>
                  </a:cubicBezTo>
                  <a:cubicBezTo>
                    <a:pt x="268342" y="176375"/>
                    <a:pt x="269602" y="177635"/>
                    <a:pt x="272122" y="177635"/>
                  </a:cubicBezTo>
                  <a:cubicBezTo>
                    <a:pt x="274642" y="177635"/>
                    <a:pt x="275901" y="177635"/>
                    <a:pt x="278421" y="176375"/>
                  </a:cubicBezTo>
                  <a:cubicBezTo>
                    <a:pt x="278421" y="176375"/>
                    <a:pt x="279681" y="175115"/>
                    <a:pt x="279681" y="175115"/>
                  </a:cubicBezTo>
                  <a:cubicBezTo>
                    <a:pt x="279681" y="168816"/>
                    <a:pt x="279681" y="167556"/>
                    <a:pt x="279681" y="167556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/>
            <p:cNvSpPr/>
            <p:nvPr/>
          </p:nvSpPr>
          <p:spPr>
            <a:xfrm>
              <a:off x="2646272" y="858628"/>
              <a:ext cx="2406262" cy="1637770"/>
            </a:xfrm>
            <a:custGeom>
              <a:avLst/>
              <a:gdLst>
                <a:gd name="connsiteX0" fmla="*/ 2397516 w 2406262"/>
                <a:gd name="connsiteY0" fmla="*/ 131354 h 1637770"/>
                <a:gd name="connsiteX1" fmla="*/ 2397516 w 2406262"/>
                <a:gd name="connsiteY1" fmla="*/ 131354 h 1637770"/>
                <a:gd name="connsiteX2" fmla="*/ 2349643 w 2406262"/>
                <a:gd name="connsiteY2" fmla="*/ 70882 h 1637770"/>
                <a:gd name="connsiteX3" fmla="*/ 1622725 w 2406262"/>
                <a:gd name="connsiteY3" fmla="*/ 46946 h 1637770"/>
                <a:gd name="connsiteX4" fmla="*/ 1200684 w 2406262"/>
                <a:gd name="connsiteY4" fmla="*/ 301430 h 1637770"/>
                <a:gd name="connsiteX5" fmla="*/ 773604 w 2406262"/>
                <a:gd name="connsiteY5" fmla="*/ 54505 h 1637770"/>
                <a:gd name="connsiteX6" fmla="*/ 46686 w 2406262"/>
                <a:gd name="connsiteY6" fmla="*/ 92299 h 1637770"/>
                <a:gd name="connsiteX7" fmla="*/ 73 w 2406262"/>
                <a:gd name="connsiteY7" fmla="*/ 160330 h 1637770"/>
                <a:gd name="connsiteX8" fmla="*/ 12671 w 2406262"/>
                <a:gd name="connsiteY8" fmla="*/ 1282833 h 1637770"/>
                <a:gd name="connsiteX9" fmla="*/ 12671 w 2406262"/>
                <a:gd name="connsiteY9" fmla="*/ 1290391 h 1637770"/>
                <a:gd name="connsiteX10" fmla="*/ 12671 w 2406262"/>
                <a:gd name="connsiteY10" fmla="*/ 1291651 h 1637770"/>
                <a:gd name="connsiteX11" fmla="*/ 12671 w 2406262"/>
                <a:gd name="connsiteY11" fmla="*/ 1291651 h 1637770"/>
                <a:gd name="connsiteX12" fmla="*/ 24009 w 2406262"/>
                <a:gd name="connsiteY12" fmla="*/ 1321887 h 1637770"/>
                <a:gd name="connsiteX13" fmla="*/ 151251 w 2406262"/>
                <a:gd name="connsiteY13" fmla="*/ 1349603 h 1637770"/>
                <a:gd name="connsiteX14" fmla="*/ 734550 w 2406262"/>
                <a:gd name="connsiteY14" fmla="*/ 1325666 h 1637770"/>
                <a:gd name="connsiteX15" fmla="*/ 1135173 w 2406262"/>
                <a:gd name="connsiteY15" fmla="*/ 1607867 h 1637770"/>
                <a:gd name="connsiteX16" fmla="*/ 1215802 w 2406262"/>
                <a:gd name="connsiteY16" fmla="*/ 1644402 h 1637770"/>
                <a:gd name="connsiteX17" fmla="*/ 1295171 w 2406262"/>
                <a:gd name="connsiteY17" fmla="*/ 1606607 h 1637770"/>
                <a:gd name="connsiteX18" fmla="*/ 1690756 w 2406262"/>
                <a:gd name="connsiteY18" fmla="*/ 1316848 h 1637770"/>
                <a:gd name="connsiteX19" fmla="*/ 2274054 w 2406262"/>
                <a:gd name="connsiteY19" fmla="*/ 1330706 h 1637770"/>
                <a:gd name="connsiteX20" fmla="*/ 2400036 w 2406262"/>
                <a:gd name="connsiteY20" fmla="*/ 1300470 h 1637770"/>
                <a:gd name="connsiteX21" fmla="*/ 2410115 w 2406262"/>
                <a:gd name="connsiteY21" fmla="*/ 1261415 h 1637770"/>
                <a:gd name="connsiteX22" fmla="*/ 2410115 w 2406262"/>
                <a:gd name="connsiteY22" fmla="*/ 1261415 h 1637770"/>
                <a:gd name="connsiteX23" fmla="*/ 2397516 w 2406262"/>
                <a:gd name="connsiteY23" fmla="*/ 131354 h 163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06262" h="1637770">
                  <a:moveTo>
                    <a:pt x="2397516" y="131354"/>
                  </a:moveTo>
                  <a:lnTo>
                    <a:pt x="2397516" y="131354"/>
                  </a:lnTo>
                  <a:cubicBezTo>
                    <a:pt x="2394997" y="106157"/>
                    <a:pt x="2378619" y="82221"/>
                    <a:pt x="2349643" y="70882"/>
                  </a:cubicBezTo>
                  <a:cubicBezTo>
                    <a:pt x="2124135" y="-12266"/>
                    <a:pt x="1857052" y="-24864"/>
                    <a:pt x="1622725" y="46946"/>
                  </a:cubicBezTo>
                  <a:cubicBezTo>
                    <a:pt x="1453909" y="98599"/>
                    <a:pt x="1306509" y="186786"/>
                    <a:pt x="1200684" y="301430"/>
                  </a:cubicBezTo>
                  <a:cubicBezTo>
                    <a:pt x="1092339" y="189306"/>
                    <a:pt x="942420" y="102378"/>
                    <a:pt x="773604" y="54505"/>
                  </a:cubicBezTo>
                  <a:cubicBezTo>
                    <a:pt x="538017" y="-12266"/>
                    <a:pt x="270935" y="5372"/>
                    <a:pt x="46686" y="92299"/>
                  </a:cubicBezTo>
                  <a:cubicBezTo>
                    <a:pt x="13931" y="104898"/>
                    <a:pt x="-1187" y="133874"/>
                    <a:pt x="73" y="160330"/>
                  </a:cubicBezTo>
                  <a:lnTo>
                    <a:pt x="12671" y="1282833"/>
                  </a:lnTo>
                  <a:cubicBezTo>
                    <a:pt x="12671" y="1285352"/>
                    <a:pt x="12671" y="1287872"/>
                    <a:pt x="12671" y="1290391"/>
                  </a:cubicBezTo>
                  <a:lnTo>
                    <a:pt x="12671" y="1291651"/>
                  </a:lnTo>
                  <a:lnTo>
                    <a:pt x="12671" y="1291651"/>
                  </a:lnTo>
                  <a:cubicBezTo>
                    <a:pt x="13931" y="1301730"/>
                    <a:pt x="17710" y="1313068"/>
                    <a:pt x="24009" y="1321887"/>
                  </a:cubicBezTo>
                  <a:cubicBezTo>
                    <a:pt x="50466" y="1358422"/>
                    <a:pt x="105898" y="1367241"/>
                    <a:pt x="151251" y="1349603"/>
                  </a:cubicBezTo>
                  <a:cubicBezTo>
                    <a:pt x="332666" y="1279053"/>
                    <a:pt x="545576" y="1271494"/>
                    <a:pt x="734550" y="1325666"/>
                  </a:cubicBezTo>
                  <a:cubicBezTo>
                    <a:pt x="908405" y="1374800"/>
                    <a:pt x="1050765" y="1479365"/>
                    <a:pt x="1135173" y="1607867"/>
                  </a:cubicBezTo>
                  <a:cubicBezTo>
                    <a:pt x="1154071" y="1636843"/>
                    <a:pt x="1185566" y="1646921"/>
                    <a:pt x="1215802" y="1644402"/>
                  </a:cubicBezTo>
                  <a:cubicBezTo>
                    <a:pt x="1246038" y="1645662"/>
                    <a:pt x="1277533" y="1634323"/>
                    <a:pt x="1295171" y="1606607"/>
                  </a:cubicBezTo>
                  <a:cubicBezTo>
                    <a:pt x="1377059" y="1476845"/>
                    <a:pt x="1516900" y="1369760"/>
                    <a:pt x="1690756" y="1316848"/>
                  </a:cubicBezTo>
                  <a:cubicBezTo>
                    <a:pt x="1878469" y="1260156"/>
                    <a:pt x="2091379" y="1263935"/>
                    <a:pt x="2274054" y="1330706"/>
                  </a:cubicBezTo>
                  <a:cubicBezTo>
                    <a:pt x="2319407" y="1347083"/>
                    <a:pt x="2374839" y="1337005"/>
                    <a:pt x="2400036" y="1300470"/>
                  </a:cubicBezTo>
                  <a:cubicBezTo>
                    <a:pt x="2407595" y="1289132"/>
                    <a:pt x="2411374" y="1275274"/>
                    <a:pt x="2410115" y="1261415"/>
                  </a:cubicBezTo>
                  <a:lnTo>
                    <a:pt x="2410115" y="1261415"/>
                  </a:lnTo>
                  <a:lnTo>
                    <a:pt x="2397516" y="131354"/>
                  </a:ln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/>
            <p:cNvSpPr/>
            <p:nvPr/>
          </p:nvSpPr>
          <p:spPr>
            <a:xfrm>
              <a:off x="2730482" y="1139307"/>
              <a:ext cx="2242485" cy="1196832"/>
            </a:xfrm>
            <a:custGeom>
              <a:avLst/>
              <a:gdLst>
                <a:gd name="connsiteX0" fmla="*/ 2235197 w 2242485"/>
                <a:gd name="connsiteY0" fmla="*/ 101379 h 1196832"/>
                <a:gd name="connsiteX1" fmla="*/ 2235197 w 2242485"/>
                <a:gd name="connsiteY1" fmla="*/ 101379 h 1196832"/>
                <a:gd name="connsiteX2" fmla="*/ 2191104 w 2242485"/>
                <a:gd name="connsiteY2" fmla="*/ 54765 h 1196832"/>
                <a:gd name="connsiteX3" fmla="*/ 1513319 w 2242485"/>
                <a:gd name="connsiteY3" fmla="*/ 37128 h 1196832"/>
                <a:gd name="connsiteX4" fmla="*/ 1118994 w 2242485"/>
                <a:gd name="connsiteY4" fmla="*/ 237440 h 1196832"/>
                <a:gd name="connsiteX5" fmla="*/ 720890 w 2242485"/>
                <a:gd name="connsiteY5" fmla="*/ 44687 h 1196832"/>
                <a:gd name="connsiteX6" fmla="*/ 43105 w 2242485"/>
                <a:gd name="connsiteY6" fmla="*/ 74923 h 1196832"/>
                <a:gd name="connsiteX7" fmla="*/ 271 w 2242485"/>
                <a:gd name="connsiteY7" fmla="*/ 129095 h 1196832"/>
                <a:gd name="connsiteX8" fmla="*/ 9090 w 2242485"/>
                <a:gd name="connsiteY8" fmla="*/ 915225 h 1196832"/>
                <a:gd name="connsiteX9" fmla="*/ 9090 w 2242485"/>
                <a:gd name="connsiteY9" fmla="*/ 921524 h 1196832"/>
                <a:gd name="connsiteX10" fmla="*/ 9090 w 2242485"/>
                <a:gd name="connsiteY10" fmla="*/ 922784 h 1196832"/>
                <a:gd name="connsiteX11" fmla="*/ 9090 w 2242485"/>
                <a:gd name="connsiteY11" fmla="*/ 922784 h 1196832"/>
                <a:gd name="connsiteX12" fmla="*/ 19168 w 2242485"/>
                <a:gd name="connsiteY12" fmla="*/ 946720 h 1196832"/>
                <a:gd name="connsiteX13" fmla="*/ 137592 w 2242485"/>
                <a:gd name="connsiteY13" fmla="*/ 968137 h 1196832"/>
                <a:gd name="connsiteX14" fmla="*/ 680575 w 2242485"/>
                <a:gd name="connsiteY14" fmla="*/ 947980 h 1196832"/>
                <a:gd name="connsiteX15" fmla="*/ 1129072 w 2242485"/>
                <a:gd name="connsiteY15" fmla="*/ 1197425 h 1196832"/>
                <a:gd name="connsiteX16" fmla="*/ 1572530 w 2242485"/>
                <a:gd name="connsiteY16" fmla="*/ 939162 h 1196832"/>
                <a:gd name="connsiteX17" fmla="*/ 2116774 w 2242485"/>
                <a:gd name="connsiteY17" fmla="*/ 949240 h 1196832"/>
                <a:gd name="connsiteX18" fmla="*/ 2233937 w 2242485"/>
                <a:gd name="connsiteY18" fmla="*/ 925303 h 1196832"/>
                <a:gd name="connsiteX19" fmla="*/ 2244016 w 2242485"/>
                <a:gd name="connsiteY19" fmla="*/ 893808 h 1196832"/>
                <a:gd name="connsiteX20" fmla="*/ 2244016 w 2242485"/>
                <a:gd name="connsiteY20" fmla="*/ 893808 h 1196832"/>
                <a:gd name="connsiteX21" fmla="*/ 2235197 w 2242485"/>
                <a:gd name="connsiteY21" fmla="*/ 101379 h 119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196832">
                  <a:moveTo>
                    <a:pt x="2235197" y="101379"/>
                  </a:moveTo>
                  <a:lnTo>
                    <a:pt x="2235197" y="101379"/>
                  </a:lnTo>
                  <a:cubicBezTo>
                    <a:pt x="2233937" y="81222"/>
                    <a:pt x="2217560" y="62324"/>
                    <a:pt x="2191104" y="54765"/>
                  </a:cubicBezTo>
                  <a:cubicBezTo>
                    <a:pt x="1980713" y="-9485"/>
                    <a:pt x="1732528" y="-19564"/>
                    <a:pt x="1513319" y="37128"/>
                  </a:cubicBezTo>
                  <a:cubicBezTo>
                    <a:pt x="1355841" y="77442"/>
                    <a:pt x="1218520" y="147992"/>
                    <a:pt x="1118994" y="237440"/>
                  </a:cubicBezTo>
                  <a:cubicBezTo>
                    <a:pt x="1018208" y="149252"/>
                    <a:pt x="878368" y="82482"/>
                    <a:pt x="720890" y="44687"/>
                  </a:cubicBezTo>
                  <a:cubicBezTo>
                    <a:pt x="500421" y="-8226"/>
                    <a:pt x="252236" y="6892"/>
                    <a:pt x="43105" y="74923"/>
                  </a:cubicBezTo>
                  <a:cubicBezTo>
                    <a:pt x="12869" y="85001"/>
                    <a:pt x="-2249" y="107678"/>
                    <a:pt x="271" y="129095"/>
                  </a:cubicBezTo>
                  <a:lnTo>
                    <a:pt x="9090" y="915225"/>
                  </a:lnTo>
                  <a:cubicBezTo>
                    <a:pt x="9090" y="917744"/>
                    <a:pt x="9090" y="919004"/>
                    <a:pt x="9090" y="921524"/>
                  </a:cubicBezTo>
                  <a:lnTo>
                    <a:pt x="9090" y="922784"/>
                  </a:lnTo>
                  <a:lnTo>
                    <a:pt x="9090" y="922784"/>
                  </a:lnTo>
                  <a:cubicBezTo>
                    <a:pt x="10349" y="931603"/>
                    <a:pt x="12869" y="939162"/>
                    <a:pt x="19168" y="946720"/>
                  </a:cubicBezTo>
                  <a:cubicBezTo>
                    <a:pt x="43105" y="974437"/>
                    <a:pt x="94758" y="981995"/>
                    <a:pt x="137592" y="968137"/>
                  </a:cubicBezTo>
                  <a:cubicBezTo>
                    <a:pt x="306408" y="912705"/>
                    <a:pt x="506720" y="903886"/>
                    <a:pt x="680575" y="947980"/>
                  </a:cubicBezTo>
                  <a:cubicBezTo>
                    <a:pt x="964036" y="1019790"/>
                    <a:pt x="1100096" y="1199945"/>
                    <a:pt x="1129072" y="1197425"/>
                  </a:cubicBezTo>
                  <a:cubicBezTo>
                    <a:pt x="1158048" y="1198685"/>
                    <a:pt x="1297889" y="1008452"/>
                    <a:pt x="1572530" y="939162"/>
                  </a:cubicBezTo>
                  <a:cubicBezTo>
                    <a:pt x="1747646" y="895068"/>
                    <a:pt x="1946698" y="896328"/>
                    <a:pt x="2116774" y="949240"/>
                  </a:cubicBezTo>
                  <a:cubicBezTo>
                    <a:pt x="2159608" y="961838"/>
                    <a:pt x="2211261" y="954279"/>
                    <a:pt x="2233937" y="925303"/>
                  </a:cubicBezTo>
                  <a:cubicBezTo>
                    <a:pt x="2241496" y="916485"/>
                    <a:pt x="2245276" y="905146"/>
                    <a:pt x="2244016" y="893808"/>
                  </a:cubicBezTo>
                  <a:lnTo>
                    <a:pt x="2244016" y="893808"/>
                  </a:lnTo>
                  <a:lnTo>
                    <a:pt x="2235197" y="10137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/>
            <p:cNvSpPr/>
            <p:nvPr/>
          </p:nvSpPr>
          <p:spPr>
            <a:xfrm>
              <a:off x="2725442" y="751970"/>
              <a:ext cx="2242485" cy="1574779"/>
            </a:xfrm>
            <a:custGeom>
              <a:avLst/>
              <a:gdLst>
                <a:gd name="connsiteX0" fmla="*/ 2236457 w 2242485"/>
                <a:gd name="connsiteY0" fmla="*/ 137226 h 1574779"/>
                <a:gd name="connsiteX1" fmla="*/ 2236457 w 2242485"/>
                <a:gd name="connsiteY1" fmla="*/ 137226 h 1574779"/>
                <a:gd name="connsiteX2" fmla="*/ 2191104 w 2242485"/>
                <a:gd name="connsiteY2" fmla="*/ 74235 h 1574779"/>
                <a:gd name="connsiteX3" fmla="*/ 1513319 w 2242485"/>
                <a:gd name="connsiteY3" fmla="*/ 47779 h 1574779"/>
                <a:gd name="connsiteX4" fmla="*/ 1120254 w 2242485"/>
                <a:gd name="connsiteY4" fmla="*/ 312341 h 1574779"/>
                <a:gd name="connsiteX5" fmla="*/ 720890 w 2242485"/>
                <a:gd name="connsiteY5" fmla="*/ 55338 h 1574779"/>
                <a:gd name="connsiteX6" fmla="*/ 43105 w 2242485"/>
                <a:gd name="connsiteY6" fmla="*/ 94392 h 1574779"/>
                <a:gd name="connsiteX7" fmla="*/ 271 w 2242485"/>
                <a:gd name="connsiteY7" fmla="*/ 166202 h 1574779"/>
                <a:gd name="connsiteX8" fmla="*/ 11609 w 2242485"/>
                <a:gd name="connsiteY8" fmla="*/ 1208076 h 1574779"/>
                <a:gd name="connsiteX9" fmla="*/ 11609 w 2242485"/>
                <a:gd name="connsiteY9" fmla="*/ 1216895 h 1574779"/>
                <a:gd name="connsiteX10" fmla="*/ 11609 w 2242485"/>
                <a:gd name="connsiteY10" fmla="*/ 1218154 h 1574779"/>
                <a:gd name="connsiteX11" fmla="*/ 11609 w 2242485"/>
                <a:gd name="connsiteY11" fmla="*/ 1218154 h 1574779"/>
                <a:gd name="connsiteX12" fmla="*/ 21688 w 2242485"/>
                <a:gd name="connsiteY12" fmla="*/ 1249650 h 1574779"/>
                <a:gd name="connsiteX13" fmla="*/ 140111 w 2242485"/>
                <a:gd name="connsiteY13" fmla="*/ 1278626 h 1574779"/>
                <a:gd name="connsiteX14" fmla="*/ 683095 w 2242485"/>
                <a:gd name="connsiteY14" fmla="*/ 1253430 h 1574779"/>
                <a:gd name="connsiteX15" fmla="*/ 1132852 w 2242485"/>
                <a:gd name="connsiteY15" fmla="*/ 1586023 h 1574779"/>
                <a:gd name="connsiteX16" fmla="*/ 1575050 w 2242485"/>
                <a:gd name="connsiteY16" fmla="*/ 1244611 h 1574779"/>
                <a:gd name="connsiteX17" fmla="*/ 2119294 w 2242485"/>
                <a:gd name="connsiteY17" fmla="*/ 1259729 h 1574779"/>
                <a:gd name="connsiteX18" fmla="*/ 2236457 w 2242485"/>
                <a:gd name="connsiteY18" fmla="*/ 1229493 h 1574779"/>
                <a:gd name="connsiteX19" fmla="*/ 2246536 w 2242485"/>
                <a:gd name="connsiteY19" fmla="*/ 1187919 h 1574779"/>
                <a:gd name="connsiteX20" fmla="*/ 2246536 w 2242485"/>
                <a:gd name="connsiteY20" fmla="*/ 1187919 h 1574779"/>
                <a:gd name="connsiteX21" fmla="*/ 2236457 w 2242485"/>
                <a:gd name="connsiteY21" fmla="*/ 137226 h 1574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574779">
                  <a:moveTo>
                    <a:pt x="2236457" y="137226"/>
                  </a:moveTo>
                  <a:lnTo>
                    <a:pt x="2236457" y="137226"/>
                  </a:lnTo>
                  <a:cubicBezTo>
                    <a:pt x="2235198" y="110770"/>
                    <a:pt x="2218820" y="85573"/>
                    <a:pt x="2191104" y="74235"/>
                  </a:cubicBezTo>
                  <a:cubicBezTo>
                    <a:pt x="1980713" y="-11433"/>
                    <a:pt x="1731268" y="-26551"/>
                    <a:pt x="1513319" y="47779"/>
                  </a:cubicBezTo>
                  <a:cubicBezTo>
                    <a:pt x="1355841" y="100691"/>
                    <a:pt x="1218520" y="193918"/>
                    <a:pt x="1120254" y="312341"/>
                  </a:cubicBezTo>
                  <a:cubicBezTo>
                    <a:pt x="1019468" y="195178"/>
                    <a:pt x="879628" y="105730"/>
                    <a:pt x="720890" y="55338"/>
                  </a:cubicBezTo>
                  <a:cubicBezTo>
                    <a:pt x="500421" y="-15213"/>
                    <a:pt x="252236" y="3685"/>
                    <a:pt x="43105" y="94392"/>
                  </a:cubicBezTo>
                  <a:cubicBezTo>
                    <a:pt x="12869" y="106990"/>
                    <a:pt x="-2249" y="137226"/>
                    <a:pt x="271" y="166202"/>
                  </a:cubicBezTo>
                  <a:lnTo>
                    <a:pt x="11609" y="1208076"/>
                  </a:lnTo>
                  <a:cubicBezTo>
                    <a:pt x="11609" y="1210596"/>
                    <a:pt x="11609" y="1213115"/>
                    <a:pt x="11609" y="1216895"/>
                  </a:cubicBezTo>
                  <a:lnTo>
                    <a:pt x="11609" y="1218154"/>
                  </a:lnTo>
                  <a:lnTo>
                    <a:pt x="11609" y="1218154"/>
                  </a:lnTo>
                  <a:cubicBezTo>
                    <a:pt x="12869" y="1229493"/>
                    <a:pt x="15389" y="1239571"/>
                    <a:pt x="21688" y="1249650"/>
                  </a:cubicBezTo>
                  <a:cubicBezTo>
                    <a:pt x="45625" y="1287445"/>
                    <a:pt x="97277" y="1296264"/>
                    <a:pt x="140111" y="1278626"/>
                  </a:cubicBezTo>
                  <a:cubicBezTo>
                    <a:pt x="308928" y="1205556"/>
                    <a:pt x="507980" y="1194218"/>
                    <a:pt x="683095" y="1253430"/>
                  </a:cubicBezTo>
                  <a:cubicBezTo>
                    <a:pt x="966555" y="1349176"/>
                    <a:pt x="1103876" y="1588543"/>
                    <a:pt x="1132852" y="1586023"/>
                  </a:cubicBezTo>
                  <a:cubicBezTo>
                    <a:pt x="1161828" y="1587283"/>
                    <a:pt x="1300408" y="1336578"/>
                    <a:pt x="1575050" y="1244611"/>
                  </a:cubicBezTo>
                  <a:cubicBezTo>
                    <a:pt x="1750166" y="1186659"/>
                    <a:pt x="1949217" y="1189179"/>
                    <a:pt x="2119294" y="1259729"/>
                  </a:cubicBezTo>
                  <a:cubicBezTo>
                    <a:pt x="2162128" y="1277366"/>
                    <a:pt x="2213780" y="1267288"/>
                    <a:pt x="2236457" y="1229493"/>
                  </a:cubicBezTo>
                  <a:cubicBezTo>
                    <a:pt x="2244016" y="1216895"/>
                    <a:pt x="2246536" y="1203037"/>
                    <a:pt x="2246536" y="1187919"/>
                  </a:cubicBezTo>
                  <a:lnTo>
                    <a:pt x="2246536" y="1187919"/>
                  </a:lnTo>
                  <a:lnTo>
                    <a:pt x="2236457" y="137226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/>
            <p:cNvSpPr/>
            <p:nvPr/>
          </p:nvSpPr>
          <p:spPr>
            <a:xfrm>
              <a:off x="2726702" y="764423"/>
              <a:ext cx="1121243" cy="1562181"/>
            </a:xfrm>
            <a:custGeom>
              <a:avLst/>
              <a:gdLst>
                <a:gd name="connsiteX0" fmla="*/ 1115215 w 1121242"/>
                <a:gd name="connsiteY0" fmla="*/ 294849 h 1562180"/>
                <a:gd name="connsiteX1" fmla="*/ 720890 w 1121242"/>
                <a:gd name="connsiteY1" fmla="*/ 42884 h 1562180"/>
                <a:gd name="connsiteX2" fmla="*/ 43105 w 1121242"/>
                <a:gd name="connsiteY2" fmla="*/ 81939 h 1562180"/>
                <a:gd name="connsiteX3" fmla="*/ 271 w 1121242"/>
                <a:gd name="connsiteY3" fmla="*/ 153749 h 1562180"/>
                <a:gd name="connsiteX4" fmla="*/ 11609 w 1121242"/>
                <a:gd name="connsiteY4" fmla="*/ 1195623 h 1562180"/>
                <a:gd name="connsiteX5" fmla="*/ 11609 w 1121242"/>
                <a:gd name="connsiteY5" fmla="*/ 1204441 h 1562180"/>
                <a:gd name="connsiteX6" fmla="*/ 11609 w 1121242"/>
                <a:gd name="connsiteY6" fmla="*/ 1205701 h 1562180"/>
                <a:gd name="connsiteX7" fmla="*/ 11609 w 1121242"/>
                <a:gd name="connsiteY7" fmla="*/ 1205701 h 1562180"/>
                <a:gd name="connsiteX8" fmla="*/ 21688 w 1121242"/>
                <a:gd name="connsiteY8" fmla="*/ 1237197 h 1562180"/>
                <a:gd name="connsiteX9" fmla="*/ 140111 w 1121242"/>
                <a:gd name="connsiteY9" fmla="*/ 1266173 h 1562180"/>
                <a:gd name="connsiteX10" fmla="*/ 683095 w 1121242"/>
                <a:gd name="connsiteY10" fmla="*/ 1240976 h 1562180"/>
                <a:gd name="connsiteX11" fmla="*/ 1127813 w 1121242"/>
                <a:gd name="connsiteY11" fmla="*/ 1572310 h 1562180"/>
                <a:gd name="connsiteX12" fmla="*/ 1115215 w 1121242"/>
                <a:gd name="connsiteY12" fmla="*/ 294849 h 156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1242" h="1562180">
                  <a:moveTo>
                    <a:pt x="1115215" y="294849"/>
                  </a:moveTo>
                  <a:cubicBezTo>
                    <a:pt x="1014429" y="180205"/>
                    <a:pt x="877108" y="92017"/>
                    <a:pt x="720890" y="42884"/>
                  </a:cubicBezTo>
                  <a:cubicBezTo>
                    <a:pt x="500421" y="-27666"/>
                    <a:pt x="252236" y="-8769"/>
                    <a:pt x="43105" y="81939"/>
                  </a:cubicBezTo>
                  <a:cubicBezTo>
                    <a:pt x="12869" y="94537"/>
                    <a:pt x="-2249" y="124773"/>
                    <a:pt x="271" y="153749"/>
                  </a:cubicBezTo>
                  <a:lnTo>
                    <a:pt x="11609" y="1195623"/>
                  </a:lnTo>
                  <a:cubicBezTo>
                    <a:pt x="11609" y="1198142"/>
                    <a:pt x="11609" y="1200662"/>
                    <a:pt x="11609" y="1204441"/>
                  </a:cubicBezTo>
                  <a:lnTo>
                    <a:pt x="11609" y="1205701"/>
                  </a:lnTo>
                  <a:lnTo>
                    <a:pt x="11609" y="1205701"/>
                  </a:lnTo>
                  <a:cubicBezTo>
                    <a:pt x="12869" y="1217039"/>
                    <a:pt x="15389" y="1227118"/>
                    <a:pt x="21688" y="1237197"/>
                  </a:cubicBezTo>
                  <a:cubicBezTo>
                    <a:pt x="45624" y="1274991"/>
                    <a:pt x="97277" y="1283810"/>
                    <a:pt x="140111" y="1266173"/>
                  </a:cubicBezTo>
                  <a:cubicBezTo>
                    <a:pt x="308928" y="1193103"/>
                    <a:pt x="507980" y="1181764"/>
                    <a:pt x="683095" y="1240976"/>
                  </a:cubicBezTo>
                  <a:cubicBezTo>
                    <a:pt x="953957" y="1331683"/>
                    <a:pt x="1091278" y="1554672"/>
                    <a:pt x="1127813" y="1572310"/>
                  </a:cubicBezTo>
                  <a:lnTo>
                    <a:pt x="1115215" y="29484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/>
            <p:cNvSpPr/>
            <p:nvPr/>
          </p:nvSpPr>
          <p:spPr>
            <a:xfrm>
              <a:off x="3921638" y="926840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79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/>
            <p:cNvSpPr/>
            <p:nvPr/>
          </p:nvSpPr>
          <p:spPr>
            <a:xfrm>
              <a:off x="3922898" y="1046523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1" name="任意多边形: 形状 10190"/>
            <p:cNvSpPr/>
            <p:nvPr/>
          </p:nvSpPr>
          <p:spPr>
            <a:xfrm>
              <a:off x="3924158" y="1166206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2" name="任意多边形: 形状 10191"/>
            <p:cNvSpPr/>
            <p:nvPr/>
          </p:nvSpPr>
          <p:spPr>
            <a:xfrm>
              <a:off x="3925418" y="1285889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3" name="任意多边形: 形状 10192"/>
            <p:cNvSpPr/>
            <p:nvPr/>
          </p:nvSpPr>
          <p:spPr>
            <a:xfrm>
              <a:off x="3926677" y="1406832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172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4" name="任意多边形: 形状 10193"/>
            <p:cNvSpPr/>
            <p:nvPr/>
          </p:nvSpPr>
          <p:spPr>
            <a:xfrm>
              <a:off x="3929197" y="1526157"/>
              <a:ext cx="957466" cy="277161"/>
            </a:xfrm>
            <a:custGeom>
              <a:avLst/>
              <a:gdLst>
                <a:gd name="connsiteX0" fmla="*/ 411610 w 957465"/>
                <a:gd name="connsiteY0" fmla="*/ 35784 h 277161"/>
                <a:gd name="connsiteX1" fmla="*/ 2167 w 957465"/>
                <a:gd name="connsiteY1" fmla="*/ 268851 h 277161"/>
                <a:gd name="connsiteX2" fmla="*/ 10986 w 957465"/>
                <a:gd name="connsiteY2" fmla="*/ 278930 h 277161"/>
                <a:gd name="connsiteX3" fmla="*/ 954594 w 957465"/>
                <a:gd name="connsiteY3" fmla="*/ 53421 h 277161"/>
                <a:gd name="connsiteX4" fmla="*/ 958373 w 957465"/>
                <a:gd name="connsiteY4" fmla="*/ 40823 h 277161"/>
                <a:gd name="connsiteX5" fmla="*/ 411610 w 957465"/>
                <a:gd name="connsiteY5" fmla="*/ 35784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7465" h="277161">
                  <a:moveTo>
                    <a:pt x="411610" y="35784"/>
                  </a:moveTo>
                  <a:cubicBezTo>
                    <a:pt x="260431" y="77358"/>
                    <a:pt x="118071" y="155467"/>
                    <a:pt x="2167" y="268851"/>
                  </a:cubicBezTo>
                  <a:cubicBezTo>
                    <a:pt x="-4132" y="275150"/>
                    <a:pt x="4687" y="283969"/>
                    <a:pt x="10986" y="278930"/>
                  </a:cubicBezTo>
                  <a:cubicBezTo>
                    <a:pt x="260431" y="34524"/>
                    <a:pt x="627039" y="-42325"/>
                    <a:pt x="954594" y="53421"/>
                  </a:cubicBezTo>
                  <a:cubicBezTo>
                    <a:pt x="962153" y="55941"/>
                    <a:pt x="965932" y="43343"/>
                    <a:pt x="958373" y="40823"/>
                  </a:cubicBezTo>
                  <a:cubicBezTo>
                    <a:pt x="778218" y="-12089"/>
                    <a:pt x="587985" y="-13349"/>
                    <a:pt x="411610" y="35784"/>
                  </a:cubicBezTo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5" name="任意多边形: 形状 10194"/>
            <p:cNvSpPr/>
            <p:nvPr/>
          </p:nvSpPr>
          <p:spPr>
            <a:xfrm>
              <a:off x="3929197" y="1646199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6" name="任意多边形: 形状 10195"/>
            <p:cNvSpPr/>
            <p:nvPr/>
          </p:nvSpPr>
          <p:spPr>
            <a:xfrm>
              <a:off x="3930457" y="1765882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7" name="任意多边形: 形状 10196"/>
            <p:cNvSpPr/>
            <p:nvPr/>
          </p:nvSpPr>
          <p:spPr>
            <a:xfrm>
              <a:off x="2806001" y="940098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8" name="任意多边形: 形状 10197"/>
            <p:cNvSpPr/>
            <p:nvPr/>
          </p:nvSpPr>
          <p:spPr>
            <a:xfrm>
              <a:off x="2807261" y="1059781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9" name="任意多边形: 形状 10198"/>
            <p:cNvSpPr/>
            <p:nvPr/>
          </p:nvSpPr>
          <p:spPr>
            <a:xfrm>
              <a:off x="2808521" y="1180724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0" name="任意多边形: 形状 10199"/>
            <p:cNvSpPr/>
            <p:nvPr/>
          </p:nvSpPr>
          <p:spPr>
            <a:xfrm>
              <a:off x="2809781" y="1300407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5947"/>
                    <a:pt x="33419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1" name="任意多边形: 形状 10200"/>
            <p:cNvSpPr/>
            <p:nvPr/>
          </p:nvSpPr>
          <p:spPr>
            <a:xfrm>
              <a:off x="2811040" y="1420090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2" name="任意多边形: 形状 10201"/>
            <p:cNvSpPr/>
            <p:nvPr/>
          </p:nvSpPr>
          <p:spPr>
            <a:xfrm>
              <a:off x="2812300" y="1539773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3" name="任意多边形: 形状 10202"/>
            <p:cNvSpPr/>
            <p:nvPr/>
          </p:nvSpPr>
          <p:spPr>
            <a:xfrm>
              <a:off x="2813560" y="1659457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4" name="任意多边形: 形状 10203"/>
            <p:cNvSpPr/>
            <p:nvPr/>
          </p:nvSpPr>
          <p:spPr>
            <a:xfrm>
              <a:off x="2814820" y="1779140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5" name="任意多边形: 形状 10204"/>
            <p:cNvSpPr/>
            <p:nvPr/>
          </p:nvSpPr>
          <p:spPr>
            <a:xfrm>
              <a:off x="1920686" y="4953386"/>
              <a:ext cx="2141699" cy="88188"/>
            </a:xfrm>
            <a:custGeom>
              <a:avLst/>
              <a:gdLst>
                <a:gd name="connsiteX0" fmla="*/ 2139180 w 2141699"/>
                <a:gd name="connsiteY0" fmla="*/ 89448 h 88187"/>
                <a:gd name="connsiteX1" fmla="*/ 2153038 w 2141699"/>
                <a:gd name="connsiteY1" fmla="*/ 3779 h 88187"/>
                <a:gd name="connsiteX2" fmla="*/ 2520 w 2141699"/>
                <a:gd name="connsiteY2" fmla="*/ 0 h 88187"/>
                <a:gd name="connsiteX3" fmla="*/ 0 w 2141699"/>
                <a:gd name="connsiteY3" fmla="*/ 99526 h 88187"/>
                <a:gd name="connsiteX4" fmla="*/ 2139180 w 2141699"/>
                <a:gd name="connsiteY4" fmla="*/ 894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1699" h="88187">
                  <a:moveTo>
                    <a:pt x="2139180" y="89448"/>
                  </a:moveTo>
                  <a:cubicBezTo>
                    <a:pt x="2141700" y="60471"/>
                    <a:pt x="2146739" y="31496"/>
                    <a:pt x="2153038" y="3779"/>
                  </a:cubicBezTo>
                  <a:cubicBezTo>
                    <a:pt x="2092566" y="3779"/>
                    <a:pt x="165037" y="6299"/>
                    <a:pt x="2520" y="0"/>
                  </a:cubicBezTo>
                  <a:cubicBezTo>
                    <a:pt x="2520" y="32755"/>
                    <a:pt x="1260" y="66770"/>
                    <a:pt x="0" y="99526"/>
                  </a:cubicBezTo>
                  <a:cubicBezTo>
                    <a:pt x="113384" y="99526"/>
                    <a:pt x="2025796" y="90707"/>
                    <a:pt x="2139180" y="8944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6" name="任意多边形: 形状 10205"/>
            <p:cNvSpPr/>
            <p:nvPr/>
          </p:nvSpPr>
          <p:spPr>
            <a:xfrm>
              <a:off x="1915647" y="5145439"/>
              <a:ext cx="2154298" cy="88188"/>
            </a:xfrm>
            <a:custGeom>
              <a:avLst/>
              <a:gdLst>
                <a:gd name="connsiteX0" fmla="*/ 2158077 w 2154297"/>
                <a:gd name="connsiteY0" fmla="*/ 86368 h 88187"/>
                <a:gd name="connsiteX1" fmla="*/ 2144219 w 2154297"/>
                <a:gd name="connsiteY1" fmla="*/ 700 h 88187"/>
                <a:gd name="connsiteX2" fmla="*/ 2520 w 2154297"/>
                <a:gd name="connsiteY2" fmla="*/ 4479 h 88187"/>
                <a:gd name="connsiteX3" fmla="*/ 0 w 2154297"/>
                <a:gd name="connsiteY3" fmla="*/ 95186 h 88187"/>
                <a:gd name="connsiteX4" fmla="*/ 2158077 w 2154297"/>
                <a:gd name="connsiteY4" fmla="*/ 8636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4297" h="88187">
                  <a:moveTo>
                    <a:pt x="2158077" y="86368"/>
                  </a:moveTo>
                  <a:cubicBezTo>
                    <a:pt x="2150518" y="58652"/>
                    <a:pt x="2146739" y="29676"/>
                    <a:pt x="2144219" y="700"/>
                  </a:cubicBezTo>
                  <a:cubicBezTo>
                    <a:pt x="2030835" y="-560"/>
                    <a:pt x="115904" y="-560"/>
                    <a:pt x="2520" y="4479"/>
                  </a:cubicBezTo>
                  <a:cubicBezTo>
                    <a:pt x="1260" y="34715"/>
                    <a:pt x="1260" y="64951"/>
                    <a:pt x="0" y="95186"/>
                  </a:cubicBezTo>
                  <a:cubicBezTo>
                    <a:pt x="166297" y="88887"/>
                    <a:pt x="2097606" y="86368"/>
                    <a:pt x="2158077" y="8636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7" name="任意多边形: 形状 10206"/>
            <p:cNvSpPr/>
            <p:nvPr/>
          </p:nvSpPr>
          <p:spPr>
            <a:xfrm>
              <a:off x="1919426" y="5042833"/>
              <a:ext cx="2129101" cy="100786"/>
            </a:xfrm>
            <a:custGeom>
              <a:avLst/>
              <a:gdLst>
                <a:gd name="connsiteX0" fmla="*/ 2140440 w 2129101"/>
                <a:gd name="connsiteY0" fmla="*/ 103305 h 100785"/>
                <a:gd name="connsiteX1" fmla="*/ 2141700 w 2129101"/>
                <a:gd name="connsiteY1" fmla="*/ 0 h 100785"/>
                <a:gd name="connsiteX2" fmla="*/ 2520 w 2129101"/>
                <a:gd name="connsiteY2" fmla="*/ 8819 h 100785"/>
                <a:gd name="connsiteX3" fmla="*/ 0 w 2129101"/>
                <a:gd name="connsiteY3" fmla="*/ 105825 h 100785"/>
                <a:gd name="connsiteX4" fmla="*/ 2140440 w 2129101"/>
                <a:gd name="connsiteY4" fmla="*/ 1033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9101" h="100785">
                  <a:moveTo>
                    <a:pt x="2140440" y="103305"/>
                  </a:moveTo>
                  <a:cubicBezTo>
                    <a:pt x="2137920" y="69290"/>
                    <a:pt x="2137920" y="35275"/>
                    <a:pt x="2141700" y="0"/>
                  </a:cubicBezTo>
                  <a:cubicBezTo>
                    <a:pt x="2028315" y="1260"/>
                    <a:pt x="115904" y="10078"/>
                    <a:pt x="2520" y="8819"/>
                  </a:cubicBezTo>
                  <a:cubicBezTo>
                    <a:pt x="1260" y="41574"/>
                    <a:pt x="0" y="74330"/>
                    <a:pt x="0" y="105825"/>
                  </a:cubicBezTo>
                  <a:cubicBezTo>
                    <a:pt x="112124" y="102046"/>
                    <a:pt x="2025796" y="102046"/>
                    <a:pt x="2140440" y="10330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8" name="任意多边形: 形状 10207"/>
            <p:cNvSpPr/>
            <p:nvPr/>
          </p:nvSpPr>
          <p:spPr>
            <a:xfrm>
              <a:off x="4231896" y="5034014"/>
              <a:ext cx="62991" cy="113384"/>
            </a:xfrm>
            <a:custGeom>
              <a:avLst/>
              <a:gdLst>
                <a:gd name="connsiteX0" fmla="*/ 8124 w 62991"/>
                <a:gd name="connsiteY0" fmla="*/ 124722 h 113384"/>
                <a:gd name="connsiteX1" fmla="*/ 67336 w 62991"/>
                <a:gd name="connsiteY1" fmla="*/ 60472 h 113384"/>
                <a:gd name="connsiteX2" fmla="*/ 14424 w 62991"/>
                <a:gd name="connsiteY2" fmla="*/ 0 h 113384"/>
                <a:gd name="connsiteX3" fmla="*/ 8124 w 62991"/>
                <a:gd name="connsiteY3" fmla="*/ 124722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91" h="113384">
                  <a:moveTo>
                    <a:pt x="8124" y="124722"/>
                  </a:moveTo>
                  <a:cubicBezTo>
                    <a:pt x="42140" y="100786"/>
                    <a:pt x="67336" y="75589"/>
                    <a:pt x="67336" y="60472"/>
                  </a:cubicBezTo>
                  <a:cubicBezTo>
                    <a:pt x="67336" y="46614"/>
                    <a:pt x="44659" y="23937"/>
                    <a:pt x="14424" y="0"/>
                  </a:cubicBezTo>
                  <a:cubicBezTo>
                    <a:pt x="-694" y="41574"/>
                    <a:pt x="-5734" y="84408"/>
                    <a:pt x="8124" y="124722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9" name="任意多边形: 形状 10208"/>
            <p:cNvSpPr/>
            <p:nvPr/>
          </p:nvSpPr>
          <p:spPr>
            <a:xfrm>
              <a:off x="4057648" y="4957165"/>
              <a:ext cx="176375" cy="264563"/>
            </a:xfrm>
            <a:custGeom>
              <a:avLst/>
              <a:gdLst>
                <a:gd name="connsiteX0" fmla="*/ 182373 w 176375"/>
                <a:gd name="connsiteY0" fmla="*/ 201572 h 264562"/>
                <a:gd name="connsiteX1" fmla="*/ 188672 w 176375"/>
                <a:gd name="connsiteY1" fmla="*/ 78109 h 264562"/>
                <a:gd name="connsiteX2" fmla="*/ 18596 w 176375"/>
                <a:gd name="connsiteY2" fmla="*/ 0 h 264562"/>
                <a:gd name="connsiteX3" fmla="*/ 16077 w 176375"/>
                <a:gd name="connsiteY3" fmla="*/ 0 h 264562"/>
                <a:gd name="connsiteX4" fmla="*/ 16077 w 176375"/>
                <a:gd name="connsiteY4" fmla="*/ 274642 h 264562"/>
                <a:gd name="connsiteX5" fmla="*/ 17336 w 176375"/>
                <a:gd name="connsiteY5" fmla="*/ 274642 h 264562"/>
                <a:gd name="connsiteX6" fmla="*/ 182373 w 176375"/>
                <a:gd name="connsiteY6" fmla="*/ 201572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375" h="264562">
                  <a:moveTo>
                    <a:pt x="182373" y="201572"/>
                  </a:moveTo>
                  <a:cubicBezTo>
                    <a:pt x="168515" y="161258"/>
                    <a:pt x="173555" y="117164"/>
                    <a:pt x="188672" y="78109"/>
                  </a:cubicBezTo>
                  <a:cubicBezTo>
                    <a:pt x="137020" y="39055"/>
                    <a:pt x="60170" y="0"/>
                    <a:pt x="18596" y="0"/>
                  </a:cubicBezTo>
                  <a:cubicBezTo>
                    <a:pt x="17336" y="0"/>
                    <a:pt x="17336" y="0"/>
                    <a:pt x="16077" y="0"/>
                  </a:cubicBezTo>
                  <a:cubicBezTo>
                    <a:pt x="-4080" y="91967"/>
                    <a:pt x="-6600" y="185194"/>
                    <a:pt x="16077" y="274642"/>
                  </a:cubicBezTo>
                  <a:cubicBezTo>
                    <a:pt x="16077" y="274642"/>
                    <a:pt x="17336" y="274642"/>
                    <a:pt x="17336" y="274642"/>
                  </a:cubicBezTo>
                  <a:cubicBezTo>
                    <a:pt x="56391" y="274642"/>
                    <a:pt x="129461" y="239366"/>
                    <a:pt x="182373" y="201572"/>
                  </a:cubicBezTo>
                  <a:close/>
                </a:path>
              </a:pathLst>
            </a:custGeom>
            <a:solidFill>
              <a:srgbClr val="FFFFF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0" name="任意多边形: 形状 10209"/>
            <p:cNvSpPr/>
            <p:nvPr/>
          </p:nvSpPr>
          <p:spPr>
            <a:xfrm>
              <a:off x="1790924" y="4950372"/>
              <a:ext cx="125982" cy="289759"/>
            </a:xfrm>
            <a:custGeom>
              <a:avLst/>
              <a:gdLst>
                <a:gd name="connsiteX0" fmla="*/ 75589 w 125982"/>
                <a:gd name="connsiteY0" fmla="*/ 494 h 289759"/>
                <a:gd name="connsiteX1" fmla="*/ 74330 w 125982"/>
                <a:gd name="connsiteY1" fmla="*/ 494 h 289759"/>
                <a:gd name="connsiteX2" fmla="*/ 0 w 125982"/>
                <a:gd name="connsiteY2" fmla="*/ 3014 h 289759"/>
                <a:gd name="connsiteX3" fmla="*/ 5039 w 125982"/>
                <a:gd name="connsiteY3" fmla="*/ 290253 h 289759"/>
                <a:gd name="connsiteX4" fmla="*/ 66771 w 125982"/>
                <a:gd name="connsiteY4" fmla="*/ 292773 h 289759"/>
                <a:gd name="connsiteX5" fmla="*/ 71810 w 125982"/>
                <a:gd name="connsiteY5" fmla="*/ 292773 h 289759"/>
                <a:gd name="connsiteX6" fmla="*/ 123463 w 125982"/>
                <a:gd name="connsiteY6" fmla="*/ 290253 h 289759"/>
                <a:gd name="connsiteX7" fmla="*/ 131022 w 125982"/>
                <a:gd name="connsiteY7" fmla="*/ 3014 h 289759"/>
                <a:gd name="connsiteX8" fmla="*/ 75589 w 125982"/>
                <a:gd name="connsiteY8" fmla="*/ 494 h 289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289759">
                  <a:moveTo>
                    <a:pt x="75589" y="494"/>
                  </a:moveTo>
                  <a:cubicBezTo>
                    <a:pt x="75589" y="494"/>
                    <a:pt x="74330" y="494"/>
                    <a:pt x="74330" y="494"/>
                  </a:cubicBezTo>
                  <a:cubicBezTo>
                    <a:pt x="46613" y="-765"/>
                    <a:pt x="21417" y="494"/>
                    <a:pt x="0" y="3014"/>
                  </a:cubicBezTo>
                  <a:cubicBezTo>
                    <a:pt x="2520" y="98761"/>
                    <a:pt x="1260" y="194507"/>
                    <a:pt x="5039" y="290253"/>
                  </a:cubicBezTo>
                  <a:cubicBezTo>
                    <a:pt x="22677" y="292773"/>
                    <a:pt x="44094" y="292773"/>
                    <a:pt x="66771" y="292773"/>
                  </a:cubicBezTo>
                  <a:cubicBezTo>
                    <a:pt x="69290" y="292773"/>
                    <a:pt x="70550" y="292773"/>
                    <a:pt x="71810" y="292773"/>
                  </a:cubicBezTo>
                  <a:cubicBezTo>
                    <a:pt x="89447" y="291513"/>
                    <a:pt x="107085" y="291513"/>
                    <a:pt x="123463" y="290253"/>
                  </a:cubicBezTo>
                  <a:cubicBezTo>
                    <a:pt x="124723" y="193247"/>
                    <a:pt x="129762" y="98761"/>
                    <a:pt x="131022" y="3014"/>
                  </a:cubicBezTo>
                  <a:cubicBezTo>
                    <a:pt x="114644" y="1754"/>
                    <a:pt x="94487" y="494"/>
                    <a:pt x="75589" y="49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1" name="任意多边形: 形状 10210"/>
            <p:cNvSpPr/>
            <p:nvPr/>
          </p:nvSpPr>
          <p:spPr>
            <a:xfrm>
              <a:off x="1664942" y="4954646"/>
              <a:ext cx="138581" cy="277161"/>
            </a:xfrm>
            <a:custGeom>
              <a:avLst/>
              <a:gdLst>
                <a:gd name="connsiteX0" fmla="*/ 138581 w 138580"/>
                <a:gd name="connsiteY0" fmla="*/ 0 h 277161"/>
                <a:gd name="connsiteX1" fmla="*/ 0 w 138580"/>
                <a:gd name="connsiteY1" fmla="*/ 142360 h 277161"/>
                <a:gd name="connsiteX2" fmla="*/ 144880 w 138580"/>
                <a:gd name="connsiteY2" fmla="*/ 287240 h 277161"/>
                <a:gd name="connsiteX3" fmla="*/ 138581 w 138580"/>
                <a:gd name="connsiteY3" fmla="*/ 0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580" h="277161">
                  <a:moveTo>
                    <a:pt x="138581" y="0"/>
                  </a:moveTo>
                  <a:cubicBezTo>
                    <a:pt x="15118" y="16378"/>
                    <a:pt x="0" y="95747"/>
                    <a:pt x="0" y="142360"/>
                  </a:cubicBezTo>
                  <a:cubicBezTo>
                    <a:pt x="0" y="190233"/>
                    <a:pt x="15118" y="270862"/>
                    <a:pt x="144880" y="287240"/>
                  </a:cubicBezTo>
                  <a:cubicBezTo>
                    <a:pt x="139840" y="191493"/>
                    <a:pt x="139840" y="95747"/>
                    <a:pt x="138581" y="0"/>
                  </a:cubicBezTo>
                  <a:close/>
                </a:path>
              </a:pathLst>
            </a:custGeom>
            <a:solidFill>
              <a:srgbClr val="FFFFF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2" name="任意多边形: 形状 10211"/>
            <p:cNvSpPr/>
            <p:nvPr/>
          </p:nvSpPr>
          <p:spPr>
            <a:xfrm>
              <a:off x="4844736" y="3364748"/>
              <a:ext cx="365349" cy="1310216"/>
            </a:xfrm>
            <a:custGeom>
              <a:avLst/>
              <a:gdLst>
                <a:gd name="connsiteX0" fmla="*/ 365349 w 365348"/>
                <a:gd name="connsiteY0" fmla="*/ 88188 h 1310216"/>
                <a:gd name="connsiteX1" fmla="*/ 365349 w 365348"/>
                <a:gd name="connsiteY1" fmla="*/ 0 h 1310216"/>
                <a:gd name="connsiteX2" fmla="*/ 357790 w 365348"/>
                <a:gd name="connsiteY2" fmla="*/ 7559 h 1310216"/>
                <a:gd name="connsiteX3" fmla="*/ 355270 w 365348"/>
                <a:gd name="connsiteY3" fmla="*/ 10079 h 1310216"/>
                <a:gd name="connsiteX4" fmla="*/ 352751 w 365348"/>
                <a:gd name="connsiteY4" fmla="*/ 12598 h 1310216"/>
                <a:gd name="connsiteX5" fmla="*/ 352751 w 365348"/>
                <a:gd name="connsiteY5" fmla="*/ 13858 h 1310216"/>
                <a:gd name="connsiteX6" fmla="*/ 352751 w 365348"/>
                <a:gd name="connsiteY6" fmla="*/ 12598 h 1310216"/>
                <a:gd name="connsiteX7" fmla="*/ 336373 w 365348"/>
                <a:gd name="connsiteY7" fmla="*/ 32755 h 1310216"/>
                <a:gd name="connsiteX8" fmla="*/ 325035 w 365348"/>
                <a:gd name="connsiteY8" fmla="*/ 47873 h 1310216"/>
                <a:gd name="connsiteX9" fmla="*/ 314956 w 365348"/>
                <a:gd name="connsiteY9" fmla="*/ 62991 h 1310216"/>
                <a:gd name="connsiteX10" fmla="*/ 307397 w 365348"/>
                <a:gd name="connsiteY10" fmla="*/ 76849 h 1310216"/>
                <a:gd name="connsiteX11" fmla="*/ 307397 w 365348"/>
                <a:gd name="connsiteY11" fmla="*/ 76849 h 1310216"/>
                <a:gd name="connsiteX12" fmla="*/ 302358 w 365348"/>
                <a:gd name="connsiteY12" fmla="*/ 85668 h 1310216"/>
                <a:gd name="connsiteX13" fmla="*/ 299838 w 365348"/>
                <a:gd name="connsiteY13" fmla="*/ 90707 h 1310216"/>
                <a:gd name="connsiteX14" fmla="*/ 299838 w 365348"/>
                <a:gd name="connsiteY14" fmla="*/ 90707 h 1310216"/>
                <a:gd name="connsiteX15" fmla="*/ 298578 w 365348"/>
                <a:gd name="connsiteY15" fmla="*/ 93227 h 1310216"/>
                <a:gd name="connsiteX16" fmla="*/ 292279 w 365348"/>
                <a:gd name="connsiteY16" fmla="*/ 107085 h 1310216"/>
                <a:gd name="connsiteX17" fmla="*/ 292279 w 365348"/>
                <a:gd name="connsiteY17" fmla="*/ 107085 h 1310216"/>
                <a:gd name="connsiteX18" fmla="*/ 292279 w 365348"/>
                <a:gd name="connsiteY18" fmla="*/ 108345 h 1310216"/>
                <a:gd name="connsiteX19" fmla="*/ 289759 w 365348"/>
                <a:gd name="connsiteY19" fmla="*/ 117164 h 1310216"/>
                <a:gd name="connsiteX20" fmla="*/ 289759 w 365348"/>
                <a:gd name="connsiteY20" fmla="*/ 118424 h 1310216"/>
                <a:gd name="connsiteX21" fmla="*/ 289759 w 365348"/>
                <a:gd name="connsiteY21" fmla="*/ 118424 h 1310216"/>
                <a:gd name="connsiteX22" fmla="*/ 287240 w 365348"/>
                <a:gd name="connsiteY22" fmla="*/ 125982 h 1310216"/>
                <a:gd name="connsiteX23" fmla="*/ 287240 w 365348"/>
                <a:gd name="connsiteY23" fmla="*/ 131022 h 1310216"/>
                <a:gd name="connsiteX24" fmla="*/ 287240 w 365348"/>
                <a:gd name="connsiteY24" fmla="*/ 133541 h 1310216"/>
                <a:gd name="connsiteX25" fmla="*/ 287240 w 365348"/>
                <a:gd name="connsiteY25" fmla="*/ 136061 h 1310216"/>
                <a:gd name="connsiteX26" fmla="*/ 287240 w 365348"/>
                <a:gd name="connsiteY26" fmla="*/ 141100 h 1310216"/>
                <a:gd name="connsiteX27" fmla="*/ 287240 w 365348"/>
                <a:gd name="connsiteY27" fmla="*/ 141100 h 1310216"/>
                <a:gd name="connsiteX28" fmla="*/ 287240 w 365348"/>
                <a:gd name="connsiteY28" fmla="*/ 141100 h 1310216"/>
                <a:gd name="connsiteX29" fmla="*/ 287240 w 365348"/>
                <a:gd name="connsiteY29" fmla="*/ 143620 h 1310216"/>
                <a:gd name="connsiteX30" fmla="*/ 287240 w 365348"/>
                <a:gd name="connsiteY30" fmla="*/ 149919 h 1310216"/>
                <a:gd name="connsiteX31" fmla="*/ 287240 w 365348"/>
                <a:gd name="connsiteY31" fmla="*/ 152439 h 1310216"/>
                <a:gd name="connsiteX32" fmla="*/ 287240 w 365348"/>
                <a:gd name="connsiteY32" fmla="*/ 159998 h 1310216"/>
                <a:gd name="connsiteX33" fmla="*/ 291019 w 365348"/>
                <a:gd name="connsiteY33" fmla="*/ 177635 h 1310216"/>
                <a:gd name="connsiteX34" fmla="*/ 291019 w 365348"/>
                <a:gd name="connsiteY34" fmla="*/ 178895 h 1310216"/>
                <a:gd name="connsiteX35" fmla="*/ 294799 w 365348"/>
                <a:gd name="connsiteY35" fmla="*/ 188974 h 1310216"/>
                <a:gd name="connsiteX36" fmla="*/ 298578 w 365348"/>
                <a:gd name="connsiteY36" fmla="*/ 197792 h 1310216"/>
                <a:gd name="connsiteX37" fmla="*/ 301098 w 365348"/>
                <a:gd name="connsiteY37" fmla="*/ 201572 h 1310216"/>
                <a:gd name="connsiteX38" fmla="*/ 302358 w 365348"/>
                <a:gd name="connsiteY38" fmla="*/ 204092 h 1310216"/>
                <a:gd name="connsiteX39" fmla="*/ 302358 w 365348"/>
                <a:gd name="connsiteY39" fmla="*/ 205351 h 1310216"/>
                <a:gd name="connsiteX40" fmla="*/ 308657 w 365348"/>
                <a:gd name="connsiteY40" fmla="*/ 212910 h 1310216"/>
                <a:gd name="connsiteX41" fmla="*/ 308657 w 365348"/>
                <a:gd name="connsiteY41" fmla="*/ 212910 h 1310216"/>
                <a:gd name="connsiteX42" fmla="*/ 311177 w 365348"/>
                <a:gd name="connsiteY42" fmla="*/ 215430 h 1310216"/>
                <a:gd name="connsiteX43" fmla="*/ 314956 w 365348"/>
                <a:gd name="connsiteY43" fmla="*/ 217949 h 1310216"/>
                <a:gd name="connsiteX44" fmla="*/ 316216 w 365348"/>
                <a:gd name="connsiteY44" fmla="*/ 217949 h 1310216"/>
                <a:gd name="connsiteX45" fmla="*/ 318736 w 365348"/>
                <a:gd name="connsiteY45" fmla="*/ 219209 h 1310216"/>
                <a:gd name="connsiteX46" fmla="*/ 326294 w 365348"/>
                <a:gd name="connsiteY46" fmla="*/ 222989 h 1310216"/>
                <a:gd name="connsiteX47" fmla="*/ 326294 w 365348"/>
                <a:gd name="connsiteY47" fmla="*/ 222989 h 1310216"/>
                <a:gd name="connsiteX48" fmla="*/ 335113 w 365348"/>
                <a:gd name="connsiteY48" fmla="*/ 225508 h 1310216"/>
                <a:gd name="connsiteX49" fmla="*/ 335113 w 365348"/>
                <a:gd name="connsiteY49" fmla="*/ 225508 h 1310216"/>
                <a:gd name="connsiteX50" fmla="*/ 335113 w 365348"/>
                <a:gd name="connsiteY50" fmla="*/ 225508 h 1310216"/>
                <a:gd name="connsiteX51" fmla="*/ 335113 w 365348"/>
                <a:gd name="connsiteY51" fmla="*/ 225508 h 1310216"/>
                <a:gd name="connsiteX52" fmla="*/ 335113 w 365348"/>
                <a:gd name="connsiteY52" fmla="*/ 225508 h 1310216"/>
                <a:gd name="connsiteX53" fmla="*/ 335113 w 365348"/>
                <a:gd name="connsiteY53" fmla="*/ 225508 h 1310216"/>
                <a:gd name="connsiteX54" fmla="*/ 335113 w 365348"/>
                <a:gd name="connsiteY54" fmla="*/ 225508 h 1310216"/>
                <a:gd name="connsiteX55" fmla="*/ 335113 w 365348"/>
                <a:gd name="connsiteY55" fmla="*/ 225508 h 1310216"/>
                <a:gd name="connsiteX56" fmla="*/ 335113 w 365348"/>
                <a:gd name="connsiteY56" fmla="*/ 225508 h 1310216"/>
                <a:gd name="connsiteX57" fmla="*/ 335113 w 365348"/>
                <a:gd name="connsiteY57" fmla="*/ 225508 h 1310216"/>
                <a:gd name="connsiteX58" fmla="*/ 333853 w 365348"/>
                <a:gd name="connsiteY58" fmla="*/ 225508 h 1310216"/>
                <a:gd name="connsiteX59" fmla="*/ 332593 w 365348"/>
                <a:gd name="connsiteY59" fmla="*/ 225508 h 1310216"/>
                <a:gd name="connsiteX60" fmla="*/ 328814 w 365348"/>
                <a:gd name="connsiteY60" fmla="*/ 225508 h 1310216"/>
                <a:gd name="connsiteX61" fmla="*/ 323775 w 365348"/>
                <a:gd name="connsiteY61" fmla="*/ 225508 h 1310216"/>
                <a:gd name="connsiteX62" fmla="*/ 303617 w 365348"/>
                <a:gd name="connsiteY62" fmla="*/ 226768 h 1310216"/>
                <a:gd name="connsiteX63" fmla="*/ 275901 w 365348"/>
                <a:gd name="connsiteY63" fmla="*/ 226768 h 1310216"/>
                <a:gd name="connsiteX64" fmla="*/ 268343 w 365348"/>
                <a:gd name="connsiteY64" fmla="*/ 226768 h 1310216"/>
                <a:gd name="connsiteX65" fmla="*/ 265823 w 365348"/>
                <a:gd name="connsiteY65" fmla="*/ 226768 h 1310216"/>
                <a:gd name="connsiteX66" fmla="*/ 265823 w 365348"/>
                <a:gd name="connsiteY66" fmla="*/ 226768 h 1310216"/>
                <a:gd name="connsiteX67" fmla="*/ 259524 w 365348"/>
                <a:gd name="connsiteY67" fmla="*/ 226768 h 1310216"/>
                <a:gd name="connsiteX68" fmla="*/ 250705 w 365348"/>
                <a:gd name="connsiteY68" fmla="*/ 226768 h 1310216"/>
                <a:gd name="connsiteX69" fmla="*/ 245666 w 365348"/>
                <a:gd name="connsiteY69" fmla="*/ 226768 h 1310216"/>
                <a:gd name="connsiteX70" fmla="*/ 245666 w 365348"/>
                <a:gd name="connsiteY70" fmla="*/ 226768 h 1310216"/>
                <a:gd name="connsiteX71" fmla="*/ 245666 w 365348"/>
                <a:gd name="connsiteY71" fmla="*/ 226768 h 1310216"/>
                <a:gd name="connsiteX72" fmla="*/ 233067 w 365348"/>
                <a:gd name="connsiteY72" fmla="*/ 226768 h 1310216"/>
                <a:gd name="connsiteX73" fmla="*/ 226768 w 365348"/>
                <a:gd name="connsiteY73" fmla="*/ 226768 h 1310216"/>
                <a:gd name="connsiteX74" fmla="*/ 225508 w 365348"/>
                <a:gd name="connsiteY74" fmla="*/ 226768 h 1310216"/>
                <a:gd name="connsiteX75" fmla="*/ 214170 w 365348"/>
                <a:gd name="connsiteY75" fmla="*/ 226768 h 1310216"/>
                <a:gd name="connsiteX76" fmla="*/ 209131 w 365348"/>
                <a:gd name="connsiteY76" fmla="*/ 226768 h 1310216"/>
                <a:gd name="connsiteX77" fmla="*/ 207871 w 365348"/>
                <a:gd name="connsiteY77" fmla="*/ 226768 h 1310216"/>
                <a:gd name="connsiteX78" fmla="*/ 207871 w 365348"/>
                <a:gd name="connsiteY78" fmla="*/ 226768 h 1310216"/>
                <a:gd name="connsiteX79" fmla="*/ 207871 w 365348"/>
                <a:gd name="connsiteY79" fmla="*/ 226768 h 1310216"/>
                <a:gd name="connsiteX80" fmla="*/ 196533 w 365348"/>
                <a:gd name="connsiteY80" fmla="*/ 226768 h 1310216"/>
                <a:gd name="connsiteX81" fmla="*/ 188973 w 365348"/>
                <a:gd name="connsiteY81" fmla="*/ 226768 h 1310216"/>
                <a:gd name="connsiteX82" fmla="*/ 178895 w 365348"/>
                <a:gd name="connsiteY82" fmla="*/ 226768 h 1310216"/>
                <a:gd name="connsiteX83" fmla="*/ 161258 w 365348"/>
                <a:gd name="connsiteY83" fmla="*/ 225508 h 1310216"/>
                <a:gd name="connsiteX84" fmla="*/ 159998 w 365348"/>
                <a:gd name="connsiteY84" fmla="*/ 225508 h 1310216"/>
                <a:gd name="connsiteX85" fmla="*/ 151179 w 365348"/>
                <a:gd name="connsiteY85" fmla="*/ 224249 h 1310216"/>
                <a:gd name="connsiteX86" fmla="*/ 149919 w 365348"/>
                <a:gd name="connsiteY86" fmla="*/ 224249 h 1310216"/>
                <a:gd name="connsiteX87" fmla="*/ 149919 w 365348"/>
                <a:gd name="connsiteY87" fmla="*/ 224249 h 1310216"/>
                <a:gd name="connsiteX88" fmla="*/ 143620 w 365348"/>
                <a:gd name="connsiteY88" fmla="*/ 222989 h 1310216"/>
                <a:gd name="connsiteX89" fmla="*/ 141100 w 365348"/>
                <a:gd name="connsiteY89" fmla="*/ 222989 h 1310216"/>
                <a:gd name="connsiteX90" fmla="*/ 133541 w 365348"/>
                <a:gd name="connsiteY90" fmla="*/ 222989 h 1310216"/>
                <a:gd name="connsiteX91" fmla="*/ 127242 w 365348"/>
                <a:gd name="connsiteY91" fmla="*/ 222989 h 1310216"/>
                <a:gd name="connsiteX92" fmla="*/ 125982 w 365348"/>
                <a:gd name="connsiteY92" fmla="*/ 222989 h 1310216"/>
                <a:gd name="connsiteX93" fmla="*/ 124722 w 365348"/>
                <a:gd name="connsiteY93" fmla="*/ 222989 h 1310216"/>
                <a:gd name="connsiteX94" fmla="*/ 120943 w 365348"/>
                <a:gd name="connsiteY94" fmla="*/ 222989 h 1310216"/>
                <a:gd name="connsiteX95" fmla="*/ 120943 w 365348"/>
                <a:gd name="connsiteY95" fmla="*/ 222989 h 1310216"/>
                <a:gd name="connsiteX96" fmla="*/ 115904 w 365348"/>
                <a:gd name="connsiteY96" fmla="*/ 222989 h 1310216"/>
                <a:gd name="connsiteX97" fmla="*/ 109605 w 365348"/>
                <a:gd name="connsiteY97" fmla="*/ 222989 h 1310216"/>
                <a:gd name="connsiteX98" fmla="*/ 107085 w 365348"/>
                <a:gd name="connsiteY98" fmla="*/ 222989 h 1310216"/>
                <a:gd name="connsiteX99" fmla="*/ 107085 w 365348"/>
                <a:gd name="connsiteY99" fmla="*/ 222989 h 1310216"/>
                <a:gd name="connsiteX100" fmla="*/ 105825 w 365348"/>
                <a:gd name="connsiteY100" fmla="*/ 222989 h 1310216"/>
                <a:gd name="connsiteX101" fmla="*/ 95747 w 365348"/>
                <a:gd name="connsiteY101" fmla="*/ 222989 h 1310216"/>
                <a:gd name="connsiteX102" fmla="*/ 86928 w 365348"/>
                <a:gd name="connsiteY102" fmla="*/ 222989 h 1310216"/>
                <a:gd name="connsiteX103" fmla="*/ 86928 w 365348"/>
                <a:gd name="connsiteY103" fmla="*/ 222989 h 1310216"/>
                <a:gd name="connsiteX104" fmla="*/ 85668 w 365348"/>
                <a:gd name="connsiteY104" fmla="*/ 222989 h 1310216"/>
                <a:gd name="connsiteX105" fmla="*/ 78109 w 365348"/>
                <a:gd name="connsiteY105" fmla="*/ 222989 h 1310216"/>
                <a:gd name="connsiteX106" fmla="*/ 78109 w 365348"/>
                <a:gd name="connsiteY106" fmla="*/ 222989 h 1310216"/>
                <a:gd name="connsiteX107" fmla="*/ 78109 w 365348"/>
                <a:gd name="connsiteY107" fmla="*/ 222989 h 1310216"/>
                <a:gd name="connsiteX108" fmla="*/ 49133 w 365348"/>
                <a:gd name="connsiteY108" fmla="*/ 224249 h 1310216"/>
                <a:gd name="connsiteX109" fmla="*/ 31496 w 365348"/>
                <a:gd name="connsiteY109" fmla="*/ 224249 h 1310216"/>
                <a:gd name="connsiteX110" fmla="*/ 30236 w 365348"/>
                <a:gd name="connsiteY110" fmla="*/ 224249 h 1310216"/>
                <a:gd name="connsiteX111" fmla="*/ 28976 w 365348"/>
                <a:gd name="connsiteY111" fmla="*/ 224249 h 1310216"/>
                <a:gd name="connsiteX112" fmla="*/ 28976 w 365348"/>
                <a:gd name="connsiteY112" fmla="*/ 224249 h 1310216"/>
                <a:gd name="connsiteX113" fmla="*/ 27716 w 365348"/>
                <a:gd name="connsiteY113" fmla="*/ 224249 h 1310216"/>
                <a:gd name="connsiteX114" fmla="*/ 22677 w 365348"/>
                <a:gd name="connsiteY114" fmla="*/ 224249 h 1310216"/>
                <a:gd name="connsiteX115" fmla="*/ 18897 w 365348"/>
                <a:gd name="connsiteY115" fmla="*/ 224249 h 1310216"/>
                <a:gd name="connsiteX116" fmla="*/ 15118 w 365348"/>
                <a:gd name="connsiteY116" fmla="*/ 224249 h 1310216"/>
                <a:gd name="connsiteX117" fmla="*/ 15118 w 365348"/>
                <a:gd name="connsiteY117" fmla="*/ 224249 h 1310216"/>
                <a:gd name="connsiteX118" fmla="*/ 12598 w 365348"/>
                <a:gd name="connsiteY118" fmla="*/ 222989 h 1310216"/>
                <a:gd name="connsiteX119" fmla="*/ 10079 w 365348"/>
                <a:gd name="connsiteY119" fmla="*/ 221729 h 1310216"/>
                <a:gd name="connsiteX120" fmla="*/ 7559 w 365348"/>
                <a:gd name="connsiteY120" fmla="*/ 219209 h 1310216"/>
                <a:gd name="connsiteX121" fmla="*/ 7559 w 365348"/>
                <a:gd name="connsiteY121" fmla="*/ 248185 h 1310216"/>
                <a:gd name="connsiteX122" fmla="*/ 7559 w 365348"/>
                <a:gd name="connsiteY122" fmla="*/ 275901 h 1310216"/>
                <a:gd name="connsiteX123" fmla="*/ 7559 w 365348"/>
                <a:gd name="connsiteY123" fmla="*/ 288500 h 1310216"/>
                <a:gd name="connsiteX124" fmla="*/ 7559 w 365348"/>
                <a:gd name="connsiteY124" fmla="*/ 328814 h 1310216"/>
                <a:gd name="connsiteX125" fmla="*/ 7559 w 365348"/>
                <a:gd name="connsiteY125" fmla="*/ 369128 h 1310216"/>
                <a:gd name="connsiteX126" fmla="*/ 7559 w 365348"/>
                <a:gd name="connsiteY126" fmla="*/ 385506 h 1310216"/>
                <a:gd name="connsiteX127" fmla="*/ 7559 w 365348"/>
                <a:gd name="connsiteY127" fmla="*/ 411962 h 1310216"/>
                <a:gd name="connsiteX128" fmla="*/ 7559 w 365348"/>
                <a:gd name="connsiteY128" fmla="*/ 414482 h 1310216"/>
                <a:gd name="connsiteX129" fmla="*/ 7559 w 365348"/>
                <a:gd name="connsiteY129" fmla="*/ 432119 h 1310216"/>
                <a:gd name="connsiteX130" fmla="*/ 6299 w 365348"/>
                <a:gd name="connsiteY130" fmla="*/ 454796 h 1310216"/>
                <a:gd name="connsiteX131" fmla="*/ 6299 w 365348"/>
                <a:gd name="connsiteY131" fmla="*/ 459836 h 1310216"/>
                <a:gd name="connsiteX132" fmla="*/ 6299 w 365348"/>
                <a:gd name="connsiteY132" fmla="*/ 473694 h 1310216"/>
                <a:gd name="connsiteX133" fmla="*/ 6299 w 365348"/>
                <a:gd name="connsiteY133" fmla="*/ 482512 h 1310216"/>
                <a:gd name="connsiteX134" fmla="*/ 6299 w 365348"/>
                <a:gd name="connsiteY134" fmla="*/ 495111 h 1310216"/>
                <a:gd name="connsiteX135" fmla="*/ 5039 w 365348"/>
                <a:gd name="connsiteY135" fmla="*/ 536685 h 1310216"/>
                <a:gd name="connsiteX136" fmla="*/ 3780 w 365348"/>
                <a:gd name="connsiteY136" fmla="*/ 569440 h 1310216"/>
                <a:gd name="connsiteX137" fmla="*/ 3780 w 365348"/>
                <a:gd name="connsiteY137" fmla="*/ 578259 h 1310216"/>
                <a:gd name="connsiteX138" fmla="*/ 2520 w 365348"/>
                <a:gd name="connsiteY138" fmla="*/ 599676 h 1310216"/>
                <a:gd name="connsiteX139" fmla="*/ 1260 w 365348"/>
                <a:gd name="connsiteY139" fmla="*/ 621093 h 1310216"/>
                <a:gd name="connsiteX140" fmla="*/ 1260 w 365348"/>
                <a:gd name="connsiteY140" fmla="*/ 637471 h 1310216"/>
                <a:gd name="connsiteX141" fmla="*/ 0 w 365348"/>
                <a:gd name="connsiteY141" fmla="*/ 660147 h 1310216"/>
                <a:gd name="connsiteX142" fmla="*/ 0 w 365348"/>
                <a:gd name="connsiteY142" fmla="*/ 702982 h 1310216"/>
                <a:gd name="connsiteX143" fmla="*/ 0 w 365348"/>
                <a:gd name="connsiteY143" fmla="*/ 735737 h 1310216"/>
                <a:gd name="connsiteX144" fmla="*/ 0 w 365348"/>
                <a:gd name="connsiteY144" fmla="*/ 745816 h 1310216"/>
                <a:gd name="connsiteX145" fmla="*/ 1260 w 365348"/>
                <a:gd name="connsiteY145" fmla="*/ 825184 h 1310216"/>
                <a:gd name="connsiteX146" fmla="*/ 1260 w 365348"/>
                <a:gd name="connsiteY146" fmla="*/ 832743 h 1310216"/>
                <a:gd name="connsiteX147" fmla="*/ 1260 w 365348"/>
                <a:gd name="connsiteY147" fmla="*/ 846601 h 1310216"/>
                <a:gd name="connsiteX148" fmla="*/ 1260 w 365348"/>
                <a:gd name="connsiteY148" fmla="*/ 850381 h 1310216"/>
                <a:gd name="connsiteX149" fmla="*/ 1260 w 365348"/>
                <a:gd name="connsiteY149" fmla="*/ 865499 h 1310216"/>
                <a:gd name="connsiteX150" fmla="*/ 1260 w 365348"/>
                <a:gd name="connsiteY150" fmla="*/ 870538 h 1310216"/>
                <a:gd name="connsiteX151" fmla="*/ 0 w 365348"/>
                <a:gd name="connsiteY151" fmla="*/ 908333 h 1310216"/>
                <a:gd name="connsiteX152" fmla="*/ 0 w 365348"/>
                <a:gd name="connsiteY152" fmla="*/ 942348 h 1310216"/>
                <a:gd name="connsiteX153" fmla="*/ 0 w 365348"/>
                <a:gd name="connsiteY153" fmla="*/ 947387 h 1310216"/>
                <a:gd name="connsiteX154" fmla="*/ 0 w 365348"/>
                <a:gd name="connsiteY154" fmla="*/ 987701 h 1310216"/>
                <a:gd name="connsiteX155" fmla="*/ 1260 w 365348"/>
                <a:gd name="connsiteY155" fmla="*/ 1021717 h 1310216"/>
                <a:gd name="connsiteX156" fmla="*/ 2520 w 365348"/>
                <a:gd name="connsiteY156" fmla="*/ 1068330 h 1310216"/>
                <a:gd name="connsiteX157" fmla="*/ 3780 w 365348"/>
                <a:gd name="connsiteY157" fmla="*/ 1159037 h 1310216"/>
                <a:gd name="connsiteX158" fmla="*/ 5039 w 365348"/>
                <a:gd name="connsiteY158" fmla="*/ 1227068 h 1310216"/>
                <a:gd name="connsiteX159" fmla="*/ 6299 w 365348"/>
                <a:gd name="connsiteY159" fmla="*/ 1245965 h 1310216"/>
                <a:gd name="connsiteX160" fmla="*/ 7559 w 365348"/>
                <a:gd name="connsiteY160" fmla="*/ 1256044 h 1310216"/>
                <a:gd name="connsiteX161" fmla="*/ 8819 w 365348"/>
                <a:gd name="connsiteY161" fmla="*/ 1264863 h 1310216"/>
                <a:gd name="connsiteX162" fmla="*/ 11338 w 365348"/>
                <a:gd name="connsiteY162" fmla="*/ 1283760 h 1310216"/>
                <a:gd name="connsiteX163" fmla="*/ 11338 w 365348"/>
                <a:gd name="connsiteY163" fmla="*/ 1283760 h 1310216"/>
                <a:gd name="connsiteX164" fmla="*/ 11338 w 365348"/>
                <a:gd name="connsiteY164" fmla="*/ 1287540 h 1310216"/>
                <a:gd name="connsiteX165" fmla="*/ 12598 w 365348"/>
                <a:gd name="connsiteY165" fmla="*/ 1291319 h 1310216"/>
                <a:gd name="connsiteX166" fmla="*/ 12598 w 365348"/>
                <a:gd name="connsiteY166" fmla="*/ 1292579 h 1310216"/>
                <a:gd name="connsiteX167" fmla="*/ 12598 w 365348"/>
                <a:gd name="connsiteY167" fmla="*/ 1293839 h 1310216"/>
                <a:gd name="connsiteX168" fmla="*/ 15118 w 365348"/>
                <a:gd name="connsiteY168" fmla="*/ 1297618 h 1310216"/>
                <a:gd name="connsiteX169" fmla="*/ 15118 w 365348"/>
                <a:gd name="connsiteY169" fmla="*/ 1298878 h 1310216"/>
                <a:gd name="connsiteX170" fmla="*/ 15118 w 365348"/>
                <a:gd name="connsiteY170" fmla="*/ 1300138 h 1310216"/>
                <a:gd name="connsiteX171" fmla="*/ 17637 w 365348"/>
                <a:gd name="connsiteY171" fmla="*/ 1302657 h 1310216"/>
                <a:gd name="connsiteX172" fmla="*/ 18897 w 365348"/>
                <a:gd name="connsiteY172" fmla="*/ 1303917 h 1310216"/>
                <a:gd name="connsiteX173" fmla="*/ 20157 w 365348"/>
                <a:gd name="connsiteY173" fmla="*/ 1303917 h 1310216"/>
                <a:gd name="connsiteX174" fmla="*/ 22677 w 365348"/>
                <a:gd name="connsiteY174" fmla="*/ 1305177 h 1310216"/>
                <a:gd name="connsiteX175" fmla="*/ 22677 w 365348"/>
                <a:gd name="connsiteY175" fmla="*/ 1305177 h 1310216"/>
                <a:gd name="connsiteX176" fmla="*/ 23937 w 365348"/>
                <a:gd name="connsiteY176" fmla="*/ 1305177 h 1310216"/>
                <a:gd name="connsiteX177" fmla="*/ 27716 w 365348"/>
                <a:gd name="connsiteY177" fmla="*/ 1306437 h 1310216"/>
                <a:gd name="connsiteX178" fmla="*/ 28976 w 365348"/>
                <a:gd name="connsiteY178" fmla="*/ 1306437 h 1310216"/>
                <a:gd name="connsiteX179" fmla="*/ 32755 w 365348"/>
                <a:gd name="connsiteY179" fmla="*/ 1306437 h 1310216"/>
                <a:gd name="connsiteX180" fmla="*/ 42834 w 365348"/>
                <a:gd name="connsiteY180" fmla="*/ 1307697 h 1310216"/>
                <a:gd name="connsiteX181" fmla="*/ 49133 w 365348"/>
                <a:gd name="connsiteY181" fmla="*/ 1307697 h 1310216"/>
                <a:gd name="connsiteX182" fmla="*/ 51653 w 365348"/>
                <a:gd name="connsiteY182" fmla="*/ 1307697 h 1310216"/>
                <a:gd name="connsiteX183" fmla="*/ 68030 w 365348"/>
                <a:gd name="connsiteY183" fmla="*/ 1307697 h 1310216"/>
                <a:gd name="connsiteX184" fmla="*/ 84408 w 365348"/>
                <a:gd name="connsiteY184" fmla="*/ 1306437 h 1310216"/>
                <a:gd name="connsiteX185" fmla="*/ 86928 w 365348"/>
                <a:gd name="connsiteY185" fmla="*/ 1306437 h 1310216"/>
                <a:gd name="connsiteX186" fmla="*/ 86928 w 365348"/>
                <a:gd name="connsiteY186" fmla="*/ 1306437 h 1310216"/>
                <a:gd name="connsiteX187" fmla="*/ 90707 w 365348"/>
                <a:gd name="connsiteY187" fmla="*/ 1305177 h 1310216"/>
                <a:gd name="connsiteX188" fmla="*/ 93227 w 365348"/>
                <a:gd name="connsiteY188" fmla="*/ 1303917 h 1310216"/>
                <a:gd name="connsiteX189" fmla="*/ 94487 w 365348"/>
                <a:gd name="connsiteY189" fmla="*/ 1302657 h 1310216"/>
                <a:gd name="connsiteX190" fmla="*/ 98266 w 365348"/>
                <a:gd name="connsiteY190" fmla="*/ 1298878 h 1310216"/>
                <a:gd name="connsiteX191" fmla="*/ 100786 w 365348"/>
                <a:gd name="connsiteY191" fmla="*/ 1295099 h 1310216"/>
                <a:gd name="connsiteX192" fmla="*/ 102046 w 365348"/>
                <a:gd name="connsiteY192" fmla="*/ 1290059 h 1310216"/>
                <a:gd name="connsiteX193" fmla="*/ 102046 w 365348"/>
                <a:gd name="connsiteY193" fmla="*/ 1288800 h 1310216"/>
                <a:gd name="connsiteX194" fmla="*/ 103306 w 365348"/>
                <a:gd name="connsiteY194" fmla="*/ 1283760 h 1310216"/>
                <a:gd name="connsiteX195" fmla="*/ 104566 w 365348"/>
                <a:gd name="connsiteY195" fmla="*/ 1272422 h 1310216"/>
                <a:gd name="connsiteX196" fmla="*/ 104566 w 365348"/>
                <a:gd name="connsiteY196" fmla="*/ 1269902 h 1310216"/>
                <a:gd name="connsiteX197" fmla="*/ 105825 w 365348"/>
                <a:gd name="connsiteY197" fmla="*/ 1261083 h 1310216"/>
                <a:gd name="connsiteX198" fmla="*/ 108345 w 365348"/>
                <a:gd name="connsiteY198" fmla="*/ 1238407 h 1310216"/>
                <a:gd name="connsiteX199" fmla="*/ 108345 w 365348"/>
                <a:gd name="connsiteY199" fmla="*/ 1230848 h 1310216"/>
                <a:gd name="connsiteX200" fmla="*/ 109605 w 365348"/>
                <a:gd name="connsiteY200" fmla="*/ 1219509 h 1310216"/>
                <a:gd name="connsiteX201" fmla="*/ 109605 w 365348"/>
                <a:gd name="connsiteY201" fmla="*/ 1211950 h 1310216"/>
                <a:gd name="connsiteX202" fmla="*/ 110865 w 365348"/>
                <a:gd name="connsiteY202" fmla="*/ 1200612 h 1310216"/>
                <a:gd name="connsiteX203" fmla="*/ 110865 w 365348"/>
                <a:gd name="connsiteY203" fmla="*/ 1198092 h 1310216"/>
                <a:gd name="connsiteX204" fmla="*/ 112124 w 365348"/>
                <a:gd name="connsiteY204" fmla="*/ 1180455 h 1310216"/>
                <a:gd name="connsiteX205" fmla="*/ 113384 w 365348"/>
                <a:gd name="connsiteY205" fmla="*/ 1170376 h 1310216"/>
                <a:gd name="connsiteX206" fmla="*/ 114644 w 365348"/>
                <a:gd name="connsiteY206" fmla="*/ 1161557 h 1310216"/>
                <a:gd name="connsiteX207" fmla="*/ 115904 w 365348"/>
                <a:gd name="connsiteY207" fmla="*/ 1148959 h 1310216"/>
                <a:gd name="connsiteX208" fmla="*/ 118423 w 365348"/>
                <a:gd name="connsiteY208" fmla="*/ 1123763 h 1310216"/>
                <a:gd name="connsiteX209" fmla="*/ 120943 w 365348"/>
                <a:gd name="connsiteY209" fmla="*/ 1107385 h 1310216"/>
                <a:gd name="connsiteX210" fmla="*/ 122203 w 365348"/>
                <a:gd name="connsiteY210" fmla="*/ 1094786 h 1310216"/>
                <a:gd name="connsiteX211" fmla="*/ 122203 w 365348"/>
                <a:gd name="connsiteY211" fmla="*/ 1091007 h 1310216"/>
                <a:gd name="connsiteX212" fmla="*/ 123463 w 365348"/>
                <a:gd name="connsiteY212" fmla="*/ 1079669 h 1310216"/>
                <a:gd name="connsiteX213" fmla="*/ 124722 w 365348"/>
                <a:gd name="connsiteY213" fmla="*/ 1072110 h 1310216"/>
                <a:gd name="connsiteX214" fmla="*/ 125982 w 365348"/>
                <a:gd name="connsiteY214" fmla="*/ 1064551 h 1310216"/>
                <a:gd name="connsiteX215" fmla="*/ 128502 w 365348"/>
                <a:gd name="connsiteY215" fmla="*/ 1044393 h 1310216"/>
                <a:gd name="connsiteX216" fmla="*/ 129762 w 365348"/>
                <a:gd name="connsiteY216" fmla="*/ 1035575 h 1310216"/>
                <a:gd name="connsiteX217" fmla="*/ 129762 w 365348"/>
                <a:gd name="connsiteY217" fmla="*/ 1033055 h 1310216"/>
                <a:gd name="connsiteX218" fmla="*/ 132281 w 365348"/>
                <a:gd name="connsiteY218" fmla="*/ 1004079 h 1310216"/>
                <a:gd name="connsiteX219" fmla="*/ 133541 w 365348"/>
                <a:gd name="connsiteY219" fmla="*/ 992741 h 1310216"/>
                <a:gd name="connsiteX220" fmla="*/ 133541 w 365348"/>
                <a:gd name="connsiteY220" fmla="*/ 985182 h 1310216"/>
                <a:gd name="connsiteX221" fmla="*/ 134801 w 365348"/>
                <a:gd name="connsiteY221" fmla="*/ 973844 h 1310216"/>
                <a:gd name="connsiteX222" fmla="*/ 136061 w 365348"/>
                <a:gd name="connsiteY222" fmla="*/ 966285 h 1310216"/>
                <a:gd name="connsiteX223" fmla="*/ 137321 w 365348"/>
                <a:gd name="connsiteY223" fmla="*/ 957466 h 1310216"/>
                <a:gd name="connsiteX224" fmla="*/ 138581 w 365348"/>
                <a:gd name="connsiteY224" fmla="*/ 944868 h 1310216"/>
                <a:gd name="connsiteX225" fmla="*/ 138581 w 365348"/>
                <a:gd name="connsiteY225" fmla="*/ 938568 h 1310216"/>
                <a:gd name="connsiteX226" fmla="*/ 139840 w 365348"/>
                <a:gd name="connsiteY226" fmla="*/ 927230 h 1310216"/>
                <a:gd name="connsiteX227" fmla="*/ 141100 w 365348"/>
                <a:gd name="connsiteY227" fmla="*/ 914632 h 1310216"/>
                <a:gd name="connsiteX228" fmla="*/ 141100 w 365348"/>
                <a:gd name="connsiteY228" fmla="*/ 907073 h 1310216"/>
                <a:gd name="connsiteX229" fmla="*/ 142360 w 365348"/>
                <a:gd name="connsiteY229" fmla="*/ 888175 h 1310216"/>
                <a:gd name="connsiteX230" fmla="*/ 143620 w 365348"/>
                <a:gd name="connsiteY230" fmla="*/ 871798 h 1310216"/>
                <a:gd name="connsiteX231" fmla="*/ 146140 w 365348"/>
                <a:gd name="connsiteY231" fmla="*/ 849121 h 1310216"/>
                <a:gd name="connsiteX232" fmla="*/ 149919 w 365348"/>
                <a:gd name="connsiteY232" fmla="*/ 808807 h 1310216"/>
                <a:gd name="connsiteX233" fmla="*/ 151179 w 365348"/>
                <a:gd name="connsiteY233" fmla="*/ 796209 h 1310216"/>
                <a:gd name="connsiteX234" fmla="*/ 153699 w 365348"/>
                <a:gd name="connsiteY234" fmla="*/ 769752 h 1310216"/>
                <a:gd name="connsiteX235" fmla="*/ 153699 w 365348"/>
                <a:gd name="connsiteY235" fmla="*/ 760933 h 1310216"/>
                <a:gd name="connsiteX236" fmla="*/ 154958 w 365348"/>
                <a:gd name="connsiteY236" fmla="*/ 750855 h 1310216"/>
                <a:gd name="connsiteX237" fmla="*/ 156218 w 365348"/>
                <a:gd name="connsiteY237" fmla="*/ 730698 h 1310216"/>
                <a:gd name="connsiteX238" fmla="*/ 158738 w 365348"/>
                <a:gd name="connsiteY238" fmla="*/ 706761 h 1310216"/>
                <a:gd name="connsiteX239" fmla="*/ 159998 w 365348"/>
                <a:gd name="connsiteY239" fmla="*/ 690383 h 1310216"/>
                <a:gd name="connsiteX240" fmla="*/ 161258 w 365348"/>
                <a:gd name="connsiteY240" fmla="*/ 672746 h 1310216"/>
                <a:gd name="connsiteX241" fmla="*/ 162517 w 365348"/>
                <a:gd name="connsiteY241" fmla="*/ 652589 h 1310216"/>
                <a:gd name="connsiteX242" fmla="*/ 163777 w 365348"/>
                <a:gd name="connsiteY242" fmla="*/ 631172 h 1310216"/>
                <a:gd name="connsiteX243" fmla="*/ 165037 w 365348"/>
                <a:gd name="connsiteY243" fmla="*/ 613534 h 1310216"/>
                <a:gd name="connsiteX244" fmla="*/ 166297 w 365348"/>
                <a:gd name="connsiteY244" fmla="*/ 594637 h 1310216"/>
                <a:gd name="connsiteX245" fmla="*/ 167557 w 365348"/>
                <a:gd name="connsiteY245" fmla="*/ 573220 h 1310216"/>
                <a:gd name="connsiteX246" fmla="*/ 171336 w 365348"/>
                <a:gd name="connsiteY246" fmla="*/ 534165 h 1310216"/>
                <a:gd name="connsiteX247" fmla="*/ 172596 w 365348"/>
                <a:gd name="connsiteY247" fmla="*/ 517787 h 1310216"/>
                <a:gd name="connsiteX248" fmla="*/ 172596 w 365348"/>
                <a:gd name="connsiteY248" fmla="*/ 517787 h 1310216"/>
                <a:gd name="connsiteX249" fmla="*/ 176375 w 365348"/>
                <a:gd name="connsiteY249" fmla="*/ 479993 h 1310216"/>
                <a:gd name="connsiteX250" fmla="*/ 176375 w 365348"/>
                <a:gd name="connsiteY250" fmla="*/ 479993 h 1310216"/>
                <a:gd name="connsiteX251" fmla="*/ 176375 w 365348"/>
                <a:gd name="connsiteY251" fmla="*/ 477473 h 1310216"/>
                <a:gd name="connsiteX252" fmla="*/ 176375 w 365348"/>
                <a:gd name="connsiteY252" fmla="*/ 471174 h 1310216"/>
                <a:gd name="connsiteX253" fmla="*/ 176375 w 365348"/>
                <a:gd name="connsiteY253" fmla="*/ 467395 h 1310216"/>
                <a:gd name="connsiteX254" fmla="*/ 176375 w 365348"/>
                <a:gd name="connsiteY254" fmla="*/ 471174 h 1310216"/>
                <a:gd name="connsiteX255" fmla="*/ 177635 w 365348"/>
                <a:gd name="connsiteY255" fmla="*/ 481253 h 1310216"/>
                <a:gd name="connsiteX256" fmla="*/ 180155 w 365348"/>
                <a:gd name="connsiteY256" fmla="*/ 503929 h 1310216"/>
                <a:gd name="connsiteX257" fmla="*/ 181414 w 365348"/>
                <a:gd name="connsiteY257" fmla="*/ 522827 h 1310216"/>
                <a:gd name="connsiteX258" fmla="*/ 181414 w 365348"/>
                <a:gd name="connsiteY258" fmla="*/ 525346 h 1310216"/>
                <a:gd name="connsiteX259" fmla="*/ 181414 w 365348"/>
                <a:gd name="connsiteY259" fmla="*/ 529126 h 1310216"/>
                <a:gd name="connsiteX260" fmla="*/ 182674 w 365348"/>
                <a:gd name="connsiteY260" fmla="*/ 545504 h 1310216"/>
                <a:gd name="connsiteX261" fmla="*/ 183934 w 365348"/>
                <a:gd name="connsiteY261" fmla="*/ 568180 h 1310216"/>
                <a:gd name="connsiteX262" fmla="*/ 185194 w 365348"/>
                <a:gd name="connsiteY262" fmla="*/ 582039 h 1310216"/>
                <a:gd name="connsiteX263" fmla="*/ 185194 w 365348"/>
                <a:gd name="connsiteY263" fmla="*/ 588338 h 1310216"/>
                <a:gd name="connsiteX264" fmla="*/ 186454 w 365348"/>
                <a:gd name="connsiteY264" fmla="*/ 599676 h 1310216"/>
                <a:gd name="connsiteX265" fmla="*/ 186454 w 365348"/>
                <a:gd name="connsiteY265" fmla="*/ 608495 h 1310216"/>
                <a:gd name="connsiteX266" fmla="*/ 187714 w 365348"/>
                <a:gd name="connsiteY266" fmla="*/ 628652 h 1310216"/>
                <a:gd name="connsiteX267" fmla="*/ 187714 w 365348"/>
                <a:gd name="connsiteY267" fmla="*/ 629912 h 1310216"/>
                <a:gd name="connsiteX268" fmla="*/ 188973 w 365348"/>
                <a:gd name="connsiteY268" fmla="*/ 648809 h 1310216"/>
                <a:gd name="connsiteX269" fmla="*/ 188973 w 365348"/>
                <a:gd name="connsiteY269" fmla="*/ 653848 h 1310216"/>
                <a:gd name="connsiteX270" fmla="*/ 190233 w 365348"/>
                <a:gd name="connsiteY270" fmla="*/ 668966 h 1310216"/>
                <a:gd name="connsiteX271" fmla="*/ 192753 w 365348"/>
                <a:gd name="connsiteY271" fmla="*/ 696683 h 1310216"/>
                <a:gd name="connsiteX272" fmla="*/ 194013 w 365348"/>
                <a:gd name="connsiteY272" fmla="*/ 710540 h 1310216"/>
                <a:gd name="connsiteX273" fmla="*/ 195273 w 365348"/>
                <a:gd name="connsiteY273" fmla="*/ 720619 h 1310216"/>
                <a:gd name="connsiteX274" fmla="*/ 196533 w 365348"/>
                <a:gd name="connsiteY274" fmla="*/ 730698 h 1310216"/>
                <a:gd name="connsiteX275" fmla="*/ 196533 w 365348"/>
                <a:gd name="connsiteY275" fmla="*/ 731957 h 1310216"/>
                <a:gd name="connsiteX276" fmla="*/ 197792 w 365348"/>
                <a:gd name="connsiteY276" fmla="*/ 750855 h 1310216"/>
                <a:gd name="connsiteX277" fmla="*/ 199052 w 365348"/>
                <a:gd name="connsiteY277" fmla="*/ 759674 h 1310216"/>
                <a:gd name="connsiteX278" fmla="*/ 200312 w 365348"/>
                <a:gd name="connsiteY278" fmla="*/ 772272 h 1310216"/>
                <a:gd name="connsiteX279" fmla="*/ 201572 w 365348"/>
                <a:gd name="connsiteY279" fmla="*/ 783610 h 1310216"/>
                <a:gd name="connsiteX280" fmla="*/ 202832 w 365348"/>
                <a:gd name="connsiteY280" fmla="*/ 793689 h 1310216"/>
                <a:gd name="connsiteX281" fmla="*/ 204092 w 365348"/>
                <a:gd name="connsiteY281" fmla="*/ 805027 h 1310216"/>
                <a:gd name="connsiteX282" fmla="*/ 205351 w 365348"/>
                <a:gd name="connsiteY282" fmla="*/ 813846 h 1310216"/>
                <a:gd name="connsiteX283" fmla="*/ 207871 w 365348"/>
                <a:gd name="connsiteY283" fmla="*/ 834003 h 1310216"/>
                <a:gd name="connsiteX284" fmla="*/ 207871 w 365348"/>
                <a:gd name="connsiteY284" fmla="*/ 834003 h 1310216"/>
                <a:gd name="connsiteX285" fmla="*/ 209131 w 365348"/>
                <a:gd name="connsiteY285" fmla="*/ 844082 h 1310216"/>
                <a:gd name="connsiteX286" fmla="*/ 210391 w 365348"/>
                <a:gd name="connsiteY286" fmla="*/ 854160 h 1310216"/>
                <a:gd name="connsiteX287" fmla="*/ 210391 w 365348"/>
                <a:gd name="connsiteY287" fmla="*/ 854160 h 1310216"/>
                <a:gd name="connsiteX288" fmla="*/ 212910 w 365348"/>
                <a:gd name="connsiteY288" fmla="*/ 875577 h 1310216"/>
                <a:gd name="connsiteX289" fmla="*/ 215430 w 365348"/>
                <a:gd name="connsiteY289" fmla="*/ 898254 h 1310216"/>
                <a:gd name="connsiteX290" fmla="*/ 215430 w 365348"/>
                <a:gd name="connsiteY290" fmla="*/ 902034 h 1310216"/>
                <a:gd name="connsiteX291" fmla="*/ 215430 w 365348"/>
                <a:gd name="connsiteY291" fmla="*/ 907073 h 1310216"/>
                <a:gd name="connsiteX292" fmla="*/ 215430 w 365348"/>
                <a:gd name="connsiteY292" fmla="*/ 910853 h 1310216"/>
                <a:gd name="connsiteX293" fmla="*/ 216690 w 365348"/>
                <a:gd name="connsiteY293" fmla="*/ 918411 h 1310216"/>
                <a:gd name="connsiteX294" fmla="*/ 219209 w 365348"/>
                <a:gd name="connsiteY294" fmla="*/ 938568 h 1310216"/>
                <a:gd name="connsiteX295" fmla="*/ 220469 w 365348"/>
                <a:gd name="connsiteY295" fmla="*/ 947387 h 1310216"/>
                <a:gd name="connsiteX296" fmla="*/ 221729 w 365348"/>
                <a:gd name="connsiteY296" fmla="*/ 958726 h 1310216"/>
                <a:gd name="connsiteX297" fmla="*/ 222989 w 365348"/>
                <a:gd name="connsiteY297" fmla="*/ 970064 h 1310216"/>
                <a:gd name="connsiteX298" fmla="*/ 224249 w 365348"/>
                <a:gd name="connsiteY298" fmla="*/ 980143 h 1310216"/>
                <a:gd name="connsiteX299" fmla="*/ 225508 w 365348"/>
                <a:gd name="connsiteY299" fmla="*/ 990221 h 1310216"/>
                <a:gd name="connsiteX300" fmla="*/ 225508 w 365348"/>
                <a:gd name="connsiteY300" fmla="*/ 991481 h 1310216"/>
                <a:gd name="connsiteX301" fmla="*/ 225508 w 365348"/>
                <a:gd name="connsiteY301" fmla="*/ 996520 h 1310216"/>
                <a:gd name="connsiteX302" fmla="*/ 225508 w 365348"/>
                <a:gd name="connsiteY302" fmla="*/ 1000300 h 1310216"/>
                <a:gd name="connsiteX303" fmla="*/ 226768 w 365348"/>
                <a:gd name="connsiteY303" fmla="*/ 1009119 h 1310216"/>
                <a:gd name="connsiteX304" fmla="*/ 228028 w 365348"/>
                <a:gd name="connsiteY304" fmla="*/ 1020457 h 1310216"/>
                <a:gd name="connsiteX305" fmla="*/ 229288 w 365348"/>
                <a:gd name="connsiteY305" fmla="*/ 1033055 h 1310216"/>
                <a:gd name="connsiteX306" fmla="*/ 230548 w 365348"/>
                <a:gd name="connsiteY306" fmla="*/ 1040614 h 1310216"/>
                <a:gd name="connsiteX307" fmla="*/ 235587 w 365348"/>
                <a:gd name="connsiteY307" fmla="*/ 1082188 h 1310216"/>
                <a:gd name="connsiteX308" fmla="*/ 235587 w 365348"/>
                <a:gd name="connsiteY308" fmla="*/ 1087228 h 1310216"/>
                <a:gd name="connsiteX309" fmla="*/ 236847 w 365348"/>
                <a:gd name="connsiteY309" fmla="*/ 1099826 h 1310216"/>
                <a:gd name="connsiteX310" fmla="*/ 239366 w 365348"/>
                <a:gd name="connsiteY310" fmla="*/ 1117463 h 1310216"/>
                <a:gd name="connsiteX311" fmla="*/ 240626 w 365348"/>
                <a:gd name="connsiteY311" fmla="*/ 1125022 h 1310216"/>
                <a:gd name="connsiteX312" fmla="*/ 244406 w 365348"/>
                <a:gd name="connsiteY312" fmla="*/ 1152738 h 1310216"/>
                <a:gd name="connsiteX313" fmla="*/ 245666 w 365348"/>
                <a:gd name="connsiteY313" fmla="*/ 1159037 h 1310216"/>
                <a:gd name="connsiteX314" fmla="*/ 246925 w 365348"/>
                <a:gd name="connsiteY314" fmla="*/ 1170376 h 1310216"/>
                <a:gd name="connsiteX315" fmla="*/ 249445 w 365348"/>
                <a:gd name="connsiteY315" fmla="*/ 1188014 h 1310216"/>
                <a:gd name="connsiteX316" fmla="*/ 254484 w 365348"/>
                <a:gd name="connsiteY316" fmla="*/ 1220769 h 1310216"/>
                <a:gd name="connsiteX317" fmla="*/ 255744 w 365348"/>
                <a:gd name="connsiteY317" fmla="*/ 1233367 h 1310216"/>
                <a:gd name="connsiteX318" fmla="*/ 258264 w 365348"/>
                <a:gd name="connsiteY318" fmla="*/ 1247225 h 1310216"/>
                <a:gd name="connsiteX319" fmla="*/ 260784 w 365348"/>
                <a:gd name="connsiteY319" fmla="*/ 1258563 h 1310216"/>
                <a:gd name="connsiteX320" fmla="*/ 260784 w 365348"/>
                <a:gd name="connsiteY320" fmla="*/ 1261083 h 1310216"/>
                <a:gd name="connsiteX321" fmla="*/ 264563 w 365348"/>
                <a:gd name="connsiteY321" fmla="*/ 1285020 h 1310216"/>
                <a:gd name="connsiteX322" fmla="*/ 264563 w 365348"/>
                <a:gd name="connsiteY322" fmla="*/ 1290059 h 1310216"/>
                <a:gd name="connsiteX323" fmla="*/ 265823 w 365348"/>
                <a:gd name="connsiteY323" fmla="*/ 1298878 h 1310216"/>
                <a:gd name="connsiteX324" fmla="*/ 267083 w 365348"/>
                <a:gd name="connsiteY324" fmla="*/ 1305177 h 1310216"/>
                <a:gd name="connsiteX325" fmla="*/ 267083 w 365348"/>
                <a:gd name="connsiteY325" fmla="*/ 1305177 h 1310216"/>
                <a:gd name="connsiteX326" fmla="*/ 268343 w 365348"/>
                <a:gd name="connsiteY326" fmla="*/ 1312736 h 1310216"/>
                <a:gd name="connsiteX327" fmla="*/ 269602 w 365348"/>
                <a:gd name="connsiteY327" fmla="*/ 1315256 h 1310216"/>
                <a:gd name="connsiteX328" fmla="*/ 270862 w 365348"/>
                <a:gd name="connsiteY328" fmla="*/ 1317775 h 1310216"/>
                <a:gd name="connsiteX329" fmla="*/ 279681 w 365348"/>
                <a:gd name="connsiteY329" fmla="*/ 1320295 h 1310216"/>
                <a:gd name="connsiteX330" fmla="*/ 280941 w 365348"/>
                <a:gd name="connsiteY330" fmla="*/ 1320295 h 1310216"/>
                <a:gd name="connsiteX331" fmla="*/ 285980 w 365348"/>
                <a:gd name="connsiteY331" fmla="*/ 1320295 h 1310216"/>
                <a:gd name="connsiteX332" fmla="*/ 289759 w 365348"/>
                <a:gd name="connsiteY332" fmla="*/ 1320295 h 1310216"/>
                <a:gd name="connsiteX333" fmla="*/ 298578 w 365348"/>
                <a:gd name="connsiteY333" fmla="*/ 1320295 h 1310216"/>
                <a:gd name="connsiteX334" fmla="*/ 301098 w 365348"/>
                <a:gd name="connsiteY334" fmla="*/ 1320295 h 1310216"/>
                <a:gd name="connsiteX335" fmla="*/ 306137 w 365348"/>
                <a:gd name="connsiteY335" fmla="*/ 1320295 h 1310216"/>
                <a:gd name="connsiteX336" fmla="*/ 312436 w 365348"/>
                <a:gd name="connsiteY336" fmla="*/ 1320295 h 1310216"/>
                <a:gd name="connsiteX337" fmla="*/ 318736 w 365348"/>
                <a:gd name="connsiteY337" fmla="*/ 1320295 h 1310216"/>
                <a:gd name="connsiteX338" fmla="*/ 325035 w 365348"/>
                <a:gd name="connsiteY338" fmla="*/ 1320295 h 1310216"/>
                <a:gd name="connsiteX339" fmla="*/ 327554 w 365348"/>
                <a:gd name="connsiteY339" fmla="*/ 1320295 h 1310216"/>
                <a:gd name="connsiteX340" fmla="*/ 332593 w 365348"/>
                <a:gd name="connsiteY340" fmla="*/ 1320295 h 1310216"/>
                <a:gd name="connsiteX341" fmla="*/ 337633 w 365348"/>
                <a:gd name="connsiteY341" fmla="*/ 1320295 h 1310216"/>
                <a:gd name="connsiteX342" fmla="*/ 342672 w 365348"/>
                <a:gd name="connsiteY342" fmla="*/ 1320295 h 1310216"/>
                <a:gd name="connsiteX343" fmla="*/ 347711 w 365348"/>
                <a:gd name="connsiteY343" fmla="*/ 1320295 h 1310216"/>
                <a:gd name="connsiteX344" fmla="*/ 348971 w 365348"/>
                <a:gd name="connsiteY344" fmla="*/ 1320295 h 1310216"/>
                <a:gd name="connsiteX345" fmla="*/ 357790 w 365348"/>
                <a:gd name="connsiteY345" fmla="*/ 1320295 h 1310216"/>
                <a:gd name="connsiteX346" fmla="*/ 365349 w 365348"/>
                <a:gd name="connsiteY346" fmla="*/ 1319035 h 1310216"/>
                <a:gd name="connsiteX347" fmla="*/ 367869 w 365348"/>
                <a:gd name="connsiteY347" fmla="*/ 1317775 h 1310216"/>
                <a:gd name="connsiteX348" fmla="*/ 369128 w 365348"/>
                <a:gd name="connsiteY348" fmla="*/ 1316515 h 1310216"/>
                <a:gd name="connsiteX349" fmla="*/ 370388 w 365348"/>
                <a:gd name="connsiteY349" fmla="*/ 1315256 h 1310216"/>
                <a:gd name="connsiteX350" fmla="*/ 371648 w 365348"/>
                <a:gd name="connsiteY350" fmla="*/ 1311476 h 1310216"/>
                <a:gd name="connsiteX351" fmla="*/ 371648 w 365348"/>
                <a:gd name="connsiteY351" fmla="*/ 1307697 h 1310216"/>
                <a:gd name="connsiteX352" fmla="*/ 371648 w 365348"/>
                <a:gd name="connsiteY352" fmla="*/ 1307697 h 1310216"/>
                <a:gd name="connsiteX353" fmla="*/ 371648 w 365348"/>
                <a:gd name="connsiteY353" fmla="*/ 1302657 h 1310216"/>
                <a:gd name="connsiteX354" fmla="*/ 371648 w 365348"/>
                <a:gd name="connsiteY354" fmla="*/ 1287540 h 1310216"/>
                <a:gd name="connsiteX355" fmla="*/ 371648 w 365348"/>
                <a:gd name="connsiteY355" fmla="*/ 1283760 h 1310216"/>
                <a:gd name="connsiteX356" fmla="*/ 371648 w 365348"/>
                <a:gd name="connsiteY356" fmla="*/ 1263603 h 1310216"/>
                <a:gd name="connsiteX357" fmla="*/ 371648 w 365348"/>
                <a:gd name="connsiteY357" fmla="*/ 1258563 h 1310216"/>
                <a:gd name="connsiteX358" fmla="*/ 371648 w 365348"/>
                <a:gd name="connsiteY358" fmla="*/ 1244706 h 1310216"/>
                <a:gd name="connsiteX359" fmla="*/ 372908 w 365348"/>
                <a:gd name="connsiteY359" fmla="*/ 1224548 h 1310216"/>
                <a:gd name="connsiteX360" fmla="*/ 372908 w 365348"/>
                <a:gd name="connsiteY360" fmla="*/ 1219509 h 1310216"/>
                <a:gd name="connsiteX361" fmla="*/ 374168 w 365348"/>
                <a:gd name="connsiteY361" fmla="*/ 1203131 h 1310216"/>
                <a:gd name="connsiteX362" fmla="*/ 375428 w 365348"/>
                <a:gd name="connsiteY362" fmla="*/ 1182974 h 1310216"/>
                <a:gd name="connsiteX363" fmla="*/ 375428 w 365348"/>
                <a:gd name="connsiteY363" fmla="*/ 1167856 h 1310216"/>
                <a:gd name="connsiteX364" fmla="*/ 375428 w 365348"/>
                <a:gd name="connsiteY364" fmla="*/ 1162817 h 1310216"/>
                <a:gd name="connsiteX365" fmla="*/ 375428 w 365348"/>
                <a:gd name="connsiteY365" fmla="*/ 1159037 h 1310216"/>
                <a:gd name="connsiteX366" fmla="*/ 375428 w 365348"/>
                <a:gd name="connsiteY366" fmla="*/ 1142660 h 1310216"/>
                <a:gd name="connsiteX367" fmla="*/ 375428 w 365348"/>
                <a:gd name="connsiteY367" fmla="*/ 1123763 h 1310216"/>
                <a:gd name="connsiteX368" fmla="*/ 375428 w 365348"/>
                <a:gd name="connsiteY368" fmla="*/ 1098566 h 1310216"/>
                <a:gd name="connsiteX369" fmla="*/ 375428 w 365348"/>
                <a:gd name="connsiteY369" fmla="*/ 1084708 h 1310216"/>
                <a:gd name="connsiteX370" fmla="*/ 374168 w 365348"/>
                <a:gd name="connsiteY370" fmla="*/ 1016678 h 1310216"/>
                <a:gd name="connsiteX371" fmla="*/ 372908 w 365348"/>
                <a:gd name="connsiteY371" fmla="*/ 973844 h 1310216"/>
                <a:gd name="connsiteX372" fmla="*/ 371648 w 365348"/>
                <a:gd name="connsiteY372" fmla="*/ 933529 h 1310216"/>
                <a:gd name="connsiteX373" fmla="*/ 370388 w 365348"/>
                <a:gd name="connsiteY373" fmla="*/ 912112 h 1310216"/>
                <a:gd name="connsiteX374" fmla="*/ 369128 w 365348"/>
                <a:gd name="connsiteY374" fmla="*/ 890695 h 1310216"/>
                <a:gd name="connsiteX375" fmla="*/ 369128 w 365348"/>
                <a:gd name="connsiteY375" fmla="*/ 879357 h 1310216"/>
                <a:gd name="connsiteX376" fmla="*/ 367869 w 365348"/>
                <a:gd name="connsiteY376" fmla="*/ 849121 h 1310216"/>
                <a:gd name="connsiteX377" fmla="*/ 365349 w 365348"/>
                <a:gd name="connsiteY377" fmla="*/ 806287 h 1310216"/>
                <a:gd name="connsiteX378" fmla="*/ 364089 w 365348"/>
                <a:gd name="connsiteY378" fmla="*/ 769752 h 1310216"/>
                <a:gd name="connsiteX379" fmla="*/ 364089 w 365348"/>
                <a:gd name="connsiteY379" fmla="*/ 764713 h 1310216"/>
                <a:gd name="connsiteX380" fmla="*/ 364089 w 365348"/>
                <a:gd name="connsiteY380" fmla="*/ 744556 h 1310216"/>
                <a:gd name="connsiteX381" fmla="*/ 362829 w 365348"/>
                <a:gd name="connsiteY381" fmla="*/ 681565 h 1310216"/>
                <a:gd name="connsiteX382" fmla="*/ 362829 w 365348"/>
                <a:gd name="connsiteY382" fmla="*/ 639990 h 1310216"/>
                <a:gd name="connsiteX383" fmla="*/ 362829 w 365348"/>
                <a:gd name="connsiteY383" fmla="*/ 613534 h 1310216"/>
                <a:gd name="connsiteX384" fmla="*/ 362829 w 365348"/>
                <a:gd name="connsiteY384" fmla="*/ 599676 h 1310216"/>
                <a:gd name="connsiteX385" fmla="*/ 361569 w 365348"/>
                <a:gd name="connsiteY385" fmla="*/ 515268 h 1310216"/>
                <a:gd name="connsiteX386" fmla="*/ 361569 w 365348"/>
                <a:gd name="connsiteY386" fmla="*/ 482512 h 1310216"/>
                <a:gd name="connsiteX387" fmla="*/ 361569 w 365348"/>
                <a:gd name="connsiteY387" fmla="*/ 430860 h 1310216"/>
                <a:gd name="connsiteX388" fmla="*/ 361569 w 365348"/>
                <a:gd name="connsiteY388" fmla="*/ 420781 h 1310216"/>
                <a:gd name="connsiteX389" fmla="*/ 361569 w 365348"/>
                <a:gd name="connsiteY389" fmla="*/ 386766 h 1310216"/>
                <a:gd name="connsiteX390" fmla="*/ 361569 w 365348"/>
                <a:gd name="connsiteY390" fmla="*/ 384246 h 1310216"/>
                <a:gd name="connsiteX391" fmla="*/ 362829 w 365348"/>
                <a:gd name="connsiteY391" fmla="*/ 345192 h 1310216"/>
                <a:gd name="connsiteX392" fmla="*/ 362829 w 365348"/>
                <a:gd name="connsiteY392" fmla="*/ 335113 h 1310216"/>
                <a:gd name="connsiteX393" fmla="*/ 362829 w 365348"/>
                <a:gd name="connsiteY393" fmla="*/ 331334 h 1310216"/>
                <a:gd name="connsiteX394" fmla="*/ 362829 w 365348"/>
                <a:gd name="connsiteY394" fmla="*/ 323775 h 1310216"/>
                <a:gd name="connsiteX395" fmla="*/ 362829 w 365348"/>
                <a:gd name="connsiteY395" fmla="*/ 301098 h 1310216"/>
                <a:gd name="connsiteX396" fmla="*/ 362829 w 365348"/>
                <a:gd name="connsiteY396" fmla="*/ 262043 h 1310216"/>
                <a:gd name="connsiteX397" fmla="*/ 362829 w 365348"/>
                <a:gd name="connsiteY397" fmla="*/ 259524 h 1310216"/>
                <a:gd name="connsiteX398" fmla="*/ 362829 w 365348"/>
                <a:gd name="connsiteY398" fmla="*/ 240626 h 1310216"/>
                <a:gd name="connsiteX399" fmla="*/ 362829 w 365348"/>
                <a:gd name="connsiteY399" fmla="*/ 217949 h 1310216"/>
                <a:gd name="connsiteX400" fmla="*/ 362829 w 365348"/>
                <a:gd name="connsiteY400" fmla="*/ 212910 h 1310216"/>
                <a:gd name="connsiteX401" fmla="*/ 362829 w 365348"/>
                <a:gd name="connsiteY401" fmla="*/ 197792 h 1310216"/>
                <a:gd name="connsiteX402" fmla="*/ 362829 w 365348"/>
                <a:gd name="connsiteY402" fmla="*/ 192753 h 1310216"/>
                <a:gd name="connsiteX403" fmla="*/ 362829 w 365348"/>
                <a:gd name="connsiteY403" fmla="*/ 176375 h 1310216"/>
                <a:gd name="connsiteX404" fmla="*/ 362829 w 365348"/>
                <a:gd name="connsiteY404" fmla="*/ 132281 h 1310216"/>
                <a:gd name="connsiteX405" fmla="*/ 365349 w 365348"/>
                <a:gd name="connsiteY405" fmla="*/ 88188 h 1310216"/>
                <a:gd name="connsiteX406" fmla="*/ 88188 w 365348"/>
                <a:gd name="connsiteY406" fmla="*/ 1286280 h 1310216"/>
                <a:gd name="connsiteX407" fmla="*/ 88188 w 365348"/>
                <a:gd name="connsiteY407" fmla="*/ 1286280 h 1310216"/>
                <a:gd name="connsiteX408" fmla="*/ 88188 w 365348"/>
                <a:gd name="connsiteY408" fmla="*/ 1286280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</a:cxnLst>
              <a:rect l="l" t="t" r="r" b="b"/>
              <a:pathLst>
                <a:path w="365348" h="1310216">
                  <a:moveTo>
                    <a:pt x="365349" y="88188"/>
                  </a:moveTo>
                  <a:cubicBezTo>
                    <a:pt x="365349" y="59212"/>
                    <a:pt x="365349" y="28976"/>
                    <a:pt x="365349" y="0"/>
                  </a:cubicBezTo>
                  <a:cubicBezTo>
                    <a:pt x="362829" y="2520"/>
                    <a:pt x="360310" y="5039"/>
                    <a:pt x="357790" y="7559"/>
                  </a:cubicBezTo>
                  <a:lnTo>
                    <a:pt x="355270" y="10079"/>
                  </a:lnTo>
                  <a:cubicBezTo>
                    <a:pt x="354010" y="11339"/>
                    <a:pt x="354010" y="12598"/>
                    <a:pt x="352751" y="12598"/>
                  </a:cubicBezTo>
                  <a:cubicBezTo>
                    <a:pt x="352751" y="12598"/>
                    <a:pt x="352751" y="13858"/>
                    <a:pt x="352751" y="13858"/>
                  </a:cubicBezTo>
                  <a:cubicBezTo>
                    <a:pt x="352751" y="13858"/>
                    <a:pt x="352751" y="13858"/>
                    <a:pt x="352751" y="12598"/>
                  </a:cubicBezTo>
                  <a:cubicBezTo>
                    <a:pt x="347711" y="18897"/>
                    <a:pt x="341412" y="25196"/>
                    <a:pt x="336373" y="32755"/>
                  </a:cubicBezTo>
                  <a:cubicBezTo>
                    <a:pt x="333853" y="36535"/>
                    <a:pt x="328814" y="42834"/>
                    <a:pt x="325035" y="47873"/>
                  </a:cubicBezTo>
                  <a:cubicBezTo>
                    <a:pt x="321255" y="52913"/>
                    <a:pt x="318736" y="59212"/>
                    <a:pt x="314956" y="62991"/>
                  </a:cubicBezTo>
                  <a:cubicBezTo>
                    <a:pt x="312436" y="68031"/>
                    <a:pt x="309917" y="71810"/>
                    <a:pt x="307397" y="76849"/>
                  </a:cubicBezTo>
                  <a:lnTo>
                    <a:pt x="307397" y="76849"/>
                  </a:lnTo>
                  <a:cubicBezTo>
                    <a:pt x="306137" y="79369"/>
                    <a:pt x="304877" y="81889"/>
                    <a:pt x="302358" y="85668"/>
                  </a:cubicBezTo>
                  <a:cubicBezTo>
                    <a:pt x="301098" y="86928"/>
                    <a:pt x="301098" y="89448"/>
                    <a:pt x="299838" y="90707"/>
                  </a:cubicBezTo>
                  <a:lnTo>
                    <a:pt x="299838" y="90707"/>
                  </a:lnTo>
                  <a:cubicBezTo>
                    <a:pt x="299838" y="91967"/>
                    <a:pt x="298578" y="91967"/>
                    <a:pt x="298578" y="93227"/>
                  </a:cubicBezTo>
                  <a:cubicBezTo>
                    <a:pt x="296058" y="98266"/>
                    <a:pt x="294799" y="103306"/>
                    <a:pt x="292279" y="107085"/>
                  </a:cubicBezTo>
                  <a:lnTo>
                    <a:pt x="292279" y="107085"/>
                  </a:lnTo>
                  <a:lnTo>
                    <a:pt x="292279" y="108345"/>
                  </a:lnTo>
                  <a:cubicBezTo>
                    <a:pt x="291019" y="110864"/>
                    <a:pt x="289759" y="114644"/>
                    <a:pt x="289759" y="117164"/>
                  </a:cubicBezTo>
                  <a:lnTo>
                    <a:pt x="289759" y="118424"/>
                  </a:lnTo>
                  <a:lnTo>
                    <a:pt x="289759" y="118424"/>
                  </a:lnTo>
                  <a:cubicBezTo>
                    <a:pt x="288499" y="120943"/>
                    <a:pt x="288499" y="123463"/>
                    <a:pt x="287240" y="125982"/>
                  </a:cubicBezTo>
                  <a:cubicBezTo>
                    <a:pt x="287240" y="127242"/>
                    <a:pt x="287240" y="128502"/>
                    <a:pt x="287240" y="131022"/>
                  </a:cubicBezTo>
                  <a:lnTo>
                    <a:pt x="287240" y="133541"/>
                  </a:lnTo>
                  <a:lnTo>
                    <a:pt x="287240" y="136061"/>
                  </a:lnTo>
                  <a:cubicBezTo>
                    <a:pt x="287240" y="137321"/>
                    <a:pt x="287240" y="139840"/>
                    <a:pt x="287240" y="141100"/>
                  </a:cubicBezTo>
                  <a:lnTo>
                    <a:pt x="287240" y="141100"/>
                  </a:lnTo>
                  <a:lnTo>
                    <a:pt x="287240" y="141100"/>
                  </a:lnTo>
                  <a:lnTo>
                    <a:pt x="287240" y="143620"/>
                  </a:lnTo>
                  <a:cubicBezTo>
                    <a:pt x="287240" y="146140"/>
                    <a:pt x="287240" y="147399"/>
                    <a:pt x="287240" y="149919"/>
                  </a:cubicBezTo>
                  <a:lnTo>
                    <a:pt x="287240" y="152439"/>
                  </a:lnTo>
                  <a:cubicBezTo>
                    <a:pt x="287240" y="154958"/>
                    <a:pt x="287240" y="157478"/>
                    <a:pt x="287240" y="159998"/>
                  </a:cubicBezTo>
                  <a:cubicBezTo>
                    <a:pt x="288499" y="167557"/>
                    <a:pt x="288499" y="172596"/>
                    <a:pt x="291019" y="177635"/>
                  </a:cubicBezTo>
                  <a:lnTo>
                    <a:pt x="291019" y="178895"/>
                  </a:lnTo>
                  <a:cubicBezTo>
                    <a:pt x="292279" y="182674"/>
                    <a:pt x="292279" y="185194"/>
                    <a:pt x="294799" y="188974"/>
                  </a:cubicBezTo>
                  <a:cubicBezTo>
                    <a:pt x="296058" y="191493"/>
                    <a:pt x="297318" y="195273"/>
                    <a:pt x="298578" y="197792"/>
                  </a:cubicBezTo>
                  <a:cubicBezTo>
                    <a:pt x="298578" y="199052"/>
                    <a:pt x="299838" y="200312"/>
                    <a:pt x="301098" y="201572"/>
                  </a:cubicBezTo>
                  <a:cubicBezTo>
                    <a:pt x="301098" y="202832"/>
                    <a:pt x="302358" y="202832"/>
                    <a:pt x="302358" y="204092"/>
                  </a:cubicBezTo>
                  <a:lnTo>
                    <a:pt x="302358" y="205351"/>
                  </a:lnTo>
                  <a:cubicBezTo>
                    <a:pt x="304877" y="207871"/>
                    <a:pt x="306137" y="210391"/>
                    <a:pt x="308657" y="212910"/>
                  </a:cubicBezTo>
                  <a:lnTo>
                    <a:pt x="308657" y="212910"/>
                  </a:lnTo>
                  <a:cubicBezTo>
                    <a:pt x="309917" y="214170"/>
                    <a:pt x="309917" y="214170"/>
                    <a:pt x="311177" y="215430"/>
                  </a:cubicBezTo>
                  <a:cubicBezTo>
                    <a:pt x="312436" y="216690"/>
                    <a:pt x="313696" y="217949"/>
                    <a:pt x="314956" y="217949"/>
                  </a:cubicBezTo>
                  <a:lnTo>
                    <a:pt x="316216" y="217949"/>
                  </a:lnTo>
                  <a:cubicBezTo>
                    <a:pt x="317476" y="217949"/>
                    <a:pt x="318736" y="219209"/>
                    <a:pt x="318736" y="219209"/>
                  </a:cubicBezTo>
                  <a:cubicBezTo>
                    <a:pt x="321255" y="220469"/>
                    <a:pt x="323775" y="221729"/>
                    <a:pt x="326294" y="222989"/>
                  </a:cubicBezTo>
                  <a:lnTo>
                    <a:pt x="326294" y="222989"/>
                  </a:lnTo>
                  <a:cubicBezTo>
                    <a:pt x="328814" y="224249"/>
                    <a:pt x="33259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3853" y="225508"/>
                    <a:pt x="333853" y="225508"/>
                  </a:cubicBezTo>
                  <a:lnTo>
                    <a:pt x="332593" y="225508"/>
                  </a:lnTo>
                  <a:cubicBezTo>
                    <a:pt x="331334" y="225508"/>
                    <a:pt x="330074" y="225508"/>
                    <a:pt x="328814" y="225508"/>
                  </a:cubicBezTo>
                  <a:cubicBezTo>
                    <a:pt x="327554" y="225508"/>
                    <a:pt x="325035" y="225508"/>
                    <a:pt x="323775" y="225508"/>
                  </a:cubicBezTo>
                  <a:cubicBezTo>
                    <a:pt x="317476" y="225508"/>
                    <a:pt x="311177" y="226768"/>
                    <a:pt x="303617" y="226768"/>
                  </a:cubicBezTo>
                  <a:cubicBezTo>
                    <a:pt x="294799" y="226768"/>
                    <a:pt x="284720" y="226768"/>
                    <a:pt x="275901" y="226768"/>
                  </a:cubicBezTo>
                  <a:cubicBezTo>
                    <a:pt x="273382" y="226768"/>
                    <a:pt x="270862" y="226768"/>
                    <a:pt x="268343" y="226768"/>
                  </a:cubicBezTo>
                  <a:lnTo>
                    <a:pt x="265823" y="226768"/>
                  </a:lnTo>
                  <a:lnTo>
                    <a:pt x="265823" y="226768"/>
                  </a:lnTo>
                  <a:cubicBezTo>
                    <a:pt x="263303" y="226768"/>
                    <a:pt x="262043" y="226768"/>
                    <a:pt x="259524" y="226768"/>
                  </a:cubicBezTo>
                  <a:cubicBezTo>
                    <a:pt x="257004" y="226768"/>
                    <a:pt x="253225" y="226768"/>
                    <a:pt x="250705" y="226768"/>
                  </a:cubicBezTo>
                  <a:cubicBezTo>
                    <a:pt x="249445" y="226768"/>
                    <a:pt x="248185" y="226768"/>
                    <a:pt x="245666" y="226768"/>
                  </a:cubicBezTo>
                  <a:lnTo>
                    <a:pt x="245666" y="226768"/>
                  </a:lnTo>
                  <a:lnTo>
                    <a:pt x="245666" y="226768"/>
                  </a:lnTo>
                  <a:cubicBezTo>
                    <a:pt x="241886" y="226768"/>
                    <a:pt x="236847" y="226768"/>
                    <a:pt x="233067" y="226768"/>
                  </a:cubicBezTo>
                  <a:cubicBezTo>
                    <a:pt x="230548" y="226768"/>
                    <a:pt x="229288" y="226768"/>
                    <a:pt x="226768" y="226768"/>
                  </a:cubicBezTo>
                  <a:lnTo>
                    <a:pt x="225508" y="226768"/>
                  </a:lnTo>
                  <a:cubicBezTo>
                    <a:pt x="222989" y="226768"/>
                    <a:pt x="217950" y="226768"/>
                    <a:pt x="214170" y="226768"/>
                  </a:cubicBezTo>
                  <a:lnTo>
                    <a:pt x="209131" y="226768"/>
                  </a:lnTo>
                  <a:lnTo>
                    <a:pt x="207871" y="226768"/>
                  </a:lnTo>
                  <a:lnTo>
                    <a:pt x="207871" y="226768"/>
                  </a:lnTo>
                  <a:lnTo>
                    <a:pt x="207871" y="226768"/>
                  </a:lnTo>
                  <a:cubicBezTo>
                    <a:pt x="204092" y="226768"/>
                    <a:pt x="200312" y="226768"/>
                    <a:pt x="196533" y="226768"/>
                  </a:cubicBezTo>
                  <a:cubicBezTo>
                    <a:pt x="194013" y="226768"/>
                    <a:pt x="191493" y="226768"/>
                    <a:pt x="188973" y="226768"/>
                  </a:cubicBezTo>
                  <a:cubicBezTo>
                    <a:pt x="185194" y="226768"/>
                    <a:pt x="182674" y="226768"/>
                    <a:pt x="178895" y="226768"/>
                  </a:cubicBezTo>
                  <a:cubicBezTo>
                    <a:pt x="173856" y="226768"/>
                    <a:pt x="167557" y="226768"/>
                    <a:pt x="161258" y="225508"/>
                  </a:cubicBezTo>
                  <a:cubicBezTo>
                    <a:pt x="161258" y="225508"/>
                    <a:pt x="159998" y="225508"/>
                    <a:pt x="159998" y="225508"/>
                  </a:cubicBezTo>
                  <a:cubicBezTo>
                    <a:pt x="157478" y="225508"/>
                    <a:pt x="153699" y="225508"/>
                    <a:pt x="151179" y="224249"/>
                  </a:cubicBezTo>
                  <a:lnTo>
                    <a:pt x="149919" y="224249"/>
                  </a:lnTo>
                  <a:lnTo>
                    <a:pt x="149919" y="224249"/>
                  </a:lnTo>
                  <a:cubicBezTo>
                    <a:pt x="147399" y="224249"/>
                    <a:pt x="144880" y="224249"/>
                    <a:pt x="143620" y="222989"/>
                  </a:cubicBezTo>
                  <a:cubicBezTo>
                    <a:pt x="142360" y="222989"/>
                    <a:pt x="142360" y="222989"/>
                    <a:pt x="141100" y="222989"/>
                  </a:cubicBezTo>
                  <a:cubicBezTo>
                    <a:pt x="138581" y="222989"/>
                    <a:pt x="136061" y="222989"/>
                    <a:pt x="133541" y="222989"/>
                  </a:cubicBezTo>
                  <a:cubicBezTo>
                    <a:pt x="131022" y="222989"/>
                    <a:pt x="128502" y="222989"/>
                    <a:pt x="127242" y="222989"/>
                  </a:cubicBezTo>
                  <a:lnTo>
                    <a:pt x="125982" y="222989"/>
                  </a:lnTo>
                  <a:lnTo>
                    <a:pt x="124722" y="222989"/>
                  </a:lnTo>
                  <a:cubicBezTo>
                    <a:pt x="123463" y="222989"/>
                    <a:pt x="122203" y="222989"/>
                    <a:pt x="120943" y="222989"/>
                  </a:cubicBezTo>
                  <a:lnTo>
                    <a:pt x="120943" y="222989"/>
                  </a:lnTo>
                  <a:cubicBezTo>
                    <a:pt x="119683" y="222989"/>
                    <a:pt x="117164" y="222989"/>
                    <a:pt x="115904" y="222989"/>
                  </a:cubicBezTo>
                  <a:cubicBezTo>
                    <a:pt x="113384" y="222989"/>
                    <a:pt x="112124" y="222989"/>
                    <a:pt x="109605" y="222989"/>
                  </a:cubicBezTo>
                  <a:cubicBezTo>
                    <a:pt x="108345" y="222989"/>
                    <a:pt x="108345" y="222989"/>
                    <a:pt x="107085" y="222989"/>
                  </a:cubicBezTo>
                  <a:lnTo>
                    <a:pt x="107085" y="222989"/>
                  </a:lnTo>
                  <a:cubicBezTo>
                    <a:pt x="107085" y="222989"/>
                    <a:pt x="105825" y="222989"/>
                    <a:pt x="105825" y="222989"/>
                  </a:cubicBezTo>
                  <a:cubicBezTo>
                    <a:pt x="103306" y="222989"/>
                    <a:pt x="99526" y="222989"/>
                    <a:pt x="95747" y="222989"/>
                  </a:cubicBezTo>
                  <a:cubicBezTo>
                    <a:pt x="93227" y="222989"/>
                    <a:pt x="89448" y="222989"/>
                    <a:pt x="86928" y="222989"/>
                  </a:cubicBezTo>
                  <a:lnTo>
                    <a:pt x="86928" y="222989"/>
                  </a:lnTo>
                  <a:lnTo>
                    <a:pt x="85668" y="222989"/>
                  </a:lnTo>
                  <a:cubicBezTo>
                    <a:pt x="83148" y="222989"/>
                    <a:pt x="80629" y="222989"/>
                    <a:pt x="78109" y="222989"/>
                  </a:cubicBezTo>
                  <a:lnTo>
                    <a:pt x="78109" y="222989"/>
                  </a:lnTo>
                  <a:lnTo>
                    <a:pt x="78109" y="222989"/>
                  </a:lnTo>
                  <a:cubicBezTo>
                    <a:pt x="69290" y="224249"/>
                    <a:pt x="59212" y="224249"/>
                    <a:pt x="49133" y="224249"/>
                  </a:cubicBezTo>
                  <a:cubicBezTo>
                    <a:pt x="42834" y="224249"/>
                    <a:pt x="36535" y="224249"/>
                    <a:pt x="31496" y="224249"/>
                  </a:cubicBezTo>
                  <a:cubicBezTo>
                    <a:pt x="31496" y="224249"/>
                    <a:pt x="30236" y="224249"/>
                    <a:pt x="30236" y="224249"/>
                  </a:cubicBezTo>
                  <a:lnTo>
                    <a:pt x="28976" y="224249"/>
                  </a:lnTo>
                  <a:lnTo>
                    <a:pt x="28976" y="224249"/>
                  </a:lnTo>
                  <a:lnTo>
                    <a:pt x="27716" y="224249"/>
                  </a:lnTo>
                  <a:cubicBezTo>
                    <a:pt x="26456" y="224249"/>
                    <a:pt x="23937" y="224249"/>
                    <a:pt x="22677" y="224249"/>
                  </a:cubicBezTo>
                  <a:cubicBezTo>
                    <a:pt x="21417" y="224249"/>
                    <a:pt x="20157" y="224249"/>
                    <a:pt x="18897" y="224249"/>
                  </a:cubicBezTo>
                  <a:cubicBezTo>
                    <a:pt x="17637" y="224249"/>
                    <a:pt x="16378" y="224249"/>
                    <a:pt x="15118" y="224249"/>
                  </a:cubicBezTo>
                  <a:lnTo>
                    <a:pt x="15118" y="224249"/>
                  </a:lnTo>
                  <a:cubicBezTo>
                    <a:pt x="13858" y="224249"/>
                    <a:pt x="12598" y="224249"/>
                    <a:pt x="12598" y="222989"/>
                  </a:cubicBezTo>
                  <a:cubicBezTo>
                    <a:pt x="11338" y="222989"/>
                    <a:pt x="11338" y="221729"/>
                    <a:pt x="10079" y="221729"/>
                  </a:cubicBezTo>
                  <a:cubicBezTo>
                    <a:pt x="8819" y="221729"/>
                    <a:pt x="8819" y="220469"/>
                    <a:pt x="7559" y="219209"/>
                  </a:cubicBezTo>
                  <a:cubicBezTo>
                    <a:pt x="7559" y="229288"/>
                    <a:pt x="7559" y="238107"/>
                    <a:pt x="7559" y="248185"/>
                  </a:cubicBezTo>
                  <a:cubicBezTo>
                    <a:pt x="7559" y="257004"/>
                    <a:pt x="7559" y="267083"/>
                    <a:pt x="7559" y="275901"/>
                  </a:cubicBezTo>
                  <a:cubicBezTo>
                    <a:pt x="7559" y="279681"/>
                    <a:pt x="7559" y="284720"/>
                    <a:pt x="7559" y="288500"/>
                  </a:cubicBezTo>
                  <a:cubicBezTo>
                    <a:pt x="7559" y="299838"/>
                    <a:pt x="7559" y="313696"/>
                    <a:pt x="7559" y="328814"/>
                  </a:cubicBezTo>
                  <a:cubicBezTo>
                    <a:pt x="7559" y="341412"/>
                    <a:pt x="7559" y="355270"/>
                    <a:pt x="7559" y="369128"/>
                  </a:cubicBezTo>
                  <a:cubicBezTo>
                    <a:pt x="7559" y="374168"/>
                    <a:pt x="7559" y="379207"/>
                    <a:pt x="7559" y="385506"/>
                  </a:cubicBezTo>
                  <a:cubicBezTo>
                    <a:pt x="7559" y="394325"/>
                    <a:pt x="7559" y="403143"/>
                    <a:pt x="7559" y="411962"/>
                  </a:cubicBezTo>
                  <a:lnTo>
                    <a:pt x="7559" y="414482"/>
                  </a:lnTo>
                  <a:cubicBezTo>
                    <a:pt x="7559" y="420781"/>
                    <a:pt x="7559" y="427080"/>
                    <a:pt x="7559" y="432119"/>
                  </a:cubicBezTo>
                  <a:cubicBezTo>
                    <a:pt x="7559" y="439678"/>
                    <a:pt x="7559" y="447237"/>
                    <a:pt x="6299" y="454796"/>
                  </a:cubicBezTo>
                  <a:lnTo>
                    <a:pt x="6299" y="459836"/>
                  </a:lnTo>
                  <a:cubicBezTo>
                    <a:pt x="6299" y="464875"/>
                    <a:pt x="6299" y="468654"/>
                    <a:pt x="6299" y="473694"/>
                  </a:cubicBezTo>
                  <a:cubicBezTo>
                    <a:pt x="6299" y="476213"/>
                    <a:pt x="6299" y="478733"/>
                    <a:pt x="6299" y="482512"/>
                  </a:cubicBezTo>
                  <a:cubicBezTo>
                    <a:pt x="6299" y="486292"/>
                    <a:pt x="6299" y="490071"/>
                    <a:pt x="6299" y="495111"/>
                  </a:cubicBezTo>
                  <a:cubicBezTo>
                    <a:pt x="5039" y="511488"/>
                    <a:pt x="5039" y="524087"/>
                    <a:pt x="5039" y="536685"/>
                  </a:cubicBezTo>
                  <a:cubicBezTo>
                    <a:pt x="5039" y="548023"/>
                    <a:pt x="5039" y="558102"/>
                    <a:pt x="3780" y="569440"/>
                  </a:cubicBezTo>
                  <a:lnTo>
                    <a:pt x="3780" y="578259"/>
                  </a:lnTo>
                  <a:cubicBezTo>
                    <a:pt x="3780" y="585818"/>
                    <a:pt x="3780" y="593377"/>
                    <a:pt x="2520" y="599676"/>
                  </a:cubicBezTo>
                  <a:cubicBezTo>
                    <a:pt x="2520" y="605975"/>
                    <a:pt x="2520" y="613534"/>
                    <a:pt x="1260" y="621093"/>
                  </a:cubicBezTo>
                  <a:cubicBezTo>
                    <a:pt x="1260" y="626132"/>
                    <a:pt x="1260" y="632431"/>
                    <a:pt x="1260" y="637471"/>
                  </a:cubicBezTo>
                  <a:cubicBezTo>
                    <a:pt x="1260" y="645030"/>
                    <a:pt x="0" y="652589"/>
                    <a:pt x="0" y="660147"/>
                  </a:cubicBezTo>
                  <a:cubicBezTo>
                    <a:pt x="0" y="674005"/>
                    <a:pt x="0" y="687864"/>
                    <a:pt x="0" y="702982"/>
                  </a:cubicBezTo>
                  <a:cubicBezTo>
                    <a:pt x="0" y="714320"/>
                    <a:pt x="0" y="724398"/>
                    <a:pt x="0" y="735737"/>
                  </a:cubicBezTo>
                  <a:lnTo>
                    <a:pt x="0" y="745816"/>
                  </a:lnTo>
                  <a:cubicBezTo>
                    <a:pt x="0" y="768492"/>
                    <a:pt x="1260" y="793689"/>
                    <a:pt x="1260" y="825184"/>
                  </a:cubicBezTo>
                  <a:lnTo>
                    <a:pt x="1260" y="832743"/>
                  </a:lnTo>
                  <a:cubicBezTo>
                    <a:pt x="1260" y="837783"/>
                    <a:pt x="1260" y="841562"/>
                    <a:pt x="1260" y="846601"/>
                  </a:cubicBezTo>
                  <a:lnTo>
                    <a:pt x="1260" y="850381"/>
                  </a:lnTo>
                  <a:cubicBezTo>
                    <a:pt x="1260" y="855420"/>
                    <a:pt x="1260" y="860460"/>
                    <a:pt x="1260" y="865499"/>
                  </a:cubicBezTo>
                  <a:lnTo>
                    <a:pt x="1260" y="870538"/>
                  </a:lnTo>
                  <a:cubicBezTo>
                    <a:pt x="1260" y="883136"/>
                    <a:pt x="1260" y="895734"/>
                    <a:pt x="0" y="908333"/>
                  </a:cubicBezTo>
                  <a:cubicBezTo>
                    <a:pt x="0" y="919671"/>
                    <a:pt x="0" y="931009"/>
                    <a:pt x="0" y="942348"/>
                  </a:cubicBezTo>
                  <a:lnTo>
                    <a:pt x="0" y="947387"/>
                  </a:lnTo>
                  <a:cubicBezTo>
                    <a:pt x="0" y="959986"/>
                    <a:pt x="0" y="973844"/>
                    <a:pt x="0" y="987701"/>
                  </a:cubicBezTo>
                  <a:cubicBezTo>
                    <a:pt x="0" y="999040"/>
                    <a:pt x="0" y="1010378"/>
                    <a:pt x="1260" y="1021717"/>
                  </a:cubicBezTo>
                  <a:cubicBezTo>
                    <a:pt x="1260" y="1036835"/>
                    <a:pt x="1260" y="1053212"/>
                    <a:pt x="2520" y="1068330"/>
                  </a:cubicBezTo>
                  <a:cubicBezTo>
                    <a:pt x="2520" y="1098566"/>
                    <a:pt x="3780" y="1128802"/>
                    <a:pt x="3780" y="1159037"/>
                  </a:cubicBezTo>
                  <a:cubicBezTo>
                    <a:pt x="3780" y="1181715"/>
                    <a:pt x="3780" y="1204391"/>
                    <a:pt x="5039" y="1227068"/>
                  </a:cubicBezTo>
                  <a:cubicBezTo>
                    <a:pt x="5039" y="1233367"/>
                    <a:pt x="5039" y="1239666"/>
                    <a:pt x="6299" y="1245965"/>
                  </a:cubicBezTo>
                  <a:cubicBezTo>
                    <a:pt x="6299" y="1249745"/>
                    <a:pt x="7559" y="1253524"/>
                    <a:pt x="7559" y="1256044"/>
                  </a:cubicBezTo>
                  <a:cubicBezTo>
                    <a:pt x="7559" y="1258563"/>
                    <a:pt x="8819" y="1262343"/>
                    <a:pt x="8819" y="1264863"/>
                  </a:cubicBezTo>
                  <a:cubicBezTo>
                    <a:pt x="8819" y="1269902"/>
                    <a:pt x="10079" y="1276201"/>
                    <a:pt x="11338" y="1283760"/>
                  </a:cubicBezTo>
                  <a:lnTo>
                    <a:pt x="11338" y="1283760"/>
                  </a:lnTo>
                  <a:cubicBezTo>
                    <a:pt x="11338" y="1285020"/>
                    <a:pt x="11338" y="1286280"/>
                    <a:pt x="11338" y="1287540"/>
                  </a:cubicBezTo>
                  <a:cubicBezTo>
                    <a:pt x="11338" y="1288800"/>
                    <a:pt x="11338" y="1290059"/>
                    <a:pt x="12598" y="1291319"/>
                  </a:cubicBezTo>
                  <a:lnTo>
                    <a:pt x="12598" y="1292579"/>
                  </a:lnTo>
                  <a:lnTo>
                    <a:pt x="12598" y="1293839"/>
                  </a:lnTo>
                  <a:cubicBezTo>
                    <a:pt x="13858" y="1295099"/>
                    <a:pt x="13858" y="1296358"/>
                    <a:pt x="15118" y="1297618"/>
                  </a:cubicBezTo>
                  <a:lnTo>
                    <a:pt x="15118" y="1298878"/>
                  </a:lnTo>
                  <a:lnTo>
                    <a:pt x="15118" y="1300138"/>
                  </a:lnTo>
                  <a:cubicBezTo>
                    <a:pt x="16378" y="1301398"/>
                    <a:pt x="16378" y="1301398"/>
                    <a:pt x="17637" y="1302657"/>
                  </a:cubicBezTo>
                  <a:lnTo>
                    <a:pt x="18897" y="1303917"/>
                  </a:lnTo>
                  <a:lnTo>
                    <a:pt x="20157" y="1303917"/>
                  </a:lnTo>
                  <a:lnTo>
                    <a:pt x="22677" y="1305177"/>
                  </a:lnTo>
                  <a:lnTo>
                    <a:pt x="22677" y="1305177"/>
                  </a:lnTo>
                  <a:lnTo>
                    <a:pt x="23937" y="1305177"/>
                  </a:lnTo>
                  <a:cubicBezTo>
                    <a:pt x="25196" y="1305177"/>
                    <a:pt x="26456" y="1306437"/>
                    <a:pt x="27716" y="1306437"/>
                  </a:cubicBezTo>
                  <a:lnTo>
                    <a:pt x="28976" y="1306437"/>
                  </a:lnTo>
                  <a:cubicBezTo>
                    <a:pt x="30236" y="1306437"/>
                    <a:pt x="31496" y="1306437"/>
                    <a:pt x="32755" y="1306437"/>
                  </a:cubicBezTo>
                  <a:cubicBezTo>
                    <a:pt x="36535" y="1306437"/>
                    <a:pt x="39055" y="1307697"/>
                    <a:pt x="42834" y="1307697"/>
                  </a:cubicBezTo>
                  <a:cubicBezTo>
                    <a:pt x="45354" y="1307697"/>
                    <a:pt x="46614" y="1307697"/>
                    <a:pt x="49133" y="1307697"/>
                  </a:cubicBezTo>
                  <a:lnTo>
                    <a:pt x="51653" y="1307697"/>
                  </a:lnTo>
                  <a:cubicBezTo>
                    <a:pt x="57952" y="1307697"/>
                    <a:pt x="62991" y="1307697"/>
                    <a:pt x="68030" y="1307697"/>
                  </a:cubicBezTo>
                  <a:cubicBezTo>
                    <a:pt x="73070" y="1307697"/>
                    <a:pt x="78109" y="1307697"/>
                    <a:pt x="84408" y="1306437"/>
                  </a:cubicBezTo>
                  <a:cubicBezTo>
                    <a:pt x="85668" y="1306437"/>
                    <a:pt x="86928" y="1306437"/>
                    <a:pt x="86928" y="1306437"/>
                  </a:cubicBezTo>
                  <a:lnTo>
                    <a:pt x="86928" y="1306437"/>
                  </a:lnTo>
                  <a:cubicBezTo>
                    <a:pt x="88188" y="1306437"/>
                    <a:pt x="89448" y="1306437"/>
                    <a:pt x="90707" y="1305177"/>
                  </a:cubicBezTo>
                  <a:cubicBezTo>
                    <a:pt x="91967" y="1305177"/>
                    <a:pt x="93227" y="1305177"/>
                    <a:pt x="93227" y="1303917"/>
                  </a:cubicBezTo>
                  <a:lnTo>
                    <a:pt x="94487" y="1302657"/>
                  </a:lnTo>
                  <a:cubicBezTo>
                    <a:pt x="95747" y="1301398"/>
                    <a:pt x="97007" y="1300138"/>
                    <a:pt x="98266" y="1298878"/>
                  </a:cubicBezTo>
                  <a:cubicBezTo>
                    <a:pt x="99526" y="1297618"/>
                    <a:pt x="99526" y="1296358"/>
                    <a:pt x="100786" y="1295099"/>
                  </a:cubicBezTo>
                  <a:cubicBezTo>
                    <a:pt x="100786" y="1293839"/>
                    <a:pt x="102046" y="1291319"/>
                    <a:pt x="102046" y="1290059"/>
                  </a:cubicBezTo>
                  <a:cubicBezTo>
                    <a:pt x="102046" y="1290059"/>
                    <a:pt x="102046" y="1288800"/>
                    <a:pt x="102046" y="1288800"/>
                  </a:cubicBezTo>
                  <a:cubicBezTo>
                    <a:pt x="102046" y="1287540"/>
                    <a:pt x="103306" y="1286280"/>
                    <a:pt x="103306" y="1283760"/>
                  </a:cubicBezTo>
                  <a:cubicBezTo>
                    <a:pt x="104566" y="1279981"/>
                    <a:pt x="104566" y="1276201"/>
                    <a:pt x="104566" y="1272422"/>
                  </a:cubicBezTo>
                  <a:lnTo>
                    <a:pt x="104566" y="1269902"/>
                  </a:lnTo>
                  <a:cubicBezTo>
                    <a:pt x="104566" y="1267382"/>
                    <a:pt x="105825" y="1263603"/>
                    <a:pt x="105825" y="1261083"/>
                  </a:cubicBezTo>
                  <a:cubicBezTo>
                    <a:pt x="107085" y="1253524"/>
                    <a:pt x="107085" y="1244706"/>
                    <a:pt x="108345" y="1238407"/>
                  </a:cubicBezTo>
                  <a:cubicBezTo>
                    <a:pt x="108345" y="1235887"/>
                    <a:pt x="108345" y="1233367"/>
                    <a:pt x="108345" y="1230848"/>
                  </a:cubicBezTo>
                  <a:cubicBezTo>
                    <a:pt x="108345" y="1227068"/>
                    <a:pt x="109605" y="1223289"/>
                    <a:pt x="109605" y="1219509"/>
                  </a:cubicBezTo>
                  <a:cubicBezTo>
                    <a:pt x="109605" y="1216989"/>
                    <a:pt x="109605" y="1214470"/>
                    <a:pt x="109605" y="1211950"/>
                  </a:cubicBezTo>
                  <a:cubicBezTo>
                    <a:pt x="109605" y="1208171"/>
                    <a:pt x="109605" y="1204391"/>
                    <a:pt x="110865" y="1200612"/>
                  </a:cubicBezTo>
                  <a:lnTo>
                    <a:pt x="110865" y="1198092"/>
                  </a:lnTo>
                  <a:cubicBezTo>
                    <a:pt x="110865" y="1191793"/>
                    <a:pt x="112124" y="1186754"/>
                    <a:pt x="112124" y="1180455"/>
                  </a:cubicBezTo>
                  <a:cubicBezTo>
                    <a:pt x="112124" y="1176675"/>
                    <a:pt x="112124" y="1174156"/>
                    <a:pt x="113384" y="1170376"/>
                  </a:cubicBezTo>
                  <a:cubicBezTo>
                    <a:pt x="113384" y="1167856"/>
                    <a:pt x="113384" y="1164077"/>
                    <a:pt x="114644" y="1161557"/>
                  </a:cubicBezTo>
                  <a:cubicBezTo>
                    <a:pt x="114644" y="1157778"/>
                    <a:pt x="115904" y="1152738"/>
                    <a:pt x="115904" y="1148959"/>
                  </a:cubicBezTo>
                  <a:cubicBezTo>
                    <a:pt x="115904" y="1140140"/>
                    <a:pt x="117164" y="1131322"/>
                    <a:pt x="118423" y="1123763"/>
                  </a:cubicBezTo>
                  <a:cubicBezTo>
                    <a:pt x="119683" y="1117463"/>
                    <a:pt x="119683" y="1112424"/>
                    <a:pt x="120943" y="1107385"/>
                  </a:cubicBezTo>
                  <a:cubicBezTo>
                    <a:pt x="120943" y="1103605"/>
                    <a:pt x="122203" y="1098566"/>
                    <a:pt x="122203" y="1094786"/>
                  </a:cubicBezTo>
                  <a:lnTo>
                    <a:pt x="122203" y="1091007"/>
                  </a:lnTo>
                  <a:cubicBezTo>
                    <a:pt x="122203" y="1087228"/>
                    <a:pt x="123463" y="1083448"/>
                    <a:pt x="123463" y="1079669"/>
                  </a:cubicBezTo>
                  <a:cubicBezTo>
                    <a:pt x="123463" y="1077149"/>
                    <a:pt x="124722" y="1074630"/>
                    <a:pt x="124722" y="1072110"/>
                  </a:cubicBezTo>
                  <a:cubicBezTo>
                    <a:pt x="124722" y="1069590"/>
                    <a:pt x="124722" y="1067071"/>
                    <a:pt x="125982" y="1064551"/>
                  </a:cubicBezTo>
                  <a:cubicBezTo>
                    <a:pt x="127242" y="1058252"/>
                    <a:pt x="127242" y="1050693"/>
                    <a:pt x="128502" y="1044393"/>
                  </a:cubicBezTo>
                  <a:lnTo>
                    <a:pt x="129762" y="1035575"/>
                  </a:lnTo>
                  <a:lnTo>
                    <a:pt x="129762" y="1033055"/>
                  </a:lnTo>
                  <a:cubicBezTo>
                    <a:pt x="131022" y="1024237"/>
                    <a:pt x="132281" y="1014158"/>
                    <a:pt x="132281" y="1004079"/>
                  </a:cubicBezTo>
                  <a:cubicBezTo>
                    <a:pt x="132281" y="1000300"/>
                    <a:pt x="133541" y="996520"/>
                    <a:pt x="133541" y="992741"/>
                  </a:cubicBezTo>
                  <a:cubicBezTo>
                    <a:pt x="133541" y="990221"/>
                    <a:pt x="133541" y="987701"/>
                    <a:pt x="133541" y="985182"/>
                  </a:cubicBezTo>
                  <a:cubicBezTo>
                    <a:pt x="133541" y="981402"/>
                    <a:pt x="133541" y="977623"/>
                    <a:pt x="134801" y="973844"/>
                  </a:cubicBezTo>
                  <a:cubicBezTo>
                    <a:pt x="134801" y="971324"/>
                    <a:pt x="134801" y="968804"/>
                    <a:pt x="136061" y="966285"/>
                  </a:cubicBezTo>
                  <a:cubicBezTo>
                    <a:pt x="136061" y="963765"/>
                    <a:pt x="136061" y="959986"/>
                    <a:pt x="137321" y="957466"/>
                  </a:cubicBezTo>
                  <a:cubicBezTo>
                    <a:pt x="137321" y="953686"/>
                    <a:pt x="138581" y="949907"/>
                    <a:pt x="138581" y="944868"/>
                  </a:cubicBezTo>
                  <a:cubicBezTo>
                    <a:pt x="138581" y="942348"/>
                    <a:pt x="138581" y="939828"/>
                    <a:pt x="138581" y="938568"/>
                  </a:cubicBezTo>
                  <a:cubicBezTo>
                    <a:pt x="138581" y="934789"/>
                    <a:pt x="139840" y="931009"/>
                    <a:pt x="139840" y="927230"/>
                  </a:cubicBezTo>
                  <a:cubicBezTo>
                    <a:pt x="139840" y="923451"/>
                    <a:pt x="139840" y="918411"/>
                    <a:pt x="141100" y="914632"/>
                  </a:cubicBezTo>
                  <a:cubicBezTo>
                    <a:pt x="141100" y="912112"/>
                    <a:pt x="141100" y="909593"/>
                    <a:pt x="141100" y="907073"/>
                  </a:cubicBezTo>
                  <a:cubicBezTo>
                    <a:pt x="141100" y="900774"/>
                    <a:pt x="142360" y="894475"/>
                    <a:pt x="142360" y="888175"/>
                  </a:cubicBezTo>
                  <a:cubicBezTo>
                    <a:pt x="142360" y="883136"/>
                    <a:pt x="143620" y="876837"/>
                    <a:pt x="143620" y="871798"/>
                  </a:cubicBezTo>
                  <a:cubicBezTo>
                    <a:pt x="144880" y="864239"/>
                    <a:pt x="144880" y="856680"/>
                    <a:pt x="146140" y="849121"/>
                  </a:cubicBezTo>
                  <a:cubicBezTo>
                    <a:pt x="147399" y="835263"/>
                    <a:pt x="148659" y="821405"/>
                    <a:pt x="149919" y="808807"/>
                  </a:cubicBezTo>
                  <a:cubicBezTo>
                    <a:pt x="149919" y="805027"/>
                    <a:pt x="151179" y="799988"/>
                    <a:pt x="151179" y="796209"/>
                  </a:cubicBezTo>
                  <a:cubicBezTo>
                    <a:pt x="152439" y="787390"/>
                    <a:pt x="152439" y="778571"/>
                    <a:pt x="153699" y="769752"/>
                  </a:cubicBezTo>
                  <a:cubicBezTo>
                    <a:pt x="153699" y="767232"/>
                    <a:pt x="153699" y="763453"/>
                    <a:pt x="153699" y="760933"/>
                  </a:cubicBezTo>
                  <a:cubicBezTo>
                    <a:pt x="153699" y="757154"/>
                    <a:pt x="153699" y="754634"/>
                    <a:pt x="154958" y="750855"/>
                  </a:cubicBezTo>
                  <a:cubicBezTo>
                    <a:pt x="154958" y="744556"/>
                    <a:pt x="156218" y="738257"/>
                    <a:pt x="156218" y="730698"/>
                  </a:cubicBezTo>
                  <a:cubicBezTo>
                    <a:pt x="156218" y="723139"/>
                    <a:pt x="157478" y="714320"/>
                    <a:pt x="158738" y="706761"/>
                  </a:cubicBezTo>
                  <a:cubicBezTo>
                    <a:pt x="158738" y="701722"/>
                    <a:pt x="159998" y="695423"/>
                    <a:pt x="159998" y="690383"/>
                  </a:cubicBezTo>
                  <a:cubicBezTo>
                    <a:pt x="159998" y="684084"/>
                    <a:pt x="161258" y="677785"/>
                    <a:pt x="161258" y="672746"/>
                  </a:cubicBezTo>
                  <a:cubicBezTo>
                    <a:pt x="161258" y="666446"/>
                    <a:pt x="162517" y="658888"/>
                    <a:pt x="162517" y="652589"/>
                  </a:cubicBezTo>
                  <a:cubicBezTo>
                    <a:pt x="162517" y="645030"/>
                    <a:pt x="163777" y="638731"/>
                    <a:pt x="163777" y="631172"/>
                  </a:cubicBezTo>
                  <a:cubicBezTo>
                    <a:pt x="163777" y="624872"/>
                    <a:pt x="165037" y="618573"/>
                    <a:pt x="165037" y="613534"/>
                  </a:cubicBezTo>
                  <a:cubicBezTo>
                    <a:pt x="165037" y="607235"/>
                    <a:pt x="166297" y="600936"/>
                    <a:pt x="166297" y="594637"/>
                  </a:cubicBezTo>
                  <a:cubicBezTo>
                    <a:pt x="167557" y="587078"/>
                    <a:pt x="167557" y="580779"/>
                    <a:pt x="167557" y="573220"/>
                  </a:cubicBezTo>
                  <a:cubicBezTo>
                    <a:pt x="168816" y="560621"/>
                    <a:pt x="170076" y="548023"/>
                    <a:pt x="171336" y="534165"/>
                  </a:cubicBezTo>
                  <a:cubicBezTo>
                    <a:pt x="171336" y="529126"/>
                    <a:pt x="172596" y="522827"/>
                    <a:pt x="172596" y="517787"/>
                  </a:cubicBezTo>
                  <a:cubicBezTo>
                    <a:pt x="172596" y="517787"/>
                    <a:pt x="172596" y="517787"/>
                    <a:pt x="172596" y="517787"/>
                  </a:cubicBezTo>
                  <a:cubicBezTo>
                    <a:pt x="173856" y="505189"/>
                    <a:pt x="175115" y="492591"/>
                    <a:pt x="176375" y="479993"/>
                  </a:cubicBezTo>
                  <a:lnTo>
                    <a:pt x="176375" y="479993"/>
                  </a:lnTo>
                  <a:cubicBezTo>
                    <a:pt x="176375" y="478733"/>
                    <a:pt x="176375" y="477473"/>
                    <a:pt x="176375" y="477473"/>
                  </a:cubicBezTo>
                  <a:lnTo>
                    <a:pt x="176375" y="471174"/>
                  </a:lnTo>
                  <a:cubicBezTo>
                    <a:pt x="176375" y="469914"/>
                    <a:pt x="176375" y="468654"/>
                    <a:pt x="176375" y="467395"/>
                  </a:cubicBezTo>
                  <a:lnTo>
                    <a:pt x="176375" y="471174"/>
                  </a:lnTo>
                  <a:cubicBezTo>
                    <a:pt x="176375" y="474954"/>
                    <a:pt x="176375" y="477473"/>
                    <a:pt x="177635" y="481253"/>
                  </a:cubicBezTo>
                  <a:cubicBezTo>
                    <a:pt x="178895" y="488811"/>
                    <a:pt x="178895" y="496371"/>
                    <a:pt x="180155" y="503929"/>
                  </a:cubicBezTo>
                  <a:cubicBezTo>
                    <a:pt x="180155" y="510228"/>
                    <a:pt x="181414" y="516528"/>
                    <a:pt x="181414" y="522827"/>
                  </a:cubicBezTo>
                  <a:lnTo>
                    <a:pt x="181414" y="525346"/>
                  </a:lnTo>
                  <a:lnTo>
                    <a:pt x="181414" y="529126"/>
                  </a:lnTo>
                  <a:cubicBezTo>
                    <a:pt x="181414" y="534165"/>
                    <a:pt x="182674" y="540464"/>
                    <a:pt x="182674" y="545504"/>
                  </a:cubicBezTo>
                  <a:cubicBezTo>
                    <a:pt x="182674" y="553063"/>
                    <a:pt x="183934" y="560621"/>
                    <a:pt x="183934" y="568180"/>
                  </a:cubicBezTo>
                  <a:cubicBezTo>
                    <a:pt x="183934" y="573220"/>
                    <a:pt x="185194" y="578259"/>
                    <a:pt x="185194" y="582039"/>
                  </a:cubicBezTo>
                  <a:cubicBezTo>
                    <a:pt x="185194" y="584558"/>
                    <a:pt x="185194" y="585818"/>
                    <a:pt x="185194" y="588338"/>
                  </a:cubicBezTo>
                  <a:cubicBezTo>
                    <a:pt x="185194" y="592117"/>
                    <a:pt x="185194" y="595896"/>
                    <a:pt x="186454" y="599676"/>
                  </a:cubicBezTo>
                  <a:cubicBezTo>
                    <a:pt x="186454" y="602196"/>
                    <a:pt x="186454" y="604715"/>
                    <a:pt x="186454" y="608495"/>
                  </a:cubicBezTo>
                  <a:cubicBezTo>
                    <a:pt x="186454" y="614794"/>
                    <a:pt x="187714" y="619833"/>
                    <a:pt x="187714" y="628652"/>
                  </a:cubicBezTo>
                  <a:lnTo>
                    <a:pt x="187714" y="629912"/>
                  </a:lnTo>
                  <a:cubicBezTo>
                    <a:pt x="187714" y="636211"/>
                    <a:pt x="188973" y="642510"/>
                    <a:pt x="188973" y="648809"/>
                  </a:cubicBezTo>
                  <a:lnTo>
                    <a:pt x="188973" y="653848"/>
                  </a:lnTo>
                  <a:cubicBezTo>
                    <a:pt x="188973" y="658888"/>
                    <a:pt x="190233" y="663927"/>
                    <a:pt x="190233" y="668966"/>
                  </a:cubicBezTo>
                  <a:cubicBezTo>
                    <a:pt x="191493" y="677785"/>
                    <a:pt x="191493" y="687864"/>
                    <a:pt x="192753" y="696683"/>
                  </a:cubicBezTo>
                  <a:cubicBezTo>
                    <a:pt x="192753" y="700462"/>
                    <a:pt x="194013" y="705501"/>
                    <a:pt x="194013" y="710540"/>
                  </a:cubicBezTo>
                  <a:cubicBezTo>
                    <a:pt x="194013" y="714320"/>
                    <a:pt x="194013" y="716839"/>
                    <a:pt x="195273" y="720619"/>
                  </a:cubicBezTo>
                  <a:cubicBezTo>
                    <a:pt x="195273" y="724398"/>
                    <a:pt x="195273" y="726918"/>
                    <a:pt x="196533" y="730698"/>
                  </a:cubicBezTo>
                  <a:lnTo>
                    <a:pt x="196533" y="731957"/>
                  </a:lnTo>
                  <a:cubicBezTo>
                    <a:pt x="196533" y="738257"/>
                    <a:pt x="197792" y="744556"/>
                    <a:pt x="197792" y="750855"/>
                  </a:cubicBezTo>
                  <a:cubicBezTo>
                    <a:pt x="197792" y="753375"/>
                    <a:pt x="197792" y="757154"/>
                    <a:pt x="199052" y="759674"/>
                  </a:cubicBezTo>
                  <a:cubicBezTo>
                    <a:pt x="199052" y="763453"/>
                    <a:pt x="200312" y="768492"/>
                    <a:pt x="200312" y="772272"/>
                  </a:cubicBezTo>
                  <a:cubicBezTo>
                    <a:pt x="200312" y="776051"/>
                    <a:pt x="201572" y="779831"/>
                    <a:pt x="201572" y="783610"/>
                  </a:cubicBezTo>
                  <a:cubicBezTo>
                    <a:pt x="201572" y="787390"/>
                    <a:pt x="202832" y="789909"/>
                    <a:pt x="202832" y="793689"/>
                  </a:cubicBezTo>
                  <a:cubicBezTo>
                    <a:pt x="202832" y="797468"/>
                    <a:pt x="204092" y="801248"/>
                    <a:pt x="204092" y="805027"/>
                  </a:cubicBezTo>
                  <a:cubicBezTo>
                    <a:pt x="204092" y="807547"/>
                    <a:pt x="204092" y="810067"/>
                    <a:pt x="205351" y="813846"/>
                  </a:cubicBezTo>
                  <a:cubicBezTo>
                    <a:pt x="206611" y="820145"/>
                    <a:pt x="206611" y="827704"/>
                    <a:pt x="207871" y="834003"/>
                  </a:cubicBezTo>
                  <a:lnTo>
                    <a:pt x="207871" y="834003"/>
                  </a:lnTo>
                  <a:cubicBezTo>
                    <a:pt x="207871" y="837783"/>
                    <a:pt x="209131" y="840302"/>
                    <a:pt x="209131" y="844082"/>
                  </a:cubicBezTo>
                  <a:cubicBezTo>
                    <a:pt x="209131" y="847861"/>
                    <a:pt x="210391" y="850381"/>
                    <a:pt x="210391" y="854160"/>
                  </a:cubicBezTo>
                  <a:lnTo>
                    <a:pt x="210391" y="854160"/>
                  </a:lnTo>
                  <a:cubicBezTo>
                    <a:pt x="211651" y="861719"/>
                    <a:pt x="211651" y="869278"/>
                    <a:pt x="212910" y="875577"/>
                  </a:cubicBezTo>
                  <a:cubicBezTo>
                    <a:pt x="214170" y="883136"/>
                    <a:pt x="214170" y="890695"/>
                    <a:pt x="215430" y="898254"/>
                  </a:cubicBezTo>
                  <a:lnTo>
                    <a:pt x="215430" y="902034"/>
                  </a:lnTo>
                  <a:cubicBezTo>
                    <a:pt x="215430" y="903293"/>
                    <a:pt x="215430" y="905813"/>
                    <a:pt x="215430" y="907073"/>
                  </a:cubicBezTo>
                  <a:cubicBezTo>
                    <a:pt x="215430" y="908333"/>
                    <a:pt x="215430" y="909593"/>
                    <a:pt x="215430" y="910853"/>
                  </a:cubicBezTo>
                  <a:cubicBezTo>
                    <a:pt x="215430" y="913372"/>
                    <a:pt x="215430" y="915892"/>
                    <a:pt x="216690" y="918411"/>
                  </a:cubicBezTo>
                  <a:cubicBezTo>
                    <a:pt x="217950" y="924710"/>
                    <a:pt x="217950" y="932269"/>
                    <a:pt x="219209" y="938568"/>
                  </a:cubicBezTo>
                  <a:cubicBezTo>
                    <a:pt x="219209" y="941088"/>
                    <a:pt x="220469" y="943608"/>
                    <a:pt x="220469" y="947387"/>
                  </a:cubicBezTo>
                  <a:cubicBezTo>
                    <a:pt x="220469" y="951167"/>
                    <a:pt x="221729" y="954946"/>
                    <a:pt x="221729" y="958726"/>
                  </a:cubicBezTo>
                  <a:cubicBezTo>
                    <a:pt x="221729" y="962505"/>
                    <a:pt x="222989" y="966285"/>
                    <a:pt x="222989" y="970064"/>
                  </a:cubicBezTo>
                  <a:cubicBezTo>
                    <a:pt x="222989" y="973844"/>
                    <a:pt x="224249" y="977623"/>
                    <a:pt x="224249" y="980143"/>
                  </a:cubicBezTo>
                  <a:cubicBezTo>
                    <a:pt x="224249" y="983922"/>
                    <a:pt x="225508" y="986442"/>
                    <a:pt x="225508" y="990221"/>
                  </a:cubicBezTo>
                  <a:lnTo>
                    <a:pt x="225508" y="991481"/>
                  </a:lnTo>
                  <a:cubicBezTo>
                    <a:pt x="225508" y="992741"/>
                    <a:pt x="225508" y="995260"/>
                    <a:pt x="225508" y="996520"/>
                  </a:cubicBezTo>
                  <a:cubicBezTo>
                    <a:pt x="225508" y="997780"/>
                    <a:pt x="225508" y="999040"/>
                    <a:pt x="225508" y="1000300"/>
                  </a:cubicBezTo>
                  <a:cubicBezTo>
                    <a:pt x="225508" y="1002819"/>
                    <a:pt x="225508" y="1005339"/>
                    <a:pt x="226768" y="1009119"/>
                  </a:cubicBezTo>
                  <a:cubicBezTo>
                    <a:pt x="226768" y="1012898"/>
                    <a:pt x="228028" y="1016678"/>
                    <a:pt x="228028" y="1020457"/>
                  </a:cubicBezTo>
                  <a:cubicBezTo>
                    <a:pt x="228028" y="1024237"/>
                    <a:pt x="229288" y="1029276"/>
                    <a:pt x="229288" y="1033055"/>
                  </a:cubicBezTo>
                  <a:cubicBezTo>
                    <a:pt x="229288" y="1035575"/>
                    <a:pt x="230548" y="1038094"/>
                    <a:pt x="230548" y="1040614"/>
                  </a:cubicBezTo>
                  <a:cubicBezTo>
                    <a:pt x="233067" y="1056992"/>
                    <a:pt x="234327" y="1069590"/>
                    <a:pt x="235587" y="1082188"/>
                  </a:cubicBezTo>
                  <a:lnTo>
                    <a:pt x="235587" y="1087228"/>
                  </a:lnTo>
                  <a:cubicBezTo>
                    <a:pt x="235587" y="1091007"/>
                    <a:pt x="236847" y="1096046"/>
                    <a:pt x="236847" y="1099826"/>
                  </a:cubicBezTo>
                  <a:cubicBezTo>
                    <a:pt x="238107" y="1106125"/>
                    <a:pt x="238107" y="1111164"/>
                    <a:pt x="239366" y="1117463"/>
                  </a:cubicBezTo>
                  <a:lnTo>
                    <a:pt x="240626" y="1125022"/>
                  </a:lnTo>
                  <a:cubicBezTo>
                    <a:pt x="241886" y="1133841"/>
                    <a:pt x="243146" y="1143920"/>
                    <a:pt x="244406" y="1152738"/>
                  </a:cubicBezTo>
                  <a:cubicBezTo>
                    <a:pt x="244406" y="1155258"/>
                    <a:pt x="244406" y="1156518"/>
                    <a:pt x="245666" y="1159037"/>
                  </a:cubicBezTo>
                  <a:cubicBezTo>
                    <a:pt x="245666" y="1162817"/>
                    <a:pt x="246925" y="1166597"/>
                    <a:pt x="246925" y="1170376"/>
                  </a:cubicBezTo>
                  <a:cubicBezTo>
                    <a:pt x="248185" y="1176675"/>
                    <a:pt x="248185" y="1181715"/>
                    <a:pt x="249445" y="1188014"/>
                  </a:cubicBezTo>
                  <a:cubicBezTo>
                    <a:pt x="250705" y="1199352"/>
                    <a:pt x="253225" y="1210690"/>
                    <a:pt x="254484" y="1220769"/>
                  </a:cubicBezTo>
                  <a:cubicBezTo>
                    <a:pt x="254484" y="1224548"/>
                    <a:pt x="255744" y="1229588"/>
                    <a:pt x="255744" y="1233367"/>
                  </a:cubicBezTo>
                  <a:cubicBezTo>
                    <a:pt x="255744" y="1237147"/>
                    <a:pt x="257004" y="1242186"/>
                    <a:pt x="258264" y="1247225"/>
                  </a:cubicBezTo>
                  <a:cubicBezTo>
                    <a:pt x="258264" y="1251005"/>
                    <a:pt x="259524" y="1254784"/>
                    <a:pt x="260784" y="1258563"/>
                  </a:cubicBezTo>
                  <a:lnTo>
                    <a:pt x="260784" y="1261083"/>
                  </a:lnTo>
                  <a:cubicBezTo>
                    <a:pt x="262043" y="1268642"/>
                    <a:pt x="263303" y="1276201"/>
                    <a:pt x="264563" y="1285020"/>
                  </a:cubicBezTo>
                  <a:cubicBezTo>
                    <a:pt x="264563" y="1286280"/>
                    <a:pt x="264563" y="1288800"/>
                    <a:pt x="264563" y="1290059"/>
                  </a:cubicBezTo>
                  <a:cubicBezTo>
                    <a:pt x="264563" y="1292579"/>
                    <a:pt x="265823" y="1295099"/>
                    <a:pt x="265823" y="1298878"/>
                  </a:cubicBezTo>
                  <a:cubicBezTo>
                    <a:pt x="265823" y="1301398"/>
                    <a:pt x="265823" y="1303917"/>
                    <a:pt x="267083" y="1305177"/>
                  </a:cubicBezTo>
                  <a:lnTo>
                    <a:pt x="267083" y="1305177"/>
                  </a:lnTo>
                  <a:cubicBezTo>
                    <a:pt x="267083" y="1307697"/>
                    <a:pt x="268343" y="1311476"/>
                    <a:pt x="268343" y="1312736"/>
                  </a:cubicBezTo>
                  <a:cubicBezTo>
                    <a:pt x="268343" y="1313996"/>
                    <a:pt x="269602" y="1313996"/>
                    <a:pt x="269602" y="1315256"/>
                  </a:cubicBezTo>
                  <a:cubicBezTo>
                    <a:pt x="269602" y="1316515"/>
                    <a:pt x="270862" y="1316515"/>
                    <a:pt x="270862" y="1317775"/>
                  </a:cubicBezTo>
                  <a:cubicBezTo>
                    <a:pt x="273382" y="1320295"/>
                    <a:pt x="275901" y="1320295"/>
                    <a:pt x="279681" y="1320295"/>
                  </a:cubicBezTo>
                  <a:lnTo>
                    <a:pt x="280941" y="1320295"/>
                  </a:lnTo>
                  <a:cubicBezTo>
                    <a:pt x="282200" y="1320295"/>
                    <a:pt x="284720" y="1320295"/>
                    <a:pt x="285980" y="1320295"/>
                  </a:cubicBezTo>
                  <a:cubicBezTo>
                    <a:pt x="287240" y="1320295"/>
                    <a:pt x="288499" y="1320295"/>
                    <a:pt x="289759" y="1320295"/>
                  </a:cubicBezTo>
                  <a:cubicBezTo>
                    <a:pt x="292279" y="1320295"/>
                    <a:pt x="294799" y="1320295"/>
                    <a:pt x="298578" y="1320295"/>
                  </a:cubicBezTo>
                  <a:lnTo>
                    <a:pt x="301098" y="1320295"/>
                  </a:lnTo>
                  <a:cubicBezTo>
                    <a:pt x="302358" y="1320295"/>
                    <a:pt x="303617" y="1320295"/>
                    <a:pt x="306137" y="1320295"/>
                  </a:cubicBezTo>
                  <a:cubicBezTo>
                    <a:pt x="308657" y="1320295"/>
                    <a:pt x="309917" y="1320295"/>
                    <a:pt x="312436" y="1320295"/>
                  </a:cubicBezTo>
                  <a:cubicBezTo>
                    <a:pt x="314956" y="1320295"/>
                    <a:pt x="316216" y="1320295"/>
                    <a:pt x="318736" y="1320295"/>
                  </a:cubicBezTo>
                  <a:cubicBezTo>
                    <a:pt x="321255" y="1320295"/>
                    <a:pt x="322515" y="1320295"/>
                    <a:pt x="325035" y="1320295"/>
                  </a:cubicBezTo>
                  <a:cubicBezTo>
                    <a:pt x="326294" y="1320295"/>
                    <a:pt x="326294" y="1320295"/>
                    <a:pt x="327554" y="1320295"/>
                  </a:cubicBezTo>
                  <a:cubicBezTo>
                    <a:pt x="328814" y="1320295"/>
                    <a:pt x="331334" y="1320295"/>
                    <a:pt x="332593" y="1320295"/>
                  </a:cubicBezTo>
                  <a:cubicBezTo>
                    <a:pt x="333853" y="1320295"/>
                    <a:pt x="336373" y="1320295"/>
                    <a:pt x="337633" y="1320295"/>
                  </a:cubicBezTo>
                  <a:cubicBezTo>
                    <a:pt x="338892" y="1320295"/>
                    <a:pt x="340152" y="1320295"/>
                    <a:pt x="342672" y="1320295"/>
                  </a:cubicBezTo>
                  <a:cubicBezTo>
                    <a:pt x="343932" y="1320295"/>
                    <a:pt x="345192" y="1320295"/>
                    <a:pt x="347711" y="1320295"/>
                  </a:cubicBezTo>
                  <a:cubicBezTo>
                    <a:pt x="348971" y="1320295"/>
                    <a:pt x="348971" y="1320295"/>
                    <a:pt x="348971" y="1320295"/>
                  </a:cubicBezTo>
                  <a:cubicBezTo>
                    <a:pt x="351491" y="1320295"/>
                    <a:pt x="354010" y="1320295"/>
                    <a:pt x="357790" y="1320295"/>
                  </a:cubicBezTo>
                  <a:cubicBezTo>
                    <a:pt x="360310" y="1320295"/>
                    <a:pt x="362829" y="1320295"/>
                    <a:pt x="365349" y="1319035"/>
                  </a:cubicBezTo>
                  <a:cubicBezTo>
                    <a:pt x="366609" y="1319035"/>
                    <a:pt x="366609" y="1319035"/>
                    <a:pt x="367869" y="1317775"/>
                  </a:cubicBezTo>
                  <a:cubicBezTo>
                    <a:pt x="367869" y="1317775"/>
                    <a:pt x="369128" y="1317775"/>
                    <a:pt x="369128" y="1316515"/>
                  </a:cubicBezTo>
                  <a:cubicBezTo>
                    <a:pt x="369128" y="1316515"/>
                    <a:pt x="370388" y="1315256"/>
                    <a:pt x="370388" y="1315256"/>
                  </a:cubicBezTo>
                  <a:cubicBezTo>
                    <a:pt x="371648" y="1313996"/>
                    <a:pt x="371648" y="1312736"/>
                    <a:pt x="371648" y="1311476"/>
                  </a:cubicBezTo>
                  <a:cubicBezTo>
                    <a:pt x="371648" y="1310216"/>
                    <a:pt x="371648" y="1308956"/>
                    <a:pt x="371648" y="1307697"/>
                  </a:cubicBezTo>
                  <a:lnTo>
                    <a:pt x="371648" y="1307697"/>
                  </a:lnTo>
                  <a:cubicBezTo>
                    <a:pt x="371648" y="1306437"/>
                    <a:pt x="371648" y="1305177"/>
                    <a:pt x="371648" y="1302657"/>
                  </a:cubicBezTo>
                  <a:cubicBezTo>
                    <a:pt x="371648" y="1297618"/>
                    <a:pt x="371648" y="1292579"/>
                    <a:pt x="371648" y="1287540"/>
                  </a:cubicBezTo>
                  <a:cubicBezTo>
                    <a:pt x="371648" y="1286280"/>
                    <a:pt x="371648" y="1285020"/>
                    <a:pt x="371648" y="1283760"/>
                  </a:cubicBezTo>
                  <a:cubicBezTo>
                    <a:pt x="371648" y="1276201"/>
                    <a:pt x="371648" y="1269902"/>
                    <a:pt x="371648" y="1263603"/>
                  </a:cubicBezTo>
                  <a:cubicBezTo>
                    <a:pt x="371648" y="1262343"/>
                    <a:pt x="371648" y="1259823"/>
                    <a:pt x="371648" y="1258563"/>
                  </a:cubicBezTo>
                  <a:cubicBezTo>
                    <a:pt x="371648" y="1253524"/>
                    <a:pt x="371648" y="1248485"/>
                    <a:pt x="371648" y="1244706"/>
                  </a:cubicBezTo>
                  <a:cubicBezTo>
                    <a:pt x="371648" y="1237147"/>
                    <a:pt x="371648" y="1230848"/>
                    <a:pt x="372908" y="1224548"/>
                  </a:cubicBezTo>
                  <a:lnTo>
                    <a:pt x="372908" y="1219509"/>
                  </a:lnTo>
                  <a:cubicBezTo>
                    <a:pt x="372908" y="1214470"/>
                    <a:pt x="372908" y="1208171"/>
                    <a:pt x="374168" y="1203131"/>
                  </a:cubicBezTo>
                  <a:cubicBezTo>
                    <a:pt x="374168" y="1195572"/>
                    <a:pt x="374168" y="1188014"/>
                    <a:pt x="375428" y="1182974"/>
                  </a:cubicBezTo>
                  <a:cubicBezTo>
                    <a:pt x="375428" y="1177935"/>
                    <a:pt x="375428" y="1172896"/>
                    <a:pt x="375428" y="1167856"/>
                  </a:cubicBezTo>
                  <a:lnTo>
                    <a:pt x="375428" y="1162817"/>
                  </a:lnTo>
                  <a:lnTo>
                    <a:pt x="375428" y="1159037"/>
                  </a:lnTo>
                  <a:cubicBezTo>
                    <a:pt x="375428" y="1153998"/>
                    <a:pt x="375428" y="1147699"/>
                    <a:pt x="375428" y="1142660"/>
                  </a:cubicBezTo>
                  <a:cubicBezTo>
                    <a:pt x="375428" y="1136361"/>
                    <a:pt x="375428" y="1130062"/>
                    <a:pt x="375428" y="1123763"/>
                  </a:cubicBezTo>
                  <a:cubicBezTo>
                    <a:pt x="375428" y="1114944"/>
                    <a:pt x="375428" y="1107385"/>
                    <a:pt x="375428" y="1098566"/>
                  </a:cubicBezTo>
                  <a:lnTo>
                    <a:pt x="375428" y="1084708"/>
                  </a:lnTo>
                  <a:cubicBezTo>
                    <a:pt x="375428" y="1062031"/>
                    <a:pt x="375428" y="1039354"/>
                    <a:pt x="374168" y="1016678"/>
                  </a:cubicBezTo>
                  <a:cubicBezTo>
                    <a:pt x="374168" y="1002819"/>
                    <a:pt x="374168" y="987701"/>
                    <a:pt x="372908" y="973844"/>
                  </a:cubicBezTo>
                  <a:cubicBezTo>
                    <a:pt x="372908" y="961245"/>
                    <a:pt x="372908" y="947387"/>
                    <a:pt x="371648" y="933529"/>
                  </a:cubicBezTo>
                  <a:cubicBezTo>
                    <a:pt x="371648" y="927230"/>
                    <a:pt x="371648" y="920931"/>
                    <a:pt x="370388" y="912112"/>
                  </a:cubicBezTo>
                  <a:cubicBezTo>
                    <a:pt x="370388" y="904553"/>
                    <a:pt x="369128" y="896994"/>
                    <a:pt x="369128" y="890695"/>
                  </a:cubicBezTo>
                  <a:cubicBezTo>
                    <a:pt x="369128" y="886916"/>
                    <a:pt x="369128" y="883136"/>
                    <a:pt x="369128" y="879357"/>
                  </a:cubicBezTo>
                  <a:cubicBezTo>
                    <a:pt x="369128" y="869278"/>
                    <a:pt x="369128" y="859200"/>
                    <a:pt x="367869" y="849121"/>
                  </a:cubicBezTo>
                  <a:cubicBezTo>
                    <a:pt x="367869" y="834003"/>
                    <a:pt x="366609" y="820145"/>
                    <a:pt x="365349" y="806287"/>
                  </a:cubicBezTo>
                  <a:cubicBezTo>
                    <a:pt x="364089" y="793689"/>
                    <a:pt x="364089" y="782350"/>
                    <a:pt x="364089" y="769752"/>
                  </a:cubicBezTo>
                  <a:lnTo>
                    <a:pt x="364089" y="764713"/>
                  </a:lnTo>
                  <a:lnTo>
                    <a:pt x="364089" y="744556"/>
                  </a:lnTo>
                  <a:cubicBezTo>
                    <a:pt x="364089" y="723139"/>
                    <a:pt x="364089" y="701722"/>
                    <a:pt x="362829" y="681565"/>
                  </a:cubicBezTo>
                  <a:cubicBezTo>
                    <a:pt x="362829" y="666446"/>
                    <a:pt x="362829" y="652589"/>
                    <a:pt x="362829" y="639990"/>
                  </a:cubicBezTo>
                  <a:cubicBezTo>
                    <a:pt x="362829" y="631172"/>
                    <a:pt x="362829" y="622353"/>
                    <a:pt x="362829" y="613534"/>
                  </a:cubicBezTo>
                  <a:cubicBezTo>
                    <a:pt x="362829" y="608495"/>
                    <a:pt x="362829" y="604715"/>
                    <a:pt x="362829" y="599676"/>
                  </a:cubicBezTo>
                  <a:cubicBezTo>
                    <a:pt x="362829" y="571960"/>
                    <a:pt x="362829" y="544244"/>
                    <a:pt x="361569" y="515268"/>
                  </a:cubicBezTo>
                  <a:cubicBezTo>
                    <a:pt x="361569" y="503929"/>
                    <a:pt x="361569" y="493851"/>
                    <a:pt x="361569" y="482512"/>
                  </a:cubicBezTo>
                  <a:cubicBezTo>
                    <a:pt x="361569" y="464875"/>
                    <a:pt x="361569" y="448497"/>
                    <a:pt x="361569" y="430860"/>
                  </a:cubicBezTo>
                  <a:cubicBezTo>
                    <a:pt x="361569" y="427080"/>
                    <a:pt x="361569" y="424561"/>
                    <a:pt x="361569" y="420781"/>
                  </a:cubicBezTo>
                  <a:cubicBezTo>
                    <a:pt x="361569" y="409443"/>
                    <a:pt x="361569" y="398104"/>
                    <a:pt x="361569" y="386766"/>
                  </a:cubicBezTo>
                  <a:lnTo>
                    <a:pt x="361569" y="384246"/>
                  </a:lnTo>
                  <a:cubicBezTo>
                    <a:pt x="361569" y="371648"/>
                    <a:pt x="361569" y="357790"/>
                    <a:pt x="362829" y="345192"/>
                  </a:cubicBezTo>
                  <a:cubicBezTo>
                    <a:pt x="362829" y="341412"/>
                    <a:pt x="362829" y="337633"/>
                    <a:pt x="362829" y="335113"/>
                  </a:cubicBezTo>
                  <a:cubicBezTo>
                    <a:pt x="362829" y="333853"/>
                    <a:pt x="362829" y="332593"/>
                    <a:pt x="362829" y="331334"/>
                  </a:cubicBezTo>
                  <a:cubicBezTo>
                    <a:pt x="362829" y="328814"/>
                    <a:pt x="362829" y="326294"/>
                    <a:pt x="362829" y="323775"/>
                  </a:cubicBezTo>
                  <a:cubicBezTo>
                    <a:pt x="362829" y="316216"/>
                    <a:pt x="362829" y="308657"/>
                    <a:pt x="362829" y="301098"/>
                  </a:cubicBezTo>
                  <a:cubicBezTo>
                    <a:pt x="362829" y="288500"/>
                    <a:pt x="362829" y="274642"/>
                    <a:pt x="362829" y="262043"/>
                  </a:cubicBezTo>
                  <a:lnTo>
                    <a:pt x="362829" y="259524"/>
                  </a:lnTo>
                  <a:cubicBezTo>
                    <a:pt x="362829" y="253225"/>
                    <a:pt x="362829" y="246925"/>
                    <a:pt x="362829" y="240626"/>
                  </a:cubicBezTo>
                  <a:cubicBezTo>
                    <a:pt x="362829" y="231808"/>
                    <a:pt x="362829" y="224249"/>
                    <a:pt x="362829" y="217949"/>
                  </a:cubicBezTo>
                  <a:lnTo>
                    <a:pt x="362829" y="212910"/>
                  </a:lnTo>
                  <a:cubicBezTo>
                    <a:pt x="362829" y="207871"/>
                    <a:pt x="362829" y="202832"/>
                    <a:pt x="362829" y="197792"/>
                  </a:cubicBezTo>
                  <a:lnTo>
                    <a:pt x="362829" y="192753"/>
                  </a:lnTo>
                  <a:cubicBezTo>
                    <a:pt x="362829" y="187714"/>
                    <a:pt x="362829" y="181415"/>
                    <a:pt x="362829" y="176375"/>
                  </a:cubicBezTo>
                  <a:cubicBezTo>
                    <a:pt x="362829" y="161257"/>
                    <a:pt x="362829" y="147399"/>
                    <a:pt x="362829" y="132281"/>
                  </a:cubicBezTo>
                  <a:cubicBezTo>
                    <a:pt x="366609" y="113384"/>
                    <a:pt x="365349" y="100786"/>
                    <a:pt x="365349" y="88188"/>
                  </a:cubicBezTo>
                  <a:moveTo>
                    <a:pt x="88188" y="1286280"/>
                  </a:moveTo>
                  <a:cubicBezTo>
                    <a:pt x="88188" y="1286280"/>
                    <a:pt x="88188" y="1286280"/>
                    <a:pt x="88188" y="1286280"/>
                  </a:cubicBezTo>
                  <a:cubicBezTo>
                    <a:pt x="88188" y="1286280"/>
                    <a:pt x="88188" y="1286280"/>
                    <a:pt x="88188" y="12862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3" name="任意多边形: 形状 10212"/>
            <p:cNvSpPr/>
            <p:nvPr/>
          </p:nvSpPr>
          <p:spPr>
            <a:xfrm>
              <a:off x="4848516" y="4434338"/>
              <a:ext cx="12598" cy="239366"/>
            </a:xfrm>
            <a:custGeom>
              <a:avLst/>
              <a:gdLst>
                <a:gd name="connsiteX0" fmla="*/ 12598 w 12598"/>
                <a:gd name="connsiteY0" fmla="*/ 5040 h 239366"/>
                <a:gd name="connsiteX1" fmla="*/ 12598 w 12598"/>
                <a:gd name="connsiteY1" fmla="*/ 30236 h 239366"/>
                <a:gd name="connsiteX2" fmla="*/ 11338 w 12598"/>
                <a:gd name="connsiteY2" fmla="*/ 55433 h 239366"/>
                <a:gd name="connsiteX3" fmla="*/ 10078 w 12598"/>
                <a:gd name="connsiteY3" fmla="*/ 68031 h 239366"/>
                <a:gd name="connsiteX4" fmla="*/ 10078 w 12598"/>
                <a:gd name="connsiteY4" fmla="*/ 80629 h 239366"/>
                <a:gd name="connsiteX5" fmla="*/ 10078 w 12598"/>
                <a:gd name="connsiteY5" fmla="*/ 105825 h 239366"/>
                <a:gd name="connsiteX6" fmla="*/ 10078 w 12598"/>
                <a:gd name="connsiteY6" fmla="*/ 118424 h 239366"/>
                <a:gd name="connsiteX7" fmla="*/ 10078 w 12598"/>
                <a:gd name="connsiteY7" fmla="*/ 124723 h 239366"/>
                <a:gd name="connsiteX8" fmla="*/ 10078 w 12598"/>
                <a:gd name="connsiteY8" fmla="*/ 131022 h 239366"/>
                <a:gd name="connsiteX9" fmla="*/ 10078 w 12598"/>
                <a:gd name="connsiteY9" fmla="*/ 156218 h 239366"/>
                <a:gd name="connsiteX10" fmla="*/ 10078 w 12598"/>
                <a:gd name="connsiteY10" fmla="*/ 168817 h 239366"/>
                <a:gd name="connsiteX11" fmla="*/ 10078 w 12598"/>
                <a:gd name="connsiteY11" fmla="*/ 181415 h 239366"/>
                <a:gd name="connsiteX12" fmla="*/ 10078 w 12598"/>
                <a:gd name="connsiteY12" fmla="*/ 194013 h 239366"/>
                <a:gd name="connsiteX13" fmla="*/ 8819 w 12598"/>
                <a:gd name="connsiteY13" fmla="*/ 206611 h 239366"/>
                <a:gd name="connsiteX14" fmla="*/ 7559 w 12598"/>
                <a:gd name="connsiteY14" fmla="*/ 216690 h 239366"/>
                <a:gd name="connsiteX15" fmla="*/ 7559 w 12598"/>
                <a:gd name="connsiteY15" fmla="*/ 226768 h 239366"/>
                <a:gd name="connsiteX16" fmla="*/ 7559 w 12598"/>
                <a:gd name="connsiteY16" fmla="*/ 235587 h 239366"/>
                <a:gd name="connsiteX17" fmla="*/ 7559 w 12598"/>
                <a:gd name="connsiteY17" fmla="*/ 246925 h 239366"/>
                <a:gd name="connsiteX18" fmla="*/ 3779 w 12598"/>
                <a:gd name="connsiteY18" fmla="*/ 250705 h 239366"/>
                <a:gd name="connsiteX19" fmla="*/ 0 w 12598"/>
                <a:gd name="connsiteY19" fmla="*/ 246925 h 239366"/>
                <a:gd name="connsiteX20" fmla="*/ 0 w 12598"/>
                <a:gd name="connsiteY20" fmla="*/ 239366 h 239366"/>
                <a:gd name="connsiteX21" fmla="*/ 0 w 12598"/>
                <a:gd name="connsiteY21" fmla="*/ 233067 h 239366"/>
                <a:gd name="connsiteX22" fmla="*/ 0 w 12598"/>
                <a:gd name="connsiteY22" fmla="*/ 220469 h 239366"/>
                <a:gd name="connsiteX23" fmla="*/ 0 w 12598"/>
                <a:gd name="connsiteY23" fmla="*/ 214170 h 239366"/>
                <a:gd name="connsiteX24" fmla="*/ 0 w 12598"/>
                <a:gd name="connsiteY24" fmla="*/ 207871 h 239366"/>
                <a:gd name="connsiteX25" fmla="*/ 1260 w 12598"/>
                <a:gd name="connsiteY25" fmla="*/ 195273 h 239366"/>
                <a:gd name="connsiteX26" fmla="*/ 2519 w 12598"/>
                <a:gd name="connsiteY26" fmla="*/ 170076 h 239366"/>
                <a:gd name="connsiteX27" fmla="*/ 3779 w 12598"/>
                <a:gd name="connsiteY27" fmla="*/ 143620 h 239366"/>
                <a:gd name="connsiteX28" fmla="*/ 3779 w 12598"/>
                <a:gd name="connsiteY28" fmla="*/ 131022 h 239366"/>
                <a:gd name="connsiteX29" fmla="*/ 3779 w 12598"/>
                <a:gd name="connsiteY29" fmla="*/ 118424 h 239366"/>
                <a:gd name="connsiteX30" fmla="*/ 3779 w 12598"/>
                <a:gd name="connsiteY30" fmla="*/ 105825 h 239366"/>
                <a:gd name="connsiteX31" fmla="*/ 3779 w 12598"/>
                <a:gd name="connsiteY31" fmla="*/ 93227 h 239366"/>
                <a:gd name="connsiteX32" fmla="*/ 3779 w 12598"/>
                <a:gd name="connsiteY32" fmla="*/ 68031 h 239366"/>
                <a:gd name="connsiteX33" fmla="*/ 5039 w 12598"/>
                <a:gd name="connsiteY33" fmla="*/ 42834 h 239366"/>
                <a:gd name="connsiteX34" fmla="*/ 5039 w 12598"/>
                <a:gd name="connsiteY34" fmla="*/ 23937 h 239366"/>
                <a:gd name="connsiteX35" fmla="*/ 6299 w 12598"/>
                <a:gd name="connsiteY35" fmla="*/ 3780 h 239366"/>
                <a:gd name="connsiteX36" fmla="*/ 10078 w 12598"/>
                <a:gd name="connsiteY36" fmla="*/ 0 h 239366"/>
                <a:gd name="connsiteX37" fmla="*/ 10078 w 12598"/>
                <a:gd name="connsiteY37" fmla="*/ 0 h 239366"/>
                <a:gd name="connsiteX38" fmla="*/ 12598 w 12598"/>
                <a:gd name="connsiteY38" fmla="*/ 5040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598" h="239366">
                  <a:moveTo>
                    <a:pt x="12598" y="5040"/>
                  </a:moveTo>
                  <a:cubicBezTo>
                    <a:pt x="12598" y="13858"/>
                    <a:pt x="12598" y="21417"/>
                    <a:pt x="12598" y="30236"/>
                  </a:cubicBezTo>
                  <a:cubicBezTo>
                    <a:pt x="12598" y="39055"/>
                    <a:pt x="12598" y="46614"/>
                    <a:pt x="11338" y="55433"/>
                  </a:cubicBezTo>
                  <a:cubicBezTo>
                    <a:pt x="11338" y="59212"/>
                    <a:pt x="11338" y="64251"/>
                    <a:pt x="10078" y="68031"/>
                  </a:cubicBezTo>
                  <a:cubicBezTo>
                    <a:pt x="10078" y="71810"/>
                    <a:pt x="10078" y="75589"/>
                    <a:pt x="10078" y="80629"/>
                  </a:cubicBezTo>
                  <a:cubicBezTo>
                    <a:pt x="10078" y="89448"/>
                    <a:pt x="10078" y="97007"/>
                    <a:pt x="10078" y="105825"/>
                  </a:cubicBezTo>
                  <a:cubicBezTo>
                    <a:pt x="10078" y="109605"/>
                    <a:pt x="10078" y="114644"/>
                    <a:pt x="10078" y="118424"/>
                  </a:cubicBezTo>
                  <a:cubicBezTo>
                    <a:pt x="10078" y="120943"/>
                    <a:pt x="10078" y="122203"/>
                    <a:pt x="10078" y="124723"/>
                  </a:cubicBezTo>
                  <a:cubicBezTo>
                    <a:pt x="10078" y="127242"/>
                    <a:pt x="10078" y="128502"/>
                    <a:pt x="10078" y="131022"/>
                  </a:cubicBezTo>
                  <a:cubicBezTo>
                    <a:pt x="10078" y="139840"/>
                    <a:pt x="10078" y="147399"/>
                    <a:pt x="10078" y="156218"/>
                  </a:cubicBezTo>
                  <a:cubicBezTo>
                    <a:pt x="10078" y="159998"/>
                    <a:pt x="10078" y="165037"/>
                    <a:pt x="10078" y="168817"/>
                  </a:cubicBezTo>
                  <a:cubicBezTo>
                    <a:pt x="10078" y="172596"/>
                    <a:pt x="10078" y="177635"/>
                    <a:pt x="10078" y="181415"/>
                  </a:cubicBezTo>
                  <a:cubicBezTo>
                    <a:pt x="10078" y="185194"/>
                    <a:pt x="10078" y="190233"/>
                    <a:pt x="10078" y="194013"/>
                  </a:cubicBezTo>
                  <a:cubicBezTo>
                    <a:pt x="10078" y="197792"/>
                    <a:pt x="10078" y="202832"/>
                    <a:pt x="8819" y="206611"/>
                  </a:cubicBezTo>
                  <a:cubicBezTo>
                    <a:pt x="8819" y="210391"/>
                    <a:pt x="8819" y="212910"/>
                    <a:pt x="7559" y="216690"/>
                  </a:cubicBezTo>
                  <a:cubicBezTo>
                    <a:pt x="7559" y="220469"/>
                    <a:pt x="7559" y="222989"/>
                    <a:pt x="7559" y="226768"/>
                  </a:cubicBezTo>
                  <a:cubicBezTo>
                    <a:pt x="7559" y="229288"/>
                    <a:pt x="7559" y="233067"/>
                    <a:pt x="7559" y="235587"/>
                  </a:cubicBezTo>
                  <a:cubicBezTo>
                    <a:pt x="7559" y="239366"/>
                    <a:pt x="7559" y="243146"/>
                    <a:pt x="7559" y="246925"/>
                  </a:cubicBezTo>
                  <a:cubicBezTo>
                    <a:pt x="7559" y="249445"/>
                    <a:pt x="5039" y="250705"/>
                    <a:pt x="3779" y="250705"/>
                  </a:cubicBezTo>
                  <a:cubicBezTo>
                    <a:pt x="1260" y="250705"/>
                    <a:pt x="0" y="248185"/>
                    <a:pt x="0" y="246925"/>
                  </a:cubicBezTo>
                  <a:cubicBezTo>
                    <a:pt x="0" y="244406"/>
                    <a:pt x="0" y="241886"/>
                    <a:pt x="0" y="239366"/>
                  </a:cubicBezTo>
                  <a:cubicBezTo>
                    <a:pt x="0" y="236847"/>
                    <a:pt x="0" y="235587"/>
                    <a:pt x="0" y="233067"/>
                  </a:cubicBezTo>
                  <a:cubicBezTo>
                    <a:pt x="0" y="229288"/>
                    <a:pt x="0" y="224249"/>
                    <a:pt x="0" y="220469"/>
                  </a:cubicBezTo>
                  <a:cubicBezTo>
                    <a:pt x="0" y="217950"/>
                    <a:pt x="0" y="216690"/>
                    <a:pt x="0" y="214170"/>
                  </a:cubicBezTo>
                  <a:cubicBezTo>
                    <a:pt x="0" y="211651"/>
                    <a:pt x="0" y="210391"/>
                    <a:pt x="0" y="207871"/>
                  </a:cubicBezTo>
                  <a:cubicBezTo>
                    <a:pt x="0" y="204092"/>
                    <a:pt x="1260" y="199052"/>
                    <a:pt x="1260" y="195273"/>
                  </a:cubicBezTo>
                  <a:cubicBezTo>
                    <a:pt x="1260" y="186454"/>
                    <a:pt x="2519" y="178895"/>
                    <a:pt x="2519" y="170076"/>
                  </a:cubicBezTo>
                  <a:cubicBezTo>
                    <a:pt x="3779" y="161258"/>
                    <a:pt x="3779" y="152439"/>
                    <a:pt x="3779" y="143620"/>
                  </a:cubicBezTo>
                  <a:cubicBezTo>
                    <a:pt x="3779" y="139840"/>
                    <a:pt x="3779" y="136061"/>
                    <a:pt x="3779" y="131022"/>
                  </a:cubicBezTo>
                  <a:cubicBezTo>
                    <a:pt x="3779" y="127242"/>
                    <a:pt x="3779" y="123463"/>
                    <a:pt x="3779" y="118424"/>
                  </a:cubicBezTo>
                  <a:cubicBezTo>
                    <a:pt x="3779" y="114644"/>
                    <a:pt x="3779" y="109605"/>
                    <a:pt x="3779" y="105825"/>
                  </a:cubicBezTo>
                  <a:cubicBezTo>
                    <a:pt x="3779" y="102046"/>
                    <a:pt x="3779" y="97007"/>
                    <a:pt x="3779" y="93227"/>
                  </a:cubicBezTo>
                  <a:cubicBezTo>
                    <a:pt x="3779" y="84408"/>
                    <a:pt x="3779" y="76849"/>
                    <a:pt x="3779" y="68031"/>
                  </a:cubicBezTo>
                  <a:cubicBezTo>
                    <a:pt x="3779" y="59212"/>
                    <a:pt x="5039" y="51653"/>
                    <a:pt x="5039" y="42834"/>
                  </a:cubicBezTo>
                  <a:cubicBezTo>
                    <a:pt x="5039" y="36535"/>
                    <a:pt x="5039" y="30236"/>
                    <a:pt x="5039" y="23937"/>
                  </a:cubicBezTo>
                  <a:cubicBezTo>
                    <a:pt x="5039" y="17638"/>
                    <a:pt x="6299" y="10079"/>
                    <a:pt x="6299" y="3780"/>
                  </a:cubicBezTo>
                  <a:cubicBezTo>
                    <a:pt x="6299" y="2520"/>
                    <a:pt x="7559" y="0"/>
                    <a:pt x="10078" y="0"/>
                  </a:cubicBezTo>
                  <a:cubicBezTo>
                    <a:pt x="10078" y="0"/>
                    <a:pt x="10078" y="0"/>
                    <a:pt x="10078" y="0"/>
                  </a:cubicBezTo>
                  <a:cubicBezTo>
                    <a:pt x="11338" y="2520"/>
                    <a:pt x="12598" y="3780"/>
                    <a:pt x="12598" y="504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4" name="任意多边形: 形状 10213"/>
            <p:cNvSpPr/>
            <p:nvPr/>
          </p:nvSpPr>
          <p:spPr>
            <a:xfrm>
              <a:off x="4847256" y="4545203"/>
              <a:ext cx="12598" cy="138581"/>
            </a:xfrm>
            <a:custGeom>
              <a:avLst/>
              <a:gdLst>
                <a:gd name="connsiteX0" fmla="*/ 10078 w 0"/>
                <a:gd name="connsiteY0" fmla="*/ 1260 h 138580"/>
                <a:gd name="connsiteX1" fmla="*/ 8819 w 0"/>
                <a:gd name="connsiteY1" fmla="*/ 25196 h 138580"/>
                <a:gd name="connsiteX2" fmla="*/ 7559 w 0"/>
                <a:gd name="connsiteY2" fmla="*/ 46613 h 138580"/>
                <a:gd name="connsiteX3" fmla="*/ 7559 w 0"/>
                <a:gd name="connsiteY3" fmla="*/ 93227 h 138580"/>
                <a:gd name="connsiteX4" fmla="*/ 8819 w 0"/>
                <a:gd name="connsiteY4" fmla="*/ 109604 h 138580"/>
                <a:gd name="connsiteX5" fmla="*/ 10078 w 0"/>
                <a:gd name="connsiteY5" fmla="*/ 124722 h 138580"/>
                <a:gd name="connsiteX6" fmla="*/ 10078 w 0"/>
                <a:gd name="connsiteY6" fmla="*/ 128502 h 138580"/>
                <a:gd name="connsiteX7" fmla="*/ 10078 w 0"/>
                <a:gd name="connsiteY7" fmla="*/ 131022 h 138580"/>
                <a:gd name="connsiteX8" fmla="*/ 10078 w 0"/>
                <a:gd name="connsiteY8" fmla="*/ 134801 h 138580"/>
                <a:gd name="connsiteX9" fmla="*/ 8819 w 0"/>
                <a:gd name="connsiteY9" fmla="*/ 137321 h 138580"/>
                <a:gd name="connsiteX10" fmla="*/ 6299 w 0"/>
                <a:gd name="connsiteY10" fmla="*/ 139840 h 138580"/>
                <a:gd name="connsiteX11" fmla="*/ 3779 w 0"/>
                <a:gd name="connsiteY11" fmla="*/ 139840 h 138580"/>
                <a:gd name="connsiteX12" fmla="*/ 1260 w 0"/>
                <a:gd name="connsiteY12" fmla="*/ 137321 h 138580"/>
                <a:gd name="connsiteX13" fmla="*/ 0 w 0"/>
                <a:gd name="connsiteY13" fmla="*/ 134801 h 138580"/>
                <a:gd name="connsiteX14" fmla="*/ 0 w 0"/>
                <a:gd name="connsiteY14" fmla="*/ 133541 h 138580"/>
                <a:gd name="connsiteX15" fmla="*/ 0 w 0"/>
                <a:gd name="connsiteY15" fmla="*/ 132281 h 138580"/>
                <a:gd name="connsiteX16" fmla="*/ 0 w 0"/>
                <a:gd name="connsiteY16" fmla="*/ 129762 h 138580"/>
                <a:gd name="connsiteX17" fmla="*/ 0 w 0"/>
                <a:gd name="connsiteY17" fmla="*/ 124722 h 138580"/>
                <a:gd name="connsiteX18" fmla="*/ 0 w 0"/>
                <a:gd name="connsiteY18" fmla="*/ 113384 h 138580"/>
                <a:gd name="connsiteX19" fmla="*/ 0 w 0"/>
                <a:gd name="connsiteY19" fmla="*/ 90707 h 138580"/>
                <a:gd name="connsiteX20" fmla="*/ 0 w 0"/>
                <a:gd name="connsiteY20" fmla="*/ 85668 h 138580"/>
                <a:gd name="connsiteX21" fmla="*/ 0 w 0"/>
                <a:gd name="connsiteY21" fmla="*/ 80629 h 138580"/>
                <a:gd name="connsiteX22" fmla="*/ 0 w 0"/>
                <a:gd name="connsiteY22" fmla="*/ 69290 h 138580"/>
                <a:gd name="connsiteX23" fmla="*/ 1260 w 0"/>
                <a:gd name="connsiteY23" fmla="*/ 45354 h 138580"/>
                <a:gd name="connsiteX24" fmla="*/ 2519 w 0"/>
                <a:gd name="connsiteY24" fmla="*/ 23937 h 138580"/>
                <a:gd name="connsiteX25" fmla="*/ 3779 w 0"/>
                <a:gd name="connsiteY25" fmla="*/ 1260 h 138580"/>
                <a:gd name="connsiteX26" fmla="*/ 5039 w 0"/>
                <a:gd name="connsiteY26" fmla="*/ 0 h 138580"/>
                <a:gd name="connsiteX27" fmla="*/ 5039 w 0"/>
                <a:gd name="connsiteY27" fmla="*/ 0 h 138580"/>
                <a:gd name="connsiteX28" fmla="*/ 10078 w 0"/>
                <a:gd name="connsiteY28" fmla="*/ 126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h="138580">
                  <a:moveTo>
                    <a:pt x="10078" y="1260"/>
                  </a:moveTo>
                  <a:cubicBezTo>
                    <a:pt x="10078" y="8819"/>
                    <a:pt x="8819" y="17637"/>
                    <a:pt x="8819" y="25196"/>
                  </a:cubicBezTo>
                  <a:cubicBezTo>
                    <a:pt x="8819" y="32755"/>
                    <a:pt x="7559" y="39055"/>
                    <a:pt x="7559" y="46613"/>
                  </a:cubicBezTo>
                  <a:cubicBezTo>
                    <a:pt x="7559" y="61731"/>
                    <a:pt x="7559" y="76849"/>
                    <a:pt x="7559" y="93227"/>
                  </a:cubicBezTo>
                  <a:cubicBezTo>
                    <a:pt x="7559" y="98266"/>
                    <a:pt x="8819" y="104565"/>
                    <a:pt x="8819" y="109604"/>
                  </a:cubicBezTo>
                  <a:cubicBezTo>
                    <a:pt x="8819" y="114644"/>
                    <a:pt x="10078" y="119683"/>
                    <a:pt x="10078" y="124722"/>
                  </a:cubicBezTo>
                  <a:cubicBezTo>
                    <a:pt x="10078" y="125982"/>
                    <a:pt x="10078" y="127242"/>
                    <a:pt x="10078" y="128502"/>
                  </a:cubicBezTo>
                  <a:cubicBezTo>
                    <a:pt x="10078" y="129762"/>
                    <a:pt x="10078" y="129762"/>
                    <a:pt x="10078" y="131022"/>
                  </a:cubicBezTo>
                  <a:cubicBezTo>
                    <a:pt x="10078" y="132281"/>
                    <a:pt x="10078" y="133541"/>
                    <a:pt x="10078" y="134801"/>
                  </a:cubicBezTo>
                  <a:cubicBezTo>
                    <a:pt x="10078" y="136061"/>
                    <a:pt x="10078" y="136061"/>
                    <a:pt x="8819" y="137321"/>
                  </a:cubicBezTo>
                  <a:cubicBezTo>
                    <a:pt x="7559" y="138581"/>
                    <a:pt x="7559" y="139840"/>
                    <a:pt x="6299" y="139840"/>
                  </a:cubicBezTo>
                  <a:cubicBezTo>
                    <a:pt x="5039" y="139840"/>
                    <a:pt x="5039" y="139840"/>
                    <a:pt x="3779" y="139840"/>
                  </a:cubicBezTo>
                  <a:cubicBezTo>
                    <a:pt x="2519" y="139840"/>
                    <a:pt x="1260" y="138581"/>
                    <a:pt x="1260" y="137321"/>
                  </a:cubicBezTo>
                  <a:cubicBezTo>
                    <a:pt x="1260" y="136061"/>
                    <a:pt x="0" y="136061"/>
                    <a:pt x="0" y="134801"/>
                  </a:cubicBezTo>
                  <a:cubicBezTo>
                    <a:pt x="0" y="134801"/>
                    <a:pt x="0" y="134801"/>
                    <a:pt x="0" y="133541"/>
                  </a:cubicBezTo>
                  <a:cubicBezTo>
                    <a:pt x="0" y="133541"/>
                    <a:pt x="0" y="132281"/>
                    <a:pt x="0" y="132281"/>
                  </a:cubicBezTo>
                  <a:cubicBezTo>
                    <a:pt x="0" y="131022"/>
                    <a:pt x="0" y="129762"/>
                    <a:pt x="0" y="129762"/>
                  </a:cubicBezTo>
                  <a:cubicBezTo>
                    <a:pt x="0" y="128502"/>
                    <a:pt x="0" y="125982"/>
                    <a:pt x="0" y="124722"/>
                  </a:cubicBezTo>
                  <a:cubicBezTo>
                    <a:pt x="0" y="120943"/>
                    <a:pt x="0" y="117163"/>
                    <a:pt x="0" y="113384"/>
                  </a:cubicBezTo>
                  <a:cubicBezTo>
                    <a:pt x="0" y="105825"/>
                    <a:pt x="0" y="98266"/>
                    <a:pt x="0" y="90707"/>
                  </a:cubicBezTo>
                  <a:cubicBezTo>
                    <a:pt x="0" y="89448"/>
                    <a:pt x="0" y="88188"/>
                    <a:pt x="0" y="85668"/>
                  </a:cubicBezTo>
                  <a:cubicBezTo>
                    <a:pt x="0" y="84408"/>
                    <a:pt x="0" y="81889"/>
                    <a:pt x="0" y="80629"/>
                  </a:cubicBezTo>
                  <a:cubicBezTo>
                    <a:pt x="0" y="76849"/>
                    <a:pt x="0" y="73070"/>
                    <a:pt x="0" y="69290"/>
                  </a:cubicBezTo>
                  <a:cubicBezTo>
                    <a:pt x="0" y="61731"/>
                    <a:pt x="1260" y="52912"/>
                    <a:pt x="1260" y="45354"/>
                  </a:cubicBezTo>
                  <a:cubicBezTo>
                    <a:pt x="1260" y="37795"/>
                    <a:pt x="2519" y="31496"/>
                    <a:pt x="2519" y="23937"/>
                  </a:cubicBezTo>
                  <a:cubicBezTo>
                    <a:pt x="2519" y="16378"/>
                    <a:pt x="3779" y="8819"/>
                    <a:pt x="3779" y="1260"/>
                  </a:cubicBezTo>
                  <a:cubicBezTo>
                    <a:pt x="3779" y="0"/>
                    <a:pt x="5039" y="0"/>
                    <a:pt x="5039" y="0"/>
                  </a:cubicBezTo>
                  <a:cubicBezTo>
                    <a:pt x="5039" y="0"/>
                    <a:pt x="5039" y="0"/>
                    <a:pt x="5039" y="0"/>
                  </a:cubicBezTo>
                  <a:cubicBezTo>
                    <a:pt x="10078" y="0"/>
                    <a:pt x="10078" y="1260"/>
                    <a:pt x="10078" y="126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5" name="任意多边形: 形状 10214"/>
            <p:cNvSpPr/>
            <p:nvPr/>
          </p:nvSpPr>
          <p:spPr>
            <a:xfrm>
              <a:off x="4843476" y="4532355"/>
              <a:ext cx="12598" cy="151179"/>
            </a:xfrm>
            <a:custGeom>
              <a:avLst/>
              <a:gdLst>
                <a:gd name="connsiteX0" fmla="*/ 18897 w 12598"/>
                <a:gd name="connsiteY0" fmla="*/ 5289 h 151178"/>
                <a:gd name="connsiteX1" fmla="*/ 17638 w 12598"/>
                <a:gd name="connsiteY1" fmla="*/ 25447 h 151178"/>
                <a:gd name="connsiteX2" fmla="*/ 16378 w 12598"/>
                <a:gd name="connsiteY2" fmla="*/ 44344 h 151178"/>
                <a:gd name="connsiteX3" fmla="*/ 15118 w 12598"/>
                <a:gd name="connsiteY3" fmla="*/ 84658 h 151178"/>
                <a:gd name="connsiteX4" fmla="*/ 15118 w 12598"/>
                <a:gd name="connsiteY4" fmla="*/ 111115 h 151178"/>
                <a:gd name="connsiteX5" fmla="*/ 15118 w 12598"/>
                <a:gd name="connsiteY5" fmla="*/ 123713 h 151178"/>
                <a:gd name="connsiteX6" fmla="*/ 16378 w 12598"/>
                <a:gd name="connsiteY6" fmla="*/ 136311 h 151178"/>
                <a:gd name="connsiteX7" fmla="*/ 17638 w 12598"/>
                <a:gd name="connsiteY7" fmla="*/ 147649 h 151178"/>
                <a:gd name="connsiteX8" fmla="*/ 16378 w 12598"/>
                <a:gd name="connsiteY8" fmla="*/ 151429 h 151178"/>
                <a:gd name="connsiteX9" fmla="*/ 12598 w 12598"/>
                <a:gd name="connsiteY9" fmla="*/ 153948 h 151178"/>
                <a:gd name="connsiteX10" fmla="*/ 5040 w 12598"/>
                <a:gd name="connsiteY10" fmla="*/ 150169 h 151178"/>
                <a:gd name="connsiteX11" fmla="*/ 1260 w 12598"/>
                <a:gd name="connsiteY11" fmla="*/ 108595 h 151178"/>
                <a:gd name="connsiteX12" fmla="*/ 0 w 12598"/>
                <a:gd name="connsiteY12" fmla="*/ 67021 h 151178"/>
                <a:gd name="connsiteX13" fmla="*/ 0 w 12598"/>
                <a:gd name="connsiteY13" fmla="*/ 35525 h 151178"/>
                <a:gd name="connsiteX14" fmla="*/ 1260 w 12598"/>
                <a:gd name="connsiteY14" fmla="*/ 20408 h 151178"/>
                <a:gd name="connsiteX15" fmla="*/ 2520 w 12598"/>
                <a:gd name="connsiteY15" fmla="*/ 11589 h 151178"/>
                <a:gd name="connsiteX16" fmla="*/ 3780 w 12598"/>
                <a:gd name="connsiteY16" fmla="*/ 4030 h 151178"/>
                <a:gd name="connsiteX17" fmla="*/ 5040 w 12598"/>
                <a:gd name="connsiteY17" fmla="*/ 1510 h 151178"/>
                <a:gd name="connsiteX18" fmla="*/ 8819 w 12598"/>
                <a:gd name="connsiteY18" fmla="*/ 250 h 151178"/>
                <a:gd name="connsiteX19" fmla="*/ 8819 w 12598"/>
                <a:gd name="connsiteY19" fmla="*/ 250 h 151178"/>
                <a:gd name="connsiteX20" fmla="*/ 18897 w 12598"/>
                <a:gd name="connsiteY20" fmla="*/ 528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598" h="151178">
                  <a:moveTo>
                    <a:pt x="18897" y="5289"/>
                  </a:moveTo>
                  <a:cubicBezTo>
                    <a:pt x="18897" y="11589"/>
                    <a:pt x="18897" y="19148"/>
                    <a:pt x="17638" y="25447"/>
                  </a:cubicBezTo>
                  <a:cubicBezTo>
                    <a:pt x="17638" y="31746"/>
                    <a:pt x="17638" y="38045"/>
                    <a:pt x="16378" y="44344"/>
                  </a:cubicBezTo>
                  <a:cubicBezTo>
                    <a:pt x="16378" y="58202"/>
                    <a:pt x="15118" y="70800"/>
                    <a:pt x="15118" y="84658"/>
                  </a:cubicBezTo>
                  <a:cubicBezTo>
                    <a:pt x="15118" y="93477"/>
                    <a:pt x="15118" y="102296"/>
                    <a:pt x="15118" y="111115"/>
                  </a:cubicBezTo>
                  <a:cubicBezTo>
                    <a:pt x="15118" y="114894"/>
                    <a:pt x="15118" y="119933"/>
                    <a:pt x="15118" y="123713"/>
                  </a:cubicBezTo>
                  <a:cubicBezTo>
                    <a:pt x="15118" y="127493"/>
                    <a:pt x="15118" y="131272"/>
                    <a:pt x="16378" y="136311"/>
                  </a:cubicBezTo>
                  <a:cubicBezTo>
                    <a:pt x="16378" y="140091"/>
                    <a:pt x="17638" y="143870"/>
                    <a:pt x="17638" y="147649"/>
                  </a:cubicBezTo>
                  <a:cubicBezTo>
                    <a:pt x="17638" y="148909"/>
                    <a:pt x="17638" y="150169"/>
                    <a:pt x="16378" y="151429"/>
                  </a:cubicBezTo>
                  <a:cubicBezTo>
                    <a:pt x="15118" y="152689"/>
                    <a:pt x="13858" y="153948"/>
                    <a:pt x="12598" y="153948"/>
                  </a:cubicBezTo>
                  <a:cubicBezTo>
                    <a:pt x="10079" y="155208"/>
                    <a:pt x="6299" y="152689"/>
                    <a:pt x="5040" y="150169"/>
                  </a:cubicBezTo>
                  <a:cubicBezTo>
                    <a:pt x="2520" y="136311"/>
                    <a:pt x="1260" y="122453"/>
                    <a:pt x="1260" y="108595"/>
                  </a:cubicBezTo>
                  <a:cubicBezTo>
                    <a:pt x="1260" y="94737"/>
                    <a:pt x="0" y="80879"/>
                    <a:pt x="0" y="67021"/>
                  </a:cubicBezTo>
                  <a:cubicBezTo>
                    <a:pt x="0" y="56942"/>
                    <a:pt x="0" y="45604"/>
                    <a:pt x="0" y="35525"/>
                  </a:cubicBezTo>
                  <a:cubicBezTo>
                    <a:pt x="0" y="30486"/>
                    <a:pt x="0" y="25447"/>
                    <a:pt x="1260" y="20408"/>
                  </a:cubicBezTo>
                  <a:cubicBezTo>
                    <a:pt x="1260" y="17888"/>
                    <a:pt x="2520" y="14108"/>
                    <a:pt x="2520" y="11589"/>
                  </a:cubicBezTo>
                  <a:cubicBezTo>
                    <a:pt x="2520" y="9069"/>
                    <a:pt x="3780" y="6549"/>
                    <a:pt x="3780" y="4030"/>
                  </a:cubicBezTo>
                  <a:cubicBezTo>
                    <a:pt x="3780" y="2770"/>
                    <a:pt x="5040" y="2770"/>
                    <a:pt x="5040" y="1510"/>
                  </a:cubicBezTo>
                  <a:cubicBezTo>
                    <a:pt x="6299" y="250"/>
                    <a:pt x="7559" y="250"/>
                    <a:pt x="8819" y="250"/>
                  </a:cubicBezTo>
                  <a:cubicBezTo>
                    <a:pt x="8819" y="250"/>
                    <a:pt x="8819" y="250"/>
                    <a:pt x="8819" y="250"/>
                  </a:cubicBezTo>
                  <a:cubicBezTo>
                    <a:pt x="16378" y="-1010"/>
                    <a:pt x="18897" y="2770"/>
                    <a:pt x="18897" y="5289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6" name="任意多边形: 形状 10215"/>
            <p:cNvSpPr/>
            <p:nvPr/>
          </p:nvSpPr>
          <p:spPr>
            <a:xfrm>
              <a:off x="4935443" y="4485991"/>
              <a:ext cx="12598" cy="188973"/>
            </a:xfrm>
            <a:custGeom>
              <a:avLst/>
              <a:gdLst>
                <a:gd name="connsiteX0" fmla="*/ 21417 w 12598"/>
                <a:gd name="connsiteY0" fmla="*/ 3780 h 188973"/>
                <a:gd name="connsiteX1" fmla="*/ 21417 w 12598"/>
                <a:gd name="connsiteY1" fmla="*/ 18897 h 188973"/>
                <a:gd name="connsiteX2" fmla="*/ 21417 w 12598"/>
                <a:gd name="connsiteY2" fmla="*/ 34015 h 188973"/>
                <a:gd name="connsiteX3" fmla="*/ 20157 w 12598"/>
                <a:gd name="connsiteY3" fmla="*/ 62991 h 188973"/>
                <a:gd name="connsiteX4" fmla="*/ 17637 w 12598"/>
                <a:gd name="connsiteY4" fmla="*/ 91967 h 188973"/>
                <a:gd name="connsiteX5" fmla="*/ 15118 w 12598"/>
                <a:gd name="connsiteY5" fmla="*/ 122203 h 188973"/>
                <a:gd name="connsiteX6" fmla="*/ 12598 w 12598"/>
                <a:gd name="connsiteY6" fmla="*/ 151179 h 188973"/>
                <a:gd name="connsiteX7" fmla="*/ 10078 w 12598"/>
                <a:gd name="connsiteY7" fmla="*/ 180155 h 188973"/>
                <a:gd name="connsiteX8" fmla="*/ 10078 w 12598"/>
                <a:gd name="connsiteY8" fmla="*/ 194013 h 188973"/>
                <a:gd name="connsiteX9" fmla="*/ 5039 w 12598"/>
                <a:gd name="connsiteY9" fmla="*/ 199052 h 188973"/>
                <a:gd name="connsiteX10" fmla="*/ 0 w 12598"/>
                <a:gd name="connsiteY10" fmla="*/ 194013 h 188973"/>
                <a:gd name="connsiteX11" fmla="*/ 0 w 12598"/>
                <a:gd name="connsiteY11" fmla="*/ 176375 h 188973"/>
                <a:gd name="connsiteX12" fmla="*/ 1260 w 12598"/>
                <a:gd name="connsiteY12" fmla="*/ 161258 h 188973"/>
                <a:gd name="connsiteX13" fmla="*/ 3779 w 12598"/>
                <a:gd name="connsiteY13" fmla="*/ 132281 h 188973"/>
                <a:gd name="connsiteX14" fmla="*/ 5039 w 12598"/>
                <a:gd name="connsiteY14" fmla="*/ 103306 h 188973"/>
                <a:gd name="connsiteX15" fmla="*/ 7559 w 12598"/>
                <a:gd name="connsiteY15" fmla="*/ 73070 h 188973"/>
                <a:gd name="connsiteX16" fmla="*/ 10078 w 12598"/>
                <a:gd name="connsiteY16" fmla="*/ 44094 h 188973"/>
                <a:gd name="connsiteX17" fmla="*/ 11338 w 12598"/>
                <a:gd name="connsiteY17" fmla="*/ 28976 h 188973"/>
                <a:gd name="connsiteX18" fmla="*/ 12598 w 12598"/>
                <a:gd name="connsiteY18" fmla="*/ 13858 h 188973"/>
                <a:gd name="connsiteX19" fmla="*/ 13858 w 12598"/>
                <a:gd name="connsiteY19" fmla="*/ 3780 h 188973"/>
                <a:gd name="connsiteX20" fmla="*/ 15118 w 12598"/>
                <a:gd name="connsiteY20" fmla="*/ 1260 h 188973"/>
                <a:gd name="connsiteX21" fmla="*/ 17637 w 12598"/>
                <a:gd name="connsiteY21" fmla="*/ 0 h 188973"/>
                <a:gd name="connsiteX22" fmla="*/ 17637 w 12598"/>
                <a:gd name="connsiteY22" fmla="*/ 0 h 188973"/>
                <a:gd name="connsiteX23" fmla="*/ 21417 w 12598"/>
                <a:gd name="connsiteY23" fmla="*/ 378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598" h="188973">
                  <a:moveTo>
                    <a:pt x="21417" y="3780"/>
                  </a:moveTo>
                  <a:cubicBezTo>
                    <a:pt x="21417" y="8819"/>
                    <a:pt x="21417" y="13858"/>
                    <a:pt x="21417" y="18897"/>
                  </a:cubicBezTo>
                  <a:cubicBezTo>
                    <a:pt x="21417" y="23937"/>
                    <a:pt x="21417" y="28976"/>
                    <a:pt x="21417" y="34015"/>
                  </a:cubicBezTo>
                  <a:cubicBezTo>
                    <a:pt x="21417" y="44094"/>
                    <a:pt x="20157" y="54173"/>
                    <a:pt x="20157" y="62991"/>
                  </a:cubicBezTo>
                  <a:cubicBezTo>
                    <a:pt x="18897" y="73070"/>
                    <a:pt x="18897" y="81889"/>
                    <a:pt x="17637" y="91967"/>
                  </a:cubicBezTo>
                  <a:cubicBezTo>
                    <a:pt x="16378" y="102046"/>
                    <a:pt x="16378" y="112124"/>
                    <a:pt x="15118" y="122203"/>
                  </a:cubicBezTo>
                  <a:cubicBezTo>
                    <a:pt x="15118" y="132281"/>
                    <a:pt x="13858" y="142360"/>
                    <a:pt x="12598" y="151179"/>
                  </a:cubicBezTo>
                  <a:cubicBezTo>
                    <a:pt x="11338" y="161258"/>
                    <a:pt x="11338" y="170076"/>
                    <a:pt x="10078" y="180155"/>
                  </a:cubicBezTo>
                  <a:cubicBezTo>
                    <a:pt x="10078" y="185194"/>
                    <a:pt x="10078" y="188974"/>
                    <a:pt x="10078" y="194013"/>
                  </a:cubicBezTo>
                  <a:cubicBezTo>
                    <a:pt x="10078" y="196533"/>
                    <a:pt x="7559" y="199052"/>
                    <a:pt x="5039" y="199052"/>
                  </a:cubicBezTo>
                  <a:cubicBezTo>
                    <a:pt x="2519" y="199052"/>
                    <a:pt x="0" y="196533"/>
                    <a:pt x="0" y="194013"/>
                  </a:cubicBezTo>
                  <a:cubicBezTo>
                    <a:pt x="0" y="187714"/>
                    <a:pt x="0" y="182674"/>
                    <a:pt x="0" y="176375"/>
                  </a:cubicBezTo>
                  <a:cubicBezTo>
                    <a:pt x="0" y="171336"/>
                    <a:pt x="0" y="166297"/>
                    <a:pt x="1260" y="161258"/>
                  </a:cubicBezTo>
                  <a:cubicBezTo>
                    <a:pt x="1260" y="151179"/>
                    <a:pt x="2519" y="141100"/>
                    <a:pt x="3779" y="132281"/>
                  </a:cubicBezTo>
                  <a:cubicBezTo>
                    <a:pt x="3779" y="122203"/>
                    <a:pt x="5039" y="112124"/>
                    <a:pt x="5039" y="103306"/>
                  </a:cubicBezTo>
                  <a:cubicBezTo>
                    <a:pt x="6299" y="93227"/>
                    <a:pt x="6299" y="83148"/>
                    <a:pt x="7559" y="73070"/>
                  </a:cubicBezTo>
                  <a:cubicBezTo>
                    <a:pt x="8819" y="62991"/>
                    <a:pt x="8819" y="54173"/>
                    <a:pt x="10078" y="44094"/>
                  </a:cubicBezTo>
                  <a:cubicBezTo>
                    <a:pt x="10078" y="39055"/>
                    <a:pt x="11338" y="34015"/>
                    <a:pt x="11338" y="28976"/>
                  </a:cubicBezTo>
                  <a:cubicBezTo>
                    <a:pt x="11338" y="23937"/>
                    <a:pt x="12598" y="18897"/>
                    <a:pt x="12598" y="13858"/>
                  </a:cubicBezTo>
                  <a:cubicBezTo>
                    <a:pt x="12598" y="10079"/>
                    <a:pt x="13858" y="7559"/>
                    <a:pt x="13858" y="3780"/>
                  </a:cubicBezTo>
                  <a:cubicBezTo>
                    <a:pt x="13858" y="2520"/>
                    <a:pt x="13858" y="2520"/>
                    <a:pt x="15118" y="1260"/>
                  </a:cubicBezTo>
                  <a:cubicBezTo>
                    <a:pt x="16378" y="1260"/>
                    <a:pt x="16378" y="0"/>
                    <a:pt x="17637" y="0"/>
                  </a:cubicBezTo>
                  <a:cubicBezTo>
                    <a:pt x="17637" y="0"/>
                    <a:pt x="17637" y="0"/>
                    <a:pt x="17637" y="0"/>
                  </a:cubicBezTo>
                  <a:cubicBezTo>
                    <a:pt x="20157" y="0"/>
                    <a:pt x="21417" y="1260"/>
                    <a:pt x="21417" y="37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7" name="任意多边形: 形状 10216"/>
            <p:cNvSpPr/>
            <p:nvPr/>
          </p:nvSpPr>
          <p:spPr>
            <a:xfrm>
              <a:off x="4995915" y="2854520"/>
              <a:ext cx="113384" cy="50393"/>
            </a:xfrm>
            <a:custGeom>
              <a:avLst/>
              <a:gdLst>
                <a:gd name="connsiteX0" fmla="*/ 122203 w 113384"/>
                <a:gd name="connsiteY0" fmla="*/ 0 h 50392"/>
                <a:gd name="connsiteX1" fmla="*/ 122203 w 113384"/>
                <a:gd name="connsiteY1" fmla="*/ 0 h 50392"/>
                <a:gd name="connsiteX2" fmla="*/ 122203 w 113384"/>
                <a:gd name="connsiteY2" fmla="*/ 3780 h 50392"/>
                <a:gd name="connsiteX3" fmla="*/ 122203 w 113384"/>
                <a:gd name="connsiteY3" fmla="*/ 7559 h 50392"/>
                <a:gd name="connsiteX4" fmla="*/ 122203 w 113384"/>
                <a:gd name="connsiteY4" fmla="*/ 8819 h 50392"/>
                <a:gd name="connsiteX5" fmla="*/ 120943 w 113384"/>
                <a:gd name="connsiteY5" fmla="*/ 12598 h 50392"/>
                <a:gd name="connsiteX6" fmla="*/ 117164 w 113384"/>
                <a:gd name="connsiteY6" fmla="*/ 21417 h 50392"/>
                <a:gd name="connsiteX7" fmla="*/ 112124 w 113384"/>
                <a:gd name="connsiteY7" fmla="*/ 27716 h 50392"/>
                <a:gd name="connsiteX8" fmla="*/ 99526 w 113384"/>
                <a:gd name="connsiteY8" fmla="*/ 40315 h 50392"/>
                <a:gd name="connsiteX9" fmla="*/ 90707 w 113384"/>
                <a:gd name="connsiteY9" fmla="*/ 45354 h 50392"/>
                <a:gd name="connsiteX10" fmla="*/ 89448 w 113384"/>
                <a:gd name="connsiteY10" fmla="*/ 46614 h 50392"/>
                <a:gd name="connsiteX11" fmla="*/ 83148 w 113384"/>
                <a:gd name="connsiteY11" fmla="*/ 50393 h 50392"/>
                <a:gd name="connsiteX12" fmla="*/ 65511 w 113384"/>
                <a:gd name="connsiteY12" fmla="*/ 55432 h 50392"/>
                <a:gd name="connsiteX13" fmla="*/ 55432 w 113384"/>
                <a:gd name="connsiteY13" fmla="*/ 55432 h 50392"/>
                <a:gd name="connsiteX14" fmla="*/ 46614 w 113384"/>
                <a:gd name="connsiteY14" fmla="*/ 55432 h 50392"/>
                <a:gd name="connsiteX15" fmla="*/ 45354 w 113384"/>
                <a:gd name="connsiteY15" fmla="*/ 55432 h 50392"/>
                <a:gd name="connsiteX16" fmla="*/ 37795 w 113384"/>
                <a:gd name="connsiteY16" fmla="*/ 54172 h 50392"/>
                <a:gd name="connsiteX17" fmla="*/ 30236 w 113384"/>
                <a:gd name="connsiteY17" fmla="*/ 51653 h 50392"/>
                <a:gd name="connsiteX18" fmla="*/ 17637 w 113384"/>
                <a:gd name="connsiteY18" fmla="*/ 45354 h 50392"/>
                <a:gd name="connsiteX19" fmla="*/ 11338 w 113384"/>
                <a:gd name="connsiteY19" fmla="*/ 40315 h 50392"/>
                <a:gd name="connsiteX20" fmla="*/ 6299 w 113384"/>
                <a:gd name="connsiteY20" fmla="*/ 34015 h 50392"/>
                <a:gd name="connsiteX21" fmla="*/ 3780 w 113384"/>
                <a:gd name="connsiteY21" fmla="*/ 27716 h 50392"/>
                <a:gd name="connsiteX22" fmla="*/ 1260 w 113384"/>
                <a:gd name="connsiteY22" fmla="*/ 20157 h 50392"/>
                <a:gd name="connsiteX23" fmla="*/ 0 w 113384"/>
                <a:gd name="connsiteY23" fmla="*/ 12598 h 50392"/>
                <a:gd name="connsiteX24" fmla="*/ 0 w 113384"/>
                <a:gd name="connsiteY24" fmla="*/ 12598 h 50392"/>
                <a:gd name="connsiteX25" fmla="*/ 0 w 113384"/>
                <a:gd name="connsiteY25" fmla="*/ 12598 h 50392"/>
                <a:gd name="connsiteX26" fmla="*/ 0 w 113384"/>
                <a:gd name="connsiteY26" fmla="*/ 12598 h 50392"/>
                <a:gd name="connsiteX27" fmla="*/ 6299 w 113384"/>
                <a:gd name="connsiteY27" fmla="*/ 7559 h 50392"/>
                <a:gd name="connsiteX28" fmla="*/ 6299 w 113384"/>
                <a:gd name="connsiteY28" fmla="*/ 7559 h 50392"/>
                <a:gd name="connsiteX29" fmla="*/ 13858 w 113384"/>
                <a:gd name="connsiteY29" fmla="*/ 6299 h 50392"/>
                <a:gd name="connsiteX30" fmla="*/ 34015 w 113384"/>
                <a:gd name="connsiteY30" fmla="*/ 3780 h 50392"/>
                <a:gd name="connsiteX31" fmla="*/ 45354 w 113384"/>
                <a:gd name="connsiteY31" fmla="*/ 2520 h 50392"/>
                <a:gd name="connsiteX32" fmla="*/ 56692 w 113384"/>
                <a:gd name="connsiteY32" fmla="*/ 1260 h 50392"/>
                <a:gd name="connsiteX33" fmla="*/ 76849 w 113384"/>
                <a:gd name="connsiteY33" fmla="*/ 0 h 50392"/>
                <a:gd name="connsiteX34" fmla="*/ 97007 w 113384"/>
                <a:gd name="connsiteY34" fmla="*/ 0 h 50392"/>
                <a:gd name="connsiteX35" fmla="*/ 118423 w 113384"/>
                <a:gd name="connsiteY35" fmla="*/ 0 h 50392"/>
                <a:gd name="connsiteX36" fmla="*/ 122203 w 113384"/>
                <a:gd name="connsiteY36" fmla="*/ 0 h 50392"/>
                <a:gd name="connsiteX37" fmla="*/ 122203 w 113384"/>
                <a:gd name="connsiteY37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3384" h="50392">
                  <a:moveTo>
                    <a:pt x="122203" y="0"/>
                  </a:moveTo>
                  <a:lnTo>
                    <a:pt x="122203" y="0"/>
                  </a:lnTo>
                  <a:cubicBezTo>
                    <a:pt x="122203" y="1260"/>
                    <a:pt x="122203" y="2520"/>
                    <a:pt x="122203" y="3780"/>
                  </a:cubicBezTo>
                  <a:cubicBezTo>
                    <a:pt x="122203" y="5039"/>
                    <a:pt x="122203" y="6299"/>
                    <a:pt x="122203" y="7559"/>
                  </a:cubicBezTo>
                  <a:lnTo>
                    <a:pt x="122203" y="8819"/>
                  </a:lnTo>
                  <a:cubicBezTo>
                    <a:pt x="122203" y="10079"/>
                    <a:pt x="122203" y="11339"/>
                    <a:pt x="120943" y="12598"/>
                  </a:cubicBezTo>
                  <a:cubicBezTo>
                    <a:pt x="119683" y="15118"/>
                    <a:pt x="118423" y="18897"/>
                    <a:pt x="117164" y="21417"/>
                  </a:cubicBezTo>
                  <a:cubicBezTo>
                    <a:pt x="115904" y="23937"/>
                    <a:pt x="114644" y="25196"/>
                    <a:pt x="112124" y="27716"/>
                  </a:cubicBezTo>
                  <a:cubicBezTo>
                    <a:pt x="108345" y="31496"/>
                    <a:pt x="104566" y="36535"/>
                    <a:pt x="99526" y="40315"/>
                  </a:cubicBezTo>
                  <a:cubicBezTo>
                    <a:pt x="97007" y="41574"/>
                    <a:pt x="94487" y="44094"/>
                    <a:pt x="90707" y="45354"/>
                  </a:cubicBezTo>
                  <a:lnTo>
                    <a:pt x="89448" y="46614"/>
                  </a:lnTo>
                  <a:cubicBezTo>
                    <a:pt x="88188" y="47873"/>
                    <a:pt x="85668" y="49133"/>
                    <a:pt x="83148" y="50393"/>
                  </a:cubicBezTo>
                  <a:cubicBezTo>
                    <a:pt x="78109" y="52913"/>
                    <a:pt x="71810" y="54172"/>
                    <a:pt x="65511" y="55432"/>
                  </a:cubicBezTo>
                  <a:cubicBezTo>
                    <a:pt x="61731" y="55432"/>
                    <a:pt x="59212" y="55432"/>
                    <a:pt x="55432" y="55432"/>
                  </a:cubicBezTo>
                  <a:cubicBezTo>
                    <a:pt x="52913" y="55432"/>
                    <a:pt x="49133" y="55432"/>
                    <a:pt x="46614" y="55432"/>
                  </a:cubicBezTo>
                  <a:cubicBezTo>
                    <a:pt x="46614" y="55432"/>
                    <a:pt x="45354" y="55432"/>
                    <a:pt x="45354" y="55432"/>
                  </a:cubicBezTo>
                  <a:cubicBezTo>
                    <a:pt x="42834" y="55432"/>
                    <a:pt x="40314" y="55432"/>
                    <a:pt x="37795" y="54172"/>
                  </a:cubicBezTo>
                  <a:cubicBezTo>
                    <a:pt x="35275" y="54172"/>
                    <a:pt x="32755" y="52913"/>
                    <a:pt x="30236" y="51653"/>
                  </a:cubicBezTo>
                  <a:cubicBezTo>
                    <a:pt x="26456" y="50393"/>
                    <a:pt x="22677" y="47873"/>
                    <a:pt x="17637" y="45354"/>
                  </a:cubicBezTo>
                  <a:cubicBezTo>
                    <a:pt x="15118" y="44094"/>
                    <a:pt x="12598" y="42834"/>
                    <a:pt x="11338" y="40315"/>
                  </a:cubicBezTo>
                  <a:cubicBezTo>
                    <a:pt x="8819" y="39055"/>
                    <a:pt x="7559" y="36535"/>
                    <a:pt x="6299" y="34015"/>
                  </a:cubicBezTo>
                  <a:cubicBezTo>
                    <a:pt x="5039" y="31496"/>
                    <a:pt x="3780" y="28976"/>
                    <a:pt x="3780" y="27716"/>
                  </a:cubicBezTo>
                  <a:cubicBezTo>
                    <a:pt x="2520" y="25196"/>
                    <a:pt x="2520" y="22677"/>
                    <a:pt x="1260" y="20157"/>
                  </a:cubicBezTo>
                  <a:cubicBezTo>
                    <a:pt x="1260" y="17638"/>
                    <a:pt x="0" y="15118"/>
                    <a:pt x="0" y="12598"/>
                  </a:cubicBezTo>
                  <a:lnTo>
                    <a:pt x="0" y="12598"/>
                  </a:lnTo>
                  <a:cubicBezTo>
                    <a:pt x="0" y="12598"/>
                    <a:pt x="0" y="12598"/>
                    <a:pt x="0" y="12598"/>
                  </a:cubicBezTo>
                  <a:cubicBezTo>
                    <a:pt x="0" y="12598"/>
                    <a:pt x="0" y="12598"/>
                    <a:pt x="0" y="12598"/>
                  </a:cubicBezTo>
                  <a:cubicBezTo>
                    <a:pt x="2520" y="11339"/>
                    <a:pt x="3780" y="10079"/>
                    <a:pt x="6299" y="7559"/>
                  </a:cubicBezTo>
                  <a:cubicBezTo>
                    <a:pt x="6299" y="7559"/>
                    <a:pt x="6299" y="7559"/>
                    <a:pt x="6299" y="7559"/>
                  </a:cubicBezTo>
                  <a:cubicBezTo>
                    <a:pt x="8819" y="7559"/>
                    <a:pt x="11338" y="6299"/>
                    <a:pt x="13858" y="6299"/>
                  </a:cubicBezTo>
                  <a:cubicBezTo>
                    <a:pt x="20157" y="5039"/>
                    <a:pt x="26456" y="5039"/>
                    <a:pt x="34015" y="3780"/>
                  </a:cubicBezTo>
                  <a:cubicBezTo>
                    <a:pt x="37795" y="3780"/>
                    <a:pt x="41574" y="2520"/>
                    <a:pt x="45354" y="2520"/>
                  </a:cubicBezTo>
                  <a:cubicBezTo>
                    <a:pt x="49133" y="2520"/>
                    <a:pt x="52913" y="1260"/>
                    <a:pt x="56692" y="1260"/>
                  </a:cubicBezTo>
                  <a:cubicBezTo>
                    <a:pt x="62991" y="0"/>
                    <a:pt x="69290" y="0"/>
                    <a:pt x="76849" y="0"/>
                  </a:cubicBezTo>
                  <a:cubicBezTo>
                    <a:pt x="83148" y="0"/>
                    <a:pt x="90707" y="0"/>
                    <a:pt x="97007" y="0"/>
                  </a:cubicBezTo>
                  <a:cubicBezTo>
                    <a:pt x="104566" y="0"/>
                    <a:pt x="112124" y="0"/>
                    <a:pt x="118423" y="0"/>
                  </a:cubicBezTo>
                  <a:cubicBezTo>
                    <a:pt x="122203" y="0"/>
                    <a:pt x="122203" y="0"/>
                    <a:pt x="122203" y="0"/>
                  </a:cubicBezTo>
                  <a:lnTo>
                    <a:pt x="122203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8" name="任意多边形: 形状 10217"/>
            <p:cNvSpPr/>
            <p:nvPr/>
          </p:nvSpPr>
          <p:spPr>
            <a:xfrm>
              <a:off x="5332288" y="3202231"/>
              <a:ext cx="138581" cy="88188"/>
            </a:xfrm>
            <a:custGeom>
              <a:avLst/>
              <a:gdLst>
                <a:gd name="connsiteX0" fmla="*/ 108345 w 138580"/>
                <a:gd name="connsiteY0" fmla="*/ 0 h 88187"/>
                <a:gd name="connsiteX1" fmla="*/ 114644 w 138580"/>
                <a:gd name="connsiteY1" fmla="*/ 1260 h 88187"/>
                <a:gd name="connsiteX2" fmla="*/ 122203 w 138580"/>
                <a:gd name="connsiteY2" fmla="*/ 5039 h 88187"/>
                <a:gd name="connsiteX3" fmla="*/ 123463 w 138580"/>
                <a:gd name="connsiteY3" fmla="*/ 6299 h 88187"/>
                <a:gd name="connsiteX4" fmla="*/ 131022 w 138580"/>
                <a:gd name="connsiteY4" fmla="*/ 10079 h 88187"/>
                <a:gd name="connsiteX5" fmla="*/ 134801 w 138580"/>
                <a:gd name="connsiteY5" fmla="*/ 13858 h 88187"/>
                <a:gd name="connsiteX6" fmla="*/ 139840 w 138580"/>
                <a:gd name="connsiteY6" fmla="*/ 25196 h 88187"/>
                <a:gd name="connsiteX7" fmla="*/ 142360 w 138580"/>
                <a:gd name="connsiteY7" fmla="*/ 35275 h 88187"/>
                <a:gd name="connsiteX8" fmla="*/ 142360 w 138580"/>
                <a:gd name="connsiteY8" fmla="*/ 35275 h 88187"/>
                <a:gd name="connsiteX9" fmla="*/ 142360 w 138580"/>
                <a:gd name="connsiteY9" fmla="*/ 35275 h 88187"/>
                <a:gd name="connsiteX10" fmla="*/ 143620 w 138580"/>
                <a:gd name="connsiteY10" fmla="*/ 42834 h 88187"/>
                <a:gd name="connsiteX11" fmla="*/ 143620 w 138580"/>
                <a:gd name="connsiteY11" fmla="*/ 61731 h 88187"/>
                <a:gd name="connsiteX12" fmla="*/ 142360 w 138580"/>
                <a:gd name="connsiteY12" fmla="*/ 80629 h 88187"/>
                <a:gd name="connsiteX13" fmla="*/ 142360 w 138580"/>
                <a:gd name="connsiteY13" fmla="*/ 80629 h 88187"/>
                <a:gd name="connsiteX14" fmla="*/ 142360 w 138580"/>
                <a:gd name="connsiteY14" fmla="*/ 80629 h 88187"/>
                <a:gd name="connsiteX15" fmla="*/ 142360 w 138580"/>
                <a:gd name="connsiteY15" fmla="*/ 80629 h 88187"/>
                <a:gd name="connsiteX16" fmla="*/ 142360 w 138580"/>
                <a:gd name="connsiteY16" fmla="*/ 80629 h 88187"/>
                <a:gd name="connsiteX17" fmla="*/ 142360 w 138580"/>
                <a:gd name="connsiteY17" fmla="*/ 80629 h 88187"/>
                <a:gd name="connsiteX18" fmla="*/ 142360 w 138580"/>
                <a:gd name="connsiteY18" fmla="*/ 80629 h 88187"/>
                <a:gd name="connsiteX19" fmla="*/ 141100 w 138580"/>
                <a:gd name="connsiteY19" fmla="*/ 83148 h 88187"/>
                <a:gd name="connsiteX20" fmla="*/ 137321 w 138580"/>
                <a:gd name="connsiteY20" fmla="*/ 86928 h 88187"/>
                <a:gd name="connsiteX21" fmla="*/ 129762 w 138580"/>
                <a:gd name="connsiteY21" fmla="*/ 91967 h 88187"/>
                <a:gd name="connsiteX22" fmla="*/ 118423 w 138580"/>
                <a:gd name="connsiteY22" fmla="*/ 94487 h 88187"/>
                <a:gd name="connsiteX23" fmla="*/ 107085 w 138580"/>
                <a:gd name="connsiteY23" fmla="*/ 95747 h 88187"/>
                <a:gd name="connsiteX24" fmla="*/ 97006 w 138580"/>
                <a:gd name="connsiteY24" fmla="*/ 95747 h 88187"/>
                <a:gd name="connsiteX25" fmla="*/ 97006 w 138580"/>
                <a:gd name="connsiteY25" fmla="*/ 95747 h 88187"/>
                <a:gd name="connsiteX26" fmla="*/ 90707 w 138580"/>
                <a:gd name="connsiteY26" fmla="*/ 95747 h 88187"/>
                <a:gd name="connsiteX27" fmla="*/ 85668 w 138580"/>
                <a:gd name="connsiteY27" fmla="*/ 95747 h 88187"/>
                <a:gd name="connsiteX28" fmla="*/ 75589 w 138580"/>
                <a:gd name="connsiteY28" fmla="*/ 93227 h 88187"/>
                <a:gd name="connsiteX29" fmla="*/ 74329 w 138580"/>
                <a:gd name="connsiteY29" fmla="*/ 93227 h 88187"/>
                <a:gd name="connsiteX30" fmla="*/ 64251 w 138580"/>
                <a:gd name="connsiteY30" fmla="*/ 90707 h 88187"/>
                <a:gd name="connsiteX31" fmla="*/ 54172 w 138580"/>
                <a:gd name="connsiteY31" fmla="*/ 88188 h 88187"/>
                <a:gd name="connsiteX32" fmla="*/ 40314 w 138580"/>
                <a:gd name="connsiteY32" fmla="*/ 80629 h 88187"/>
                <a:gd name="connsiteX33" fmla="*/ 37795 w 138580"/>
                <a:gd name="connsiteY33" fmla="*/ 79369 h 88187"/>
                <a:gd name="connsiteX34" fmla="*/ 31496 w 138580"/>
                <a:gd name="connsiteY34" fmla="*/ 75589 h 88187"/>
                <a:gd name="connsiteX35" fmla="*/ 27716 w 138580"/>
                <a:gd name="connsiteY35" fmla="*/ 73070 h 88187"/>
                <a:gd name="connsiteX36" fmla="*/ 23937 w 138580"/>
                <a:gd name="connsiteY36" fmla="*/ 70550 h 88187"/>
                <a:gd name="connsiteX37" fmla="*/ 20157 w 138580"/>
                <a:gd name="connsiteY37" fmla="*/ 69290 h 88187"/>
                <a:gd name="connsiteX38" fmla="*/ 15118 w 138580"/>
                <a:gd name="connsiteY38" fmla="*/ 66771 h 88187"/>
                <a:gd name="connsiteX39" fmla="*/ 13858 w 138580"/>
                <a:gd name="connsiteY39" fmla="*/ 65511 h 88187"/>
                <a:gd name="connsiteX40" fmla="*/ 13858 w 138580"/>
                <a:gd name="connsiteY40" fmla="*/ 65511 h 88187"/>
                <a:gd name="connsiteX41" fmla="*/ 11338 w 138580"/>
                <a:gd name="connsiteY41" fmla="*/ 61731 h 88187"/>
                <a:gd name="connsiteX42" fmla="*/ 10078 w 138580"/>
                <a:gd name="connsiteY42" fmla="*/ 60472 h 88187"/>
                <a:gd name="connsiteX43" fmla="*/ 5039 w 138580"/>
                <a:gd name="connsiteY43" fmla="*/ 54172 h 88187"/>
                <a:gd name="connsiteX44" fmla="*/ 0 w 138580"/>
                <a:gd name="connsiteY44" fmla="*/ 47873 h 88187"/>
                <a:gd name="connsiteX45" fmla="*/ 0 w 138580"/>
                <a:gd name="connsiteY45" fmla="*/ 47873 h 88187"/>
                <a:gd name="connsiteX46" fmla="*/ 0 w 138580"/>
                <a:gd name="connsiteY46" fmla="*/ 47873 h 88187"/>
                <a:gd name="connsiteX47" fmla="*/ 0 w 138580"/>
                <a:gd name="connsiteY47" fmla="*/ 47873 h 88187"/>
                <a:gd name="connsiteX48" fmla="*/ 0 w 138580"/>
                <a:gd name="connsiteY48" fmla="*/ 47873 h 88187"/>
                <a:gd name="connsiteX49" fmla="*/ 0 w 138580"/>
                <a:gd name="connsiteY49" fmla="*/ 47873 h 88187"/>
                <a:gd name="connsiteX50" fmla="*/ 0 w 138580"/>
                <a:gd name="connsiteY50" fmla="*/ 47873 h 88187"/>
                <a:gd name="connsiteX51" fmla="*/ 3779 w 138580"/>
                <a:gd name="connsiteY51" fmla="*/ 45354 h 88187"/>
                <a:gd name="connsiteX52" fmla="*/ 3779 w 138580"/>
                <a:gd name="connsiteY52" fmla="*/ 45354 h 88187"/>
                <a:gd name="connsiteX53" fmla="*/ 3779 w 138580"/>
                <a:gd name="connsiteY53" fmla="*/ 45354 h 88187"/>
                <a:gd name="connsiteX54" fmla="*/ 3779 w 138580"/>
                <a:gd name="connsiteY54" fmla="*/ 45354 h 88187"/>
                <a:gd name="connsiteX55" fmla="*/ 3779 w 138580"/>
                <a:gd name="connsiteY55" fmla="*/ 45354 h 88187"/>
                <a:gd name="connsiteX56" fmla="*/ 3779 w 138580"/>
                <a:gd name="connsiteY56" fmla="*/ 45354 h 88187"/>
                <a:gd name="connsiteX57" fmla="*/ 3779 w 138580"/>
                <a:gd name="connsiteY57" fmla="*/ 45354 h 88187"/>
                <a:gd name="connsiteX58" fmla="*/ 3779 w 138580"/>
                <a:gd name="connsiteY58" fmla="*/ 45354 h 88187"/>
                <a:gd name="connsiteX59" fmla="*/ 3779 w 138580"/>
                <a:gd name="connsiteY59" fmla="*/ 45354 h 88187"/>
                <a:gd name="connsiteX60" fmla="*/ 3779 w 138580"/>
                <a:gd name="connsiteY60" fmla="*/ 45354 h 88187"/>
                <a:gd name="connsiteX61" fmla="*/ 3779 w 138580"/>
                <a:gd name="connsiteY61" fmla="*/ 45354 h 88187"/>
                <a:gd name="connsiteX62" fmla="*/ 3779 w 138580"/>
                <a:gd name="connsiteY62" fmla="*/ 45354 h 88187"/>
                <a:gd name="connsiteX63" fmla="*/ 3779 w 138580"/>
                <a:gd name="connsiteY63" fmla="*/ 45354 h 88187"/>
                <a:gd name="connsiteX64" fmla="*/ 3779 w 138580"/>
                <a:gd name="connsiteY64" fmla="*/ 45354 h 88187"/>
                <a:gd name="connsiteX65" fmla="*/ 3779 w 138580"/>
                <a:gd name="connsiteY65" fmla="*/ 45354 h 88187"/>
                <a:gd name="connsiteX66" fmla="*/ 15118 w 138580"/>
                <a:gd name="connsiteY66" fmla="*/ 36535 h 88187"/>
                <a:gd name="connsiteX67" fmla="*/ 20157 w 138580"/>
                <a:gd name="connsiteY67" fmla="*/ 32755 h 88187"/>
                <a:gd name="connsiteX68" fmla="*/ 25196 w 138580"/>
                <a:gd name="connsiteY68" fmla="*/ 28976 h 88187"/>
                <a:gd name="connsiteX69" fmla="*/ 34015 w 138580"/>
                <a:gd name="connsiteY69" fmla="*/ 23937 h 88187"/>
                <a:gd name="connsiteX70" fmla="*/ 37795 w 138580"/>
                <a:gd name="connsiteY70" fmla="*/ 21417 h 88187"/>
                <a:gd name="connsiteX71" fmla="*/ 37795 w 138580"/>
                <a:gd name="connsiteY71" fmla="*/ 21417 h 88187"/>
                <a:gd name="connsiteX72" fmla="*/ 44094 w 138580"/>
                <a:gd name="connsiteY72" fmla="*/ 17637 h 88187"/>
                <a:gd name="connsiteX73" fmla="*/ 61731 w 138580"/>
                <a:gd name="connsiteY73" fmla="*/ 8819 h 88187"/>
                <a:gd name="connsiteX74" fmla="*/ 83148 w 138580"/>
                <a:gd name="connsiteY74" fmla="*/ 2520 h 88187"/>
                <a:gd name="connsiteX75" fmla="*/ 95747 w 138580"/>
                <a:gd name="connsiteY75" fmla="*/ 1260 h 88187"/>
                <a:gd name="connsiteX76" fmla="*/ 108345 w 138580"/>
                <a:gd name="connsiteY76" fmla="*/ 0 h 88187"/>
                <a:gd name="connsiteX77" fmla="*/ 108345 w 138580"/>
                <a:gd name="connsiteY77" fmla="*/ 0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8580" h="88187">
                  <a:moveTo>
                    <a:pt x="108345" y="0"/>
                  </a:moveTo>
                  <a:cubicBezTo>
                    <a:pt x="109604" y="0"/>
                    <a:pt x="112124" y="1260"/>
                    <a:pt x="114644" y="1260"/>
                  </a:cubicBezTo>
                  <a:cubicBezTo>
                    <a:pt x="117163" y="2520"/>
                    <a:pt x="119683" y="3780"/>
                    <a:pt x="122203" y="5039"/>
                  </a:cubicBezTo>
                  <a:lnTo>
                    <a:pt x="123463" y="6299"/>
                  </a:lnTo>
                  <a:cubicBezTo>
                    <a:pt x="125982" y="7559"/>
                    <a:pt x="128502" y="8819"/>
                    <a:pt x="131022" y="10079"/>
                  </a:cubicBezTo>
                  <a:cubicBezTo>
                    <a:pt x="132281" y="11338"/>
                    <a:pt x="133541" y="12598"/>
                    <a:pt x="134801" y="13858"/>
                  </a:cubicBezTo>
                  <a:cubicBezTo>
                    <a:pt x="137321" y="17637"/>
                    <a:pt x="138581" y="21417"/>
                    <a:pt x="139840" y="25196"/>
                  </a:cubicBezTo>
                  <a:cubicBezTo>
                    <a:pt x="141100" y="28976"/>
                    <a:pt x="142360" y="31496"/>
                    <a:pt x="142360" y="35275"/>
                  </a:cubicBezTo>
                  <a:lnTo>
                    <a:pt x="142360" y="35275"/>
                  </a:lnTo>
                  <a:lnTo>
                    <a:pt x="142360" y="35275"/>
                  </a:lnTo>
                  <a:cubicBezTo>
                    <a:pt x="143620" y="37795"/>
                    <a:pt x="143620" y="40314"/>
                    <a:pt x="143620" y="42834"/>
                  </a:cubicBezTo>
                  <a:cubicBezTo>
                    <a:pt x="143620" y="49133"/>
                    <a:pt x="143620" y="56692"/>
                    <a:pt x="143620" y="61731"/>
                  </a:cubicBezTo>
                  <a:cubicBezTo>
                    <a:pt x="143620" y="68030"/>
                    <a:pt x="142360" y="74330"/>
                    <a:pt x="142360" y="80629"/>
                  </a:cubicBez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cubicBezTo>
                    <a:pt x="142360" y="80629"/>
                    <a:pt x="142360" y="80629"/>
                    <a:pt x="142360" y="80629"/>
                  </a:cubicBezTo>
                  <a:lnTo>
                    <a:pt x="142360" y="80629"/>
                  </a:lnTo>
                  <a:cubicBezTo>
                    <a:pt x="142360" y="81889"/>
                    <a:pt x="141100" y="81889"/>
                    <a:pt x="141100" y="83148"/>
                  </a:cubicBezTo>
                  <a:cubicBezTo>
                    <a:pt x="139840" y="84408"/>
                    <a:pt x="138581" y="85668"/>
                    <a:pt x="137321" y="86928"/>
                  </a:cubicBezTo>
                  <a:cubicBezTo>
                    <a:pt x="134801" y="89448"/>
                    <a:pt x="132281" y="90707"/>
                    <a:pt x="129762" y="91967"/>
                  </a:cubicBezTo>
                  <a:cubicBezTo>
                    <a:pt x="125982" y="93227"/>
                    <a:pt x="122203" y="94487"/>
                    <a:pt x="118423" y="94487"/>
                  </a:cubicBezTo>
                  <a:cubicBezTo>
                    <a:pt x="114644" y="94487"/>
                    <a:pt x="110864" y="94487"/>
                    <a:pt x="107085" y="95747"/>
                  </a:cubicBezTo>
                  <a:cubicBezTo>
                    <a:pt x="103305" y="95747"/>
                    <a:pt x="99526" y="95747"/>
                    <a:pt x="97006" y="95747"/>
                  </a:cubicBezTo>
                  <a:lnTo>
                    <a:pt x="97006" y="95747"/>
                  </a:lnTo>
                  <a:cubicBezTo>
                    <a:pt x="94487" y="95747"/>
                    <a:pt x="93227" y="95747"/>
                    <a:pt x="90707" y="95747"/>
                  </a:cubicBezTo>
                  <a:cubicBezTo>
                    <a:pt x="89448" y="95747"/>
                    <a:pt x="88188" y="95747"/>
                    <a:pt x="85668" y="95747"/>
                  </a:cubicBezTo>
                  <a:cubicBezTo>
                    <a:pt x="81889" y="95747"/>
                    <a:pt x="79369" y="94487"/>
                    <a:pt x="75589" y="93227"/>
                  </a:cubicBezTo>
                  <a:lnTo>
                    <a:pt x="74329" y="93227"/>
                  </a:lnTo>
                  <a:cubicBezTo>
                    <a:pt x="70550" y="91967"/>
                    <a:pt x="66770" y="91967"/>
                    <a:pt x="64251" y="90707"/>
                  </a:cubicBezTo>
                  <a:cubicBezTo>
                    <a:pt x="61731" y="89448"/>
                    <a:pt x="57952" y="89448"/>
                    <a:pt x="54172" y="88188"/>
                  </a:cubicBezTo>
                  <a:cubicBezTo>
                    <a:pt x="49133" y="85668"/>
                    <a:pt x="45354" y="83148"/>
                    <a:pt x="40314" y="80629"/>
                  </a:cubicBezTo>
                  <a:cubicBezTo>
                    <a:pt x="39055" y="80629"/>
                    <a:pt x="37795" y="79369"/>
                    <a:pt x="37795" y="79369"/>
                  </a:cubicBezTo>
                  <a:cubicBezTo>
                    <a:pt x="35275" y="78109"/>
                    <a:pt x="32755" y="76849"/>
                    <a:pt x="31496" y="75589"/>
                  </a:cubicBezTo>
                  <a:cubicBezTo>
                    <a:pt x="30236" y="75589"/>
                    <a:pt x="28976" y="74330"/>
                    <a:pt x="27716" y="73070"/>
                  </a:cubicBezTo>
                  <a:cubicBezTo>
                    <a:pt x="26456" y="71810"/>
                    <a:pt x="25196" y="71810"/>
                    <a:pt x="23937" y="70550"/>
                  </a:cubicBezTo>
                  <a:cubicBezTo>
                    <a:pt x="22677" y="70550"/>
                    <a:pt x="21417" y="69290"/>
                    <a:pt x="20157" y="69290"/>
                  </a:cubicBezTo>
                  <a:cubicBezTo>
                    <a:pt x="18897" y="68030"/>
                    <a:pt x="16378" y="68030"/>
                    <a:pt x="15118" y="66771"/>
                  </a:cubicBezTo>
                  <a:cubicBezTo>
                    <a:pt x="15118" y="66771"/>
                    <a:pt x="13858" y="65511"/>
                    <a:pt x="13858" y="65511"/>
                  </a:cubicBezTo>
                  <a:lnTo>
                    <a:pt x="13858" y="65511"/>
                  </a:lnTo>
                  <a:cubicBezTo>
                    <a:pt x="12598" y="64251"/>
                    <a:pt x="11338" y="62991"/>
                    <a:pt x="11338" y="61731"/>
                  </a:cubicBezTo>
                  <a:cubicBezTo>
                    <a:pt x="11338" y="61731"/>
                    <a:pt x="10078" y="60472"/>
                    <a:pt x="10078" y="60472"/>
                  </a:cubicBezTo>
                  <a:cubicBezTo>
                    <a:pt x="8819" y="57952"/>
                    <a:pt x="7559" y="56692"/>
                    <a:pt x="5039" y="54172"/>
                  </a:cubicBezTo>
                  <a:cubicBezTo>
                    <a:pt x="3779" y="51653"/>
                    <a:pt x="1260" y="49133"/>
                    <a:pt x="0" y="47873"/>
                  </a:cubicBez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cubicBezTo>
                    <a:pt x="1260" y="46613"/>
                    <a:pt x="2519" y="46613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cubicBezTo>
                    <a:pt x="3779" y="45354"/>
                    <a:pt x="3779" y="45354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cubicBezTo>
                    <a:pt x="7559" y="42834"/>
                    <a:pt x="11338" y="40314"/>
                    <a:pt x="15118" y="36535"/>
                  </a:cubicBezTo>
                  <a:cubicBezTo>
                    <a:pt x="16378" y="35275"/>
                    <a:pt x="18897" y="34015"/>
                    <a:pt x="20157" y="32755"/>
                  </a:cubicBezTo>
                  <a:cubicBezTo>
                    <a:pt x="21417" y="31496"/>
                    <a:pt x="22677" y="30236"/>
                    <a:pt x="25196" y="28976"/>
                  </a:cubicBezTo>
                  <a:cubicBezTo>
                    <a:pt x="27716" y="26456"/>
                    <a:pt x="31496" y="25196"/>
                    <a:pt x="34015" y="23937"/>
                  </a:cubicBezTo>
                  <a:cubicBezTo>
                    <a:pt x="35275" y="22677"/>
                    <a:pt x="36535" y="22677"/>
                    <a:pt x="37795" y="21417"/>
                  </a:cubicBezTo>
                  <a:lnTo>
                    <a:pt x="37795" y="21417"/>
                  </a:lnTo>
                  <a:cubicBezTo>
                    <a:pt x="40314" y="20157"/>
                    <a:pt x="41574" y="18897"/>
                    <a:pt x="44094" y="17637"/>
                  </a:cubicBezTo>
                  <a:cubicBezTo>
                    <a:pt x="49133" y="15118"/>
                    <a:pt x="55432" y="11338"/>
                    <a:pt x="61731" y="8819"/>
                  </a:cubicBezTo>
                  <a:cubicBezTo>
                    <a:pt x="68030" y="6299"/>
                    <a:pt x="75589" y="3780"/>
                    <a:pt x="83148" y="2520"/>
                  </a:cubicBezTo>
                  <a:cubicBezTo>
                    <a:pt x="88188" y="2520"/>
                    <a:pt x="91967" y="1260"/>
                    <a:pt x="95747" y="1260"/>
                  </a:cubicBezTo>
                  <a:cubicBezTo>
                    <a:pt x="99526" y="0"/>
                    <a:pt x="103305" y="0"/>
                    <a:pt x="108345" y="0"/>
                  </a:cubicBezTo>
                  <a:lnTo>
                    <a:pt x="108345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9" name="任意多边形: 形状 10218"/>
            <p:cNvSpPr/>
            <p:nvPr/>
          </p:nvSpPr>
          <p:spPr>
            <a:xfrm>
              <a:off x="5134495" y="3337032"/>
              <a:ext cx="100786" cy="251965"/>
            </a:xfrm>
            <a:custGeom>
              <a:avLst/>
              <a:gdLst>
                <a:gd name="connsiteX0" fmla="*/ 99526 w 100785"/>
                <a:gd name="connsiteY0" fmla="*/ 47873 h 251964"/>
                <a:gd name="connsiteX1" fmla="*/ 99526 w 100785"/>
                <a:gd name="connsiteY1" fmla="*/ 60472 h 251964"/>
                <a:gd name="connsiteX2" fmla="*/ 98266 w 100785"/>
                <a:gd name="connsiteY2" fmla="*/ 81889 h 251964"/>
                <a:gd name="connsiteX3" fmla="*/ 98266 w 100785"/>
                <a:gd name="connsiteY3" fmla="*/ 85668 h 251964"/>
                <a:gd name="connsiteX4" fmla="*/ 97007 w 100785"/>
                <a:gd name="connsiteY4" fmla="*/ 117164 h 251964"/>
                <a:gd name="connsiteX5" fmla="*/ 97007 w 100785"/>
                <a:gd name="connsiteY5" fmla="*/ 118424 h 251964"/>
                <a:gd name="connsiteX6" fmla="*/ 95747 w 100785"/>
                <a:gd name="connsiteY6" fmla="*/ 134801 h 251964"/>
                <a:gd name="connsiteX7" fmla="*/ 95747 w 100785"/>
                <a:gd name="connsiteY7" fmla="*/ 137321 h 251964"/>
                <a:gd name="connsiteX8" fmla="*/ 94487 w 100785"/>
                <a:gd name="connsiteY8" fmla="*/ 142360 h 251964"/>
                <a:gd name="connsiteX9" fmla="*/ 93227 w 100785"/>
                <a:gd name="connsiteY9" fmla="*/ 151179 h 251964"/>
                <a:gd name="connsiteX10" fmla="*/ 91967 w 100785"/>
                <a:gd name="connsiteY10" fmla="*/ 167557 h 251964"/>
                <a:gd name="connsiteX11" fmla="*/ 91967 w 100785"/>
                <a:gd name="connsiteY11" fmla="*/ 168816 h 251964"/>
                <a:gd name="connsiteX12" fmla="*/ 89448 w 100785"/>
                <a:gd name="connsiteY12" fmla="*/ 185194 h 251964"/>
                <a:gd name="connsiteX13" fmla="*/ 89448 w 100785"/>
                <a:gd name="connsiteY13" fmla="*/ 186454 h 251964"/>
                <a:gd name="connsiteX14" fmla="*/ 86928 w 100785"/>
                <a:gd name="connsiteY14" fmla="*/ 201572 h 251964"/>
                <a:gd name="connsiteX15" fmla="*/ 84408 w 100785"/>
                <a:gd name="connsiteY15" fmla="*/ 219209 h 251964"/>
                <a:gd name="connsiteX16" fmla="*/ 80629 w 100785"/>
                <a:gd name="connsiteY16" fmla="*/ 235587 h 251964"/>
                <a:gd name="connsiteX17" fmla="*/ 78109 w 100785"/>
                <a:gd name="connsiteY17" fmla="*/ 243146 h 251964"/>
                <a:gd name="connsiteX18" fmla="*/ 76849 w 100785"/>
                <a:gd name="connsiteY18" fmla="*/ 246925 h 251964"/>
                <a:gd name="connsiteX19" fmla="*/ 73070 w 100785"/>
                <a:gd name="connsiteY19" fmla="*/ 249445 h 251964"/>
                <a:gd name="connsiteX20" fmla="*/ 68030 w 100785"/>
                <a:gd name="connsiteY20" fmla="*/ 250705 h 251964"/>
                <a:gd name="connsiteX21" fmla="*/ 64251 w 100785"/>
                <a:gd name="connsiteY21" fmla="*/ 250705 h 251964"/>
                <a:gd name="connsiteX22" fmla="*/ 64251 w 100785"/>
                <a:gd name="connsiteY22" fmla="*/ 250705 h 251964"/>
                <a:gd name="connsiteX23" fmla="*/ 54173 w 100785"/>
                <a:gd name="connsiteY23" fmla="*/ 251965 h 251964"/>
                <a:gd name="connsiteX24" fmla="*/ 52913 w 100785"/>
                <a:gd name="connsiteY24" fmla="*/ 251965 h 251964"/>
                <a:gd name="connsiteX25" fmla="*/ 47874 w 100785"/>
                <a:gd name="connsiteY25" fmla="*/ 251965 h 251964"/>
                <a:gd name="connsiteX26" fmla="*/ 47874 w 100785"/>
                <a:gd name="connsiteY26" fmla="*/ 251965 h 251964"/>
                <a:gd name="connsiteX27" fmla="*/ 47874 w 100785"/>
                <a:gd name="connsiteY27" fmla="*/ 251965 h 251964"/>
                <a:gd name="connsiteX28" fmla="*/ 47874 w 100785"/>
                <a:gd name="connsiteY28" fmla="*/ 251965 h 251964"/>
                <a:gd name="connsiteX29" fmla="*/ 47874 w 100785"/>
                <a:gd name="connsiteY29" fmla="*/ 251965 h 251964"/>
                <a:gd name="connsiteX30" fmla="*/ 47874 w 100785"/>
                <a:gd name="connsiteY30" fmla="*/ 251965 h 251964"/>
                <a:gd name="connsiteX31" fmla="*/ 47874 w 100785"/>
                <a:gd name="connsiteY31" fmla="*/ 251965 h 251964"/>
                <a:gd name="connsiteX32" fmla="*/ 47874 w 100785"/>
                <a:gd name="connsiteY32" fmla="*/ 251965 h 251964"/>
                <a:gd name="connsiteX33" fmla="*/ 39055 w 100785"/>
                <a:gd name="connsiteY33" fmla="*/ 249445 h 251964"/>
                <a:gd name="connsiteX34" fmla="*/ 39055 w 100785"/>
                <a:gd name="connsiteY34" fmla="*/ 249445 h 251964"/>
                <a:gd name="connsiteX35" fmla="*/ 31496 w 100785"/>
                <a:gd name="connsiteY35" fmla="*/ 245666 h 251964"/>
                <a:gd name="connsiteX36" fmla="*/ 28976 w 100785"/>
                <a:gd name="connsiteY36" fmla="*/ 244406 h 251964"/>
                <a:gd name="connsiteX37" fmla="*/ 27716 w 100785"/>
                <a:gd name="connsiteY37" fmla="*/ 244406 h 251964"/>
                <a:gd name="connsiteX38" fmla="*/ 23937 w 100785"/>
                <a:gd name="connsiteY38" fmla="*/ 241886 h 251964"/>
                <a:gd name="connsiteX39" fmla="*/ 21417 w 100785"/>
                <a:gd name="connsiteY39" fmla="*/ 239366 h 251964"/>
                <a:gd name="connsiteX40" fmla="*/ 21417 w 100785"/>
                <a:gd name="connsiteY40" fmla="*/ 239366 h 251964"/>
                <a:gd name="connsiteX41" fmla="*/ 15118 w 100785"/>
                <a:gd name="connsiteY41" fmla="*/ 231808 h 251964"/>
                <a:gd name="connsiteX42" fmla="*/ 15118 w 100785"/>
                <a:gd name="connsiteY42" fmla="*/ 230548 h 251964"/>
                <a:gd name="connsiteX43" fmla="*/ 13858 w 100785"/>
                <a:gd name="connsiteY43" fmla="*/ 228028 h 251964"/>
                <a:gd name="connsiteX44" fmla="*/ 11338 w 100785"/>
                <a:gd name="connsiteY44" fmla="*/ 224249 h 251964"/>
                <a:gd name="connsiteX45" fmla="*/ 7559 w 100785"/>
                <a:gd name="connsiteY45" fmla="*/ 215430 h 251964"/>
                <a:gd name="connsiteX46" fmla="*/ 3780 w 100785"/>
                <a:gd name="connsiteY46" fmla="*/ 205351 h 251964"/>
                <a:gd name="connsiteX47" fmla="*/ 3780 w 100785"/>
                <a:gd name="connsiteY47" fmla="*/ 204091 h 251964"/>
                <a:gd name="connsiteX48" fmla="*/ 0 w 100785"/>
                <a:gd name="connsiteY48" fmla="*/ 186454 h 251964"/>
                <a:gd name="connsiteX49" fmla="*/ 0 w 100785"/>
                <a:gd name="connsiteY49" fmla="*/ 178895 h 251964"/>
                <a:gd name="connsiteX50" fmla="*/ 0 w 100785"/>
                <a:gd name="connsiteY50" fmla="*/ 176375 h 251964"/>
                <a:gd name="connsiteX51" fmla="*/ 0 w 100785"/>
                <a:gd name="connsiteY51" fmla="*/ 170076 h 251964"/>
                <a:gd name="connsiteX52" fmla="*/ 0 w 100785"/>
                <a:gd name="connsiteY52" fmla="*/ 167557 h 251964"/>
                <a:gd name="connsiteX53" fmla="*/ 0 w 100785"/>
                <a:gd name="connsiteY53" fmla="*/ 167557 h 251964"/>
                <a:gd name="connsiteX54" fmla="*/ 0 w 100785"/>
                <a:gd name="connsiteY54" fmla="*/ 167557 h 251964"/>
                <a:gd name="connsiteX55" fmla="*/ 0 w 100785"/>
                <a:gd name="connsiteY55" fmla="*/ 162517 h 251964"/>
                <a:gd name="connsiteX56" fmla="*/ 0 w 100785"/>
                <a:gd name="connsiteY56" fmla="*/ 159998 h 251964"/>
                <a:gd name="connsiteX57" fmla="*/ 0 w 100785"/>
                <a:gd name="connsiteY57" fmla="*/ 157478 h 251964"/>
                <a:gd name="connsiteX58" fmla="*/ 0 w 100785"/>
                <a:gd name="connsiteY58" fmla="*/ 152439 h 251964"/>
                <a:gd name="connsiteX59" fmla="*/ 2520 w 100785"/>
                <a:gd name="connsiteY59" fmla="*/ 144880 h 251964"/>
                <a:gd name="connsiteX60" fmla="*/ 2520 w 100785"/>
                <a:gd name="connsiteY60" fmla="*/ 144880 h 251964"/>
                <a:gd name="connsiteX61" fmla="*/ 2520 w 100785"/>
                <a:gd name="connsiteY61" fmla="*/ 143620 h 251964"/>
                <a:gd name="connsiteX62" fmla="*/ 5039 w 100785"/>
                <a:gd name="connsiteY62" fmla="*/ 134801 h 251964"/>
                <a:gd name="connsiteX63" fmla="*/ 5039 w 100785"/>
                <a:gd name="connsiteY63" fmla="*/ 133541 h 251964"/>
                <a:gd name="connsiteX64" fmla="*/ 5039 w 100785"/>
                <a:gd name="connsiteY64" fmla="*/ 133541 h 251964"/>
                <a:gd name="connsiteX65" fmla="*/ 11338 w 100785"/>
                <a:gd name="connsiteY65" fmla="*/ 119683 h 251964"/>
                <a:gd name="connsiteX66" fmla="*/ 12598 w 100785"/>
                <a:gd name="connsiteY66" fmla="*/ 117164 h 251964"/>
                <a:gd name="connsiteX67" fmla="*/ 12598 w 100785"/>
                <a:gd name="connsiteY67" fmla="*/ 117164 h 251964"/>
                <a:gd name="connsiteX68" fmla="*/ 15118 w 100785"/>
                <a:gd name="connsiteY68" fmla="*/ 112124 h 251964"/>
                <a:gd name="connsiteX69" fmla="*/ 20157 w 100785"/>
                <a:gd name="connsiteY69" fmla="*/ 103305 h 251964"/>
                <a:gd name="connsiteX70" fmla="*/ 20157 w 100785"/>
                <a:gd name="connsiteY70" fmla="*/ 103305 h 251964"/>
                <a:gd name="connsiteX71" fmla="*/ 27716 w 100785"/>
                <a:gd name="connsiteY71" fmla="*/ 89448 h 251964"/>
                <a:gd name="connsiteX72" fmla="*/ 37795 w 100785"/>
                <a:gd name="connsiteY72" fmla="*/ 74330 h 251964"/>
                <a:gd name="connsiteX73" fmla="*/ 49133 w 100785"/>
                <a:gd name="connsiteY73" fmla="*/ 59212 h 251964"/>
                <a:gd name="connsiteX74" fmla="*/ 69290 w 100785"/>
                <a:gd name="connsiteY74" fmla="*/ 35275 h 251964"/>
                <a:gd name="connsiteX75" fmla="*/ 71810 w 100785"/>
                <a:gd name="connsiteY75" fmla="*/ 32755 h 251964"/>
                <a:gd name="connsiteX76" fmla="*/ 95747 w 100785"/>
                <a:gd name="connsiteY76" fmla="*/ 7559 h 251964"/>
                <a:gd name="connsiteX77" fmla="*/ 104566 w 100785"/>
                <a:gd name="connsiteY77" fmla="*/ 0 h 251964"/>
                <a:gd name="connsiteX78" fmla="*/ 104566 w 100785"/>
                <a:gd name="connsiteY78" fmla="*/ 0 h 251964"/>
                <a:gd name="connsiteX79" fmla="*/ 104566 w 100785"/>
                <a:gd name="connsiteY79" fmla="*/ 0 h 251964"/>
                <a:gd name="connsiteX80" fmla="*/ 99526 w 100785"/>
                <a:gd name="connsiteY80" fmla="*/ 47873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0785" h="251964">
                  <a:moveTo>
                    <a:pt x="99526" y="47873"/>
                  </a:moveTo>
                  <a:cubicBezTo>
                    <a:pt x="99526" y="51653"/>
                    <a:pt x="99526" y="56692"/>
                    <a:pt x="99526" y="60472"/>
                  </a:cubicBezTo>
                  <a:cubicBezTo>
                    <a:pt x="99526" y="68031"/>
                    <a:pt x="99526" y="75589"/>
                    <a:pt x="98266" y="81889"/>
                  </a:cubicBezTo>
                  <a:lnTo>
                    <a:pt x="98266" y="85668"/>
                  </a:lnTo>
                  <a:cubicBezTo>
                    <a:pt x="98266" y="95747"/>
                    <a:pt x="98266" y="107085"/>
                    <a:pt x="97007" y="117164"/>
                  </a:cubicBezTo>
                  <a:lnTo>
                    <a:pt x="97007" y="118424"/>
                  </a:lnTo>
                  <a:cubicBezTo>
                    <a:pt x="97007" y="123463"/>
                    <a:pt x="95747" y="128502"/>
                    <a:pt x="95747" y="134801"/>
                  </a:cubicBezTo>
                  <a:cubicBezTo>
                    <a:pt x="95747" y="136061"/>
                    <a:pt x="95747" y="136061"/>
                    <a:pt x="95747" y="137321"/>
                  </a:cubicBezTo>
                  <a:cubicBezTo>
                    <a:pt x="95747" y="138581"/>
                    <a:pt x="95747" y="141100"/>
                    <a:pt x="94487" y="142360"/>
                  </a:cubicBezTo>
                  <a:cubicBezTo>
                    <a:pt x="94487" y="144880"/>
                    <a:pt x="94487" y="148659"/>
                    <a:pt x="93227" y="151179"/>
                  </a:cubicBezTo>
                  <a:cubicBezTo>
                    <a:pt x="93227" y="156218"/>
                    <a:pt x="91967" y="162517"/>
                    <a:pt x="91967" y="167557"/>
                  </a:cubicBezTo>
                  <a:lnTo>
                    <a:pt x="91967" y="168816"/>
                  </a:lnTo>
                  <a:cubicBezTo>
                    <a:pt x="91967" y="173856"/>
                    <a:pt x="90707" y="180155"/>
                    <a:pt x="89448" y="185194"/>
                  </a:cubicBezTo>
                  <a:lnTo>
                    <a:pt x="89448" y="186454"/>
                  </a:lnTo>
                  <a:cubicBezTo>
                    <a:pt x="88188" y="191493"/>
                    <a:pt x="88188" y="196533"/>
                    <a:pt x="86928" y="201572"/>
                  </a:cubicBezTo>
                  <a:cubicBezTo>
                    <a:pt x="85668" y="206611"/>
                    <a:pt x="85668" y="212910"/>
                    <a:pt x="84408" y="219209"/>
                  </a:cubicBezTo>
                  <a:cubicBezTo>
                    <a:pt x="83148" y="224249"/>
                    <a:pt x="81889" y="230548"/>
                    <a:pt x="80629" y="235587"/>
                  </a:cubicBezTo>
                  <a:cubicBezTo>
                    <a:pt x="79369" y="238107"/>
                    <a:pt x="79369" y="240626"/>
                    <a:pt x="78109" y="243146"/>
                  </a:cubicBezTo>
                  <a:cubicBezTo>
                    <a:pt x="78109" y="244406"/>
                    <a:pt x="76849" y="245666"/>
                    <a:pt x="76849" y="246925"/>
                  </a:cubicBezTo>
                  <a:cubicBezTo>
                    <a:pt x="75589" y="248185"/>
                    <a:pt x="74329" y="249445"/>
                    <a:pt x="73070" y="249445"/>
                  </a:cubicBezTo>
                  <a:cubicBezTo>
                    <a:pt x="71810" y="250705"/>
                    <a:pt x="69290" y="250705"/>
                    <a:pt x="68030" y="250705"/>
                  </a:cubicBezTo>
                  <a:cubicBezTo>
                    <a:pt x="66771" y="250705"/>
                    <a:pt x="65511" y="250705"/>
                    <a:pt x="64251" y="250705"/>
                  </a:cubicBezTo>
                  <a:lnTo>
                    <a:pt x="64251" y="250705"/>
                  </a:lnTo>
                  <a:cubicBezTo>
                    <a:pt x="60472" y="250705"/>
                    <a:pt x="56692" y="251965"/>
                    <a:pt x="54173" y="251965"/>
                  </a:cubicBezTo>
                  <a:lnTo>
                    <a:pt x="52913" y="251965"/>
                  </a:lnTo>
                  <a:cubicBezTo>
                    <a:pt x="51653" y="251965"/>
                    <a:pt x="50393" y="251965"/>
                    <a:pt x="47874" y="251965"/>
                  </a:cubicBez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lnTo>
                    <a:pt x="47874" y="251965"/>
                  </a:ln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4094" y="250705"/>
                    <a:pt x="41574" y="249445"/>
                    <a:pt x="39055" y="249445"/>
                  </a:cubicBezTo>
                  <a:lnTo>
                    <a:pt x="39055" y="249445"/>
                  </a:lnTo>
                  <a:cubicBezTo>
                    <a:pt x="36535" y="248185"/>
                    <a:pt x="34015" y="246925"/>
                    <a:pt x="31496" y="245666"/>
                  </a:cubicBezTo>
                  <a:cubicBezTo>
                    <a:pt x="30236" y="245666"/>
                    <a:pt x="28976" y="244406"/>
                    <a:pt x="28976" y="244406"/>
                  </a:cubicBezTo>
                  <a:lnTo>
                    <a:pt x="27716" y="244406"/>
                  </a:lnTo>
                  <a:cubicBezTo>
                    <a:pt x="26456" y="243146"/>
                    <a:pt x="25196" y="243146"/>
                    <a:pt x="23937" y="241886"/>
                  </a:cubicBezTo>
                  <a:cubicBezTo>
                    <a:pt x="22677" y="240626"/>
                    <a:pt x="22677" y="240626"/>
                    <a:pt x="21417" y="239366"/>
                  </a:cubicBezTo>
                  <a:lnTo>
                    <a:pt x="21417" y="239366"/>
                  </a:lnTo>
                  <a:cubicBezTo>
                    <a:pt x="18897" y="236847"/>
                    <a:pt x="17637" y="234327"/>
                    <a:pt x="15118" y="231808"/>
                  </a:cubicBezTo>
                  <a:lnTo>
                    <a:pt x="15118" y="230548"/>
                  </a:lnTo>
                  <a:cubicBezTo>
                    <a:pt x="15118" y="230548"/>
                    <a:pt x="13858" y="229288"/>
                    <a:pt x="13858" y="228028"/>
                  </a:cubicBezTo>
                  <a:cubicBezTo>
                    <a:pt x="12598" y="226768"/>
                    <a:pt x="12598" y="225508"/>
                    <a:pt x="11338" y="224249"/>
                  </a:cubicBezTo>
                  <a:cubicBezTo>
                    <a:pt x="10079" y="221729"/>
                    <a:pt x="8819" y="217949"/>
                    <a:pt x="7559" y="215430"/>
                  </a:cubicBezTo>
                  <a:cubicBezTo>
                    <a:pt x="6299" y="211650"/>
                    <a:pt x="5039" y="209131"/>
                    <a:pt x="3780" y="205351"/>
                  </a:cubicBezTo>
                  <a:lnTo>
                    <a:pt x="3780" y="204091"/>
                  </a:lnTo>
                  <a:cubicBezTo>
                    <a:pt x="2520" y="199052"/>
                    <a:pt x="1260" y="194013"/>
                    <a:pt x="0" y="186454"/>
                  </a:cubicBezTo>
                  <a:cubicBezTo>
                    <a:pt x="0" y="183934"/>
                    <a:pt x="0" y="181415"/>
                    <a:pt x="0" y="178895"/>
                  </a:cubicBezTo>
                  <a:lnTo>
                    <a:pt x="0" y="176375"/>
                  </a:lnTo>
                  <a:cubicBezTo>
                    <a:pt x="0" y="173856"/>
                    <a:pt x="0" y="172596"/>
                    <a:pt x="0" y="170076"/>
                  </a:cubicBezTo>
                  <a:lnTo>
                    <a:pt x="0" y="167557"/>
                  </a:lnTo>
                  <a:lnTo>
                    <a:pt x="0" y="167557"/>
                  </a:lnTo>
                  <a:lnTo>
                    <a:pt x="0" y="167557"/>
                  </a:lnTo>
                  <a:cubicBezTo>
                    <a:pt x="0" y="166297"/>
                    <a:pt x="0" y="163777"/>
                    <a:pt x="0" y="162517"/>
                  </a:cubicBezTo>
                  <a:lnTo>
                    <a:pt x="0" y="159998"/>
                  </a:lnTo>
                  <a:lnTo>
                    <a:pt x="0" y="157478"/>
                  </a:lnTo>
                  <a:cubicBezTo>
                    <a:pt x="0" y="156218"/>
                    <a:pt x="0" y="153698"/>
                    <a:pt x="0" y="152439"/>
                  </a:cubicBezTo>
                  <a:cubicBezTo>
                    <a:pt x="0" y="149919"/>
                    <a:pt x="1260" y="147399"/>
                    <a:pt x="2520" y="144880"/>
                  </a:cubicBezTo>
                  <a:lnTo>
                    <a:pt x="2520" y="144880"/>
                  </a:lnTo>
                  <a:lnTo>
                    <a:pt x="2520" y="143620"/>
                  </a:lnTo>
                  <a:cubicBezTo>
                    <a:pt x="3780" y="141100"/>
                    <a:pt x="3780" y="137321"/>
                    <a:pt x="5039" y="134801"/>
                  </a:cubicBezTo>
                  <a:lnTo>
                    <a:pt x="5039" y="133541"/>
                  </a:lnTo>
                  <a:lnTo>
                    <a:pt x="5039" y="133541"/>
                  </a:lnTo>
                  <a:cubicBezTo>
                    <a:pt x="6299" y="129762"/>
                    <a:pt x="8819" y="123463"/>
                    <a:pt x="11338" y="119683"/>
                  </a:cubicBezTo>
                  <a:cubicBezTo>
                    <a:pt x="11338" y="118424"/>
                    <a:pt x="12598" y="118424"/>
                    <a:pt x="12598" y="117164"/>
                  </a:cubicBezTo>
                  <a:lnTo>
                    <a:pt x="12598" y="117164"/>
                  </a:lnTo>
                  <a:cubicBezTo>
                    <a:pt x="13858" y="115904"/>
                    <a:pt x="13858" y="113384"/>
                    <a:pt x="15118" y="112124"/>
                  </a:cubicBezTo>
                  <a:cubicBezTo>
                    <a:pt x="16378" y="109605"/>
                    <a:pt x="18897" y="105825"/>
                    <a:pt x="20157" y="103305"/>
                  </a:cubicBezTo>
                  <a:lnTo>
                    <a:pt x="20157" y="103305"/>
                  </a:lnTo>
                  <a:cubicBezTo>
                    <a:pt x="22677" y="99526"/>
                    <a:pt x="25196" y="94487"/>
                    <a:pt x="27716" y="89448"/>
                  </a:cubicBezTo>
                  <a:cubicBezTo>
                    <a:pt x="30236" y="84408"/>
                    <a:pt x="34015" y="79369"/>
                    <a:pt x="37795" y="74330"/>
                  </a:cubicBezTo>
                  <a:cubicBezTo>
                    <a:pt x="41574" y="69290"/>
                    <a:pt x="45354" y="62991"/>
                    <a:pt x="49133" y="59212"/>
                  </a:cubicBezTo>
                  <a:cubicBezTo>
                    <a:pt x="55432" y="50393"/>
                    <a:pt x="61731" y="42834"/>
                    <a:pt x="69290" y="35275"/>
                  </a:cubicBezTo>
                  <a:lnTo>
                    <a:pt x="71810" y="32755"/>
                  </a:lnTo>
                  <a:cubicBezTo>
                    <a:pt x="78109" y="25196"/>
                    <a:pt x="86928" y="16378"/>
                    <a:pt x="95747" y="7559"/>
                  </a:cubicBezTo>
                  <a:cubicBezTo>
                    <a:pt x="98266" y="5039"/>
                    <a:pt x="102046" y="2520"/>
                    <a:pt x="104566" y="0"/>
                  </a:cubicBezTo>
                  <a:lnTo>
                    <a:pt x="104566" y="0"/>
                  </a:lnTo>
                  <a:lnTo>
                    <a:pt x="104566" y="0"/>
                  </a:lnTo>
                  <a:cubicBezTo>
                    <a:pt x="100786" y="18897"/>
                    <a:pt x="100786" y="35275"/>
                    <a:pt x="99526" y="4787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0" name="任意多边形: 形状 10219"/>
            <p:cNvSpPr/>
            <p:nvPr/>
          </p:nvSpPr>
          <p:spPr>
            <a:xfrm>
              <a:off x="5242840" y="3140500"/>
              <a:ext cx="12598" cy="62991"/>
            </a:xfrm>
            <a:custGeom>
              <a:avLst/>
              <a:gdLst>
                <a:gd name="connsiteX0" fmla="*/ 2520 w 0"/>
                <a:gd name="connsiteY0" fmla="*/ 8819 h 62991"/>
                <a:gd name="connsiteX1" fmla="*/ 1260 w 0"/>
                <a:gd name="connsiteY1" fmla="*/ 34015 h 62991"/>
                <a:gd name="connsiteX2" fmla="*/ 0 w 0"/>
                <a:gd name="connsiteY2" fmla="*/ 73070 h 62991"/>
                <a:gd name="connsiteX3" fmla="*/ 0 w 0"/>
                <a:gd name="connsiteY3" fmla="*/ 69290 h 62991"/>
                <a:gd name="connsiteX4" fmla="*/ 0 w 0"/>
                <a:gd name="connsiteY4" fmla="*/ 68030 h 62991"/>
                <a:gd name="connsiteX5" fmla="*/ 0 w 0"/>
                <a:gd name="connsiteY5" fmla="*/ 66770 h 62991"/>
                <a:gd name="connsiteX6" fmla="*/ 0 w 0"/>
                <a:gd name="connsiteY6" fmla="*/ 65511 h 62991"/>
                <a:gd name="connsiteX7" fmla="*/ 0 w 0"/>
                <a:gd name="connsiteY7" fmla="*/ 64251 h 62991"/>
                <a:gd name="connsiteX8" fmla="*/ 0 w 0"/>
                <a:gd name="connsiteY8" fmla="*/ 60471 h 62991"/>
                <a:gd name="connsiteX9" fmla="*/ 0 w 0"/>
                <a:gd name="connsiteY9" fmla="*/ 57952 h 62991"/>
                <a:gd name="connsiteX10" fmla="*/ 0 w 0"/>
                <a:gd name="connsiteY10" fmla="*/ 55432 h 62991"/>
                <a:gd name="connsiteX11" fmla="*/ 0 w 0"/>
                <a:gd name="connsiteY11" fmla="*/ 45354 h 62991"/>
                <a:gd name="connsiteX12" fmla="*/ 0 w 0"/>
                <a:gd name="connsiteY12" fmla="*/ 42834 h 62991"/>
                <a:gd name="connsiteX13" fmla="*/ 1260 w 0"/>
                <a:gd name="connsiteY13" fmla="*/ 32755 h 62991"/>
                <a:gd name="connsiteX14" fmla="*/ 1260 w 0"/>
                <a:gd name="connsiteY14" fmla="*/ 30236 h 62991"/>
                <a:gd name="connsiteX15" fmla="*/ 1260 w 0"/>
                <a:gd name="connsiteY15" fmla="*/ 27716 h 62991"/>
                <a:gd name="connsiteX16" fmla="*/ 1260 w 0"/>
                <a:gd name="connsiteY16" fmla="*/ 25196 h 62991"/>
                <a:gd name="connsiteX17" fmla="*/ 1260 w 0"/>
                <a:gd name="connsiteY17" fmla="*/ 21417 h 62991"/>
                <a:gd name="connsiteX18" fmla="*/ 1260 w 0"/>
                <a:gd name="connsiteY18" fmla="*/ 13858 h 62991"/>
                <a:gd name="connsiteX19" fmla="*/ 1260 w 0"/>
                <a:gd name="connsiteY19" fmla="*/ 10078 h 62991"/>
                <a:gd name="connsiteX20" fmla="*/ 1260 w 0"/>
                <a:gd name="connsiteY20" fmla="*/ 8819 h 62991"/>
                <a:gd name="connsiteX21" fmla="*/ 1260 w 0"/>
                <a:gd name="connsiteY21" fmla="*/ 5039 h 62991"/>
                <a:gd name="connsiteX22" fmla="*/ 1260 w 0"/>
                <a:gd name="connsiteY22" fmla="*/ 1260 h 62991"/>
                <a:gd name="connsiteX23" fmla="*/ 1260 w 0"/>
                <a:gd name="connsiteY23" fmla="*/ 2520 h 62991"/>
                <a:gd name="connsiteX24" fmla="*/ 1260 w 0"/>
                <a:gd name="connsiteY24" fmla="*/ 0 h 62991"/>
                <a:gd name="connsiteX25" fmla="*/ 2520 w 0"/>
                <a:gd name="connsiteY25" fmla="*/ 881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h="62991">
                  <a:moveTo>
                    <a:pt x="2520" y="8819"/>
                  </a:moveTo>
                  <a:cubicBezTo>
                    <a:pt x="2520" y="16378"/>
                    <a:pt x="1260" y="25196"/>
                    <a:pt x="1260" y="34015"/>
                  </a:cubicBezTo>
                  <a:cubicBezTo>
                    <a:pt x="0" y="46613"/>
                    <a:pt x="0" y="60471"/>
                    <a:pt x="0" y="73070"/>
                  </a:cubicBezTo>
                  <a:cubicBezTo>
                    <a:pt x="0" y="71810"/>
                    <a:pt x="0" y="70550"/>
                    <a:pt x="0" y="69290"/>
                  </a:cubicBezTo>
                  <a:cubicBezTo>
                    <a:pt x="0" y="69290"/>
                    <a:pt x="0" y="68030"/>
                    <a:pt x="0" y="68030"/>
                  </a:cubicBezTo>
                  <a:lnTo>
                    <a:pt x="0" y="66770"/>
                  </a:lnTo>
                  <a:lnTo>
                    <a:pt x="0" y="65511"/>
                  </a:lnTo>
                  <a:lnTo>
                    <a:pt x="0" y="64251"/>
                  </a:lnTo>
                  <a:cubicBezTo>
                    <a:pt x="0" y="62991"/>
                    <a:pt x="0" y="61731"/>
                    <a:pt x="0" y="60471"/>
                  </a:cubicBezTo>
                  <a:cubicBezTo>
                    <a:pt x="0" y="59212"/>
                    <a:pt x="0" y="59212"/>
                    <a:pt x="0" y="57952"/>
                  </a:cubicBezTo>
                  <a:cubicBezTo>
                    <a:pt x="0" y="56692"/>
                    <a:pt x="0" y="56692"/>
                    <a:pt x="0" y="55432"/>
                  </a:cubicBezTo>
                  <a:cubicBezTo>
                    <a:pt x="0" y="51653"/>
                    <a:pt x="0" y="49133"/>
                    <a:pt x="0" y="45354"/>
                  </a:cubicBezTo>
                  <a:cubicBezTo>
                    <a:pt x="0" y="44094"/>
                    <a:pt x="0" y="44094"/>
                    <a:pt x="0" y="42834"/>
                  </a:cubicBezTo>
                  <a:cubicBezTo>
                    <a:pt x="0" y="40314"/>
                    <a:pt x="1260" y="36535"/>
                    <a:pt x="1260" y="32755"/>
                  </a:cubicBezTo>
                  <a:cubicBezTo>
                    <a:pt x="1260" y="31496"/>
                    <a:pt x="1260" y="30236"/>
                    <a:pt x="1260" y="30236"/>
                  </a:cubicBezTo>
                  <a:cubicBezTo>
                    <a:pt x="1260" y="28976"/>
                    <a:pt x="1260" y="28976"/>
                    <a:pt x="1260" y="27716"/>
                  </a:cubicBezTo>
                  <a:lnTo>
                    <a:pt x="1260" y="25196"/>
                  </a:lnTo>
                  <a:cubicBezTo>
                    <a:pt x="1260" y="23937"/>
                    <a:pt x="1260" y="22677"/>
                    <a:pt x="1260" y="21417"/>
                  </a:cubicBezTo>
                  <a:cubicBezTo>
                    <a:pt x="1260" y="18897"/>
                    <a:pt x="1260" y="16378"/>
                    <a:pt x="1260" y="13858"/>
                  </a:cubicBezTo>
                  <a:cubicBezTo>
                    <a:pt x="1260" y="12598"/>
                    <a:pt x="1260" y="11338"/>
                    <a:pt x="1260" y="10078"/>
                  </a:cubicBezTo>
                  <a:lnTo>
                    <a:pt x="1260" y="8819"/>
                  </a:lnTo>
                  <a:cubicBezTo>
                    <a:pt x="1260" y="7559"/>
                    <a:pt x="1260" y="6299"/>
                    <a:pt x="1260" y="5039"/>
                  </a:cubicBezTo>
                  <a:cubicBezTo>
                    <a:pt x="1260" y="3779"/>
                    <a:pt x="1260" y="2520"/>
                    <a:pt x="1260" y="1260"/>
                  </a:cubicBezTo>
                  <a:lnTo>
                    <a:pt x="1260" y="2520"/>
                  </a:lnTo>
                  <a:cubicBezTo>
                    <a:pt x="1260" y="1260"/>
                    <a:pt x="1260" y="1260"/>
                    <a:pt x="1260" y="0"/>
                  </a:cubicBezTo>
                  <a:cubicBezTo>
                    <a:pt x="2520" y="5039"/>
                    <a:pt x="2520" y="6299"/>
                    <a:pt x="2520" y="881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1" name="任意多边形: 形状 10220"/>
            <p:cNvSpPr/>
            <p:nvPr/>
          </p:nvSpPr>
          <p:spPr>
            <a:xfrm>
              <a:off x="5207005" y="3073729"/>
              <a:ext cx="37795" cy="188973"/>
            </a:xfrm>
            <a:custGeom>
              <a:avLst/>
              <a:gdLst>
                <a:gd name="connsiteX0" fmla="*/ 560 w 37794"/>
                <a:gd name="connsiteY0" fmla="*/ 0 h 188973"/>
                <a:gd name="connsiteX1" fmla="*/ 560 w 37794"/>
                <a:gd name="connsiteY1" fmla="*/ 0 h 188973"/>
                <a:gd name="connsiteX2" fmla="*/ 560 w 37794"/>
                <a:gd name="connsiteY2" fmla="*/ 0 h 188973"/>
                <a:gd name="connsiteX3" fmla="*/ 1819 w 37794"/>
                <a:gd name="connsiteY3" fmla="*/ 1260 h 188973"/>
                <a:gd name="connsiteX4" fmla="*/ 4339 w 37794"/>
                <a:gd name="connsiteY4" fmla="*/ 2520 h 188973"/>
                <a:gd name="connsiteX5" fmla="*/ 4339 w 37794"/>
                <a:gd name="connsiteY5" fmla="*/ 2520 h 188973"/>
                <a:gd name="connsiteX6" fmla="*/ 4339 w 37794"/>
                <a:gd name="connsiteY6" fmla="*/ 2520 h 188973"/>
                <a:gd name="connsiteX7" fmla="*/ 6859 w 37794"/>
                <a:gd name="connsiteY7" fmla="*/ 5039 h 188973"/>
                <a:gd name="connsiteX8" fmla="*/ 9378 w 37794"/>
                <a:gd name="connsiteY8" fmla="*/ 7559 h 188973"/>
                <a:gd name="connsiteX9" fmla="*/ 9378 w 37794"/>
                <a:gd name="connsiteY9" fmla="*/ 7559 h 188973"/>
                <a:gd name="connsiteX10" fmla="*/ 9378 w 37794"/>
                <a:gd name="connsiteY10" fmla="*/ 7559 h 188973"/>
                <a:gd name="connsiteX11" fmla="*/ 9378 w 37794"/>
                <a:gd name="connsiteY11" fmla="*/ 7559 h 188973"/>
                <a:gd name="connsiteX12" fmla="*/ 9378 w 37794"/>
                <a:gd name="connsiteY12" fmla="*/ 7559 h 188973"/>
                <a:gd name="connsiteX13" fmla="*/ 9378 w 37794"/>
                <a:gd name="connsiteY13" fmla="*/ 7559 h 188973"/>
                <a:gd name="connsiteX14" fmla="*/ 9378 w 37794"/>
                <a:gd name="connsiteY14" fmla="*/ 7559 h 188973"/>
                <a:gd name="connsiteX15" fmla="*/ 9378 w 37794"/>
                <a:gd name="connsiteY15" fmla="*/ 7559 h 188973"/>
                <a:gd name="connsiteX16" fmla="*/ 9378 w 37794"/>
                <a:gd name="connsiteY16" fmla="*/ 7559 h 188973"/>
                <a:gd name="connsiteX17" fmla="*/ 9378 w 37794"/>
                <a:gd name="connsiteY17" fmla="*/ 7559 h 188973"/>
                <a:gd name="connsiteX18" fmla="*/ 9378 w 37794"/>
                <a:gd name="connsiteY18" fmla="*/ 7559 h 188973"/>
                <a:gd name="connsiteX19" fmla="*/ 10638 w 37794"/>
                <a:gd name="connsiteY19" fmla="*/ 8819 h 188973"/>
                <a:gd name="connsiteX20" fmla="*/ 11898 w 37794"/>
                <a:gd name="connsiteY20" fmla="*/ 10079 h 188973"/>
                <a:gd name="connsiteX21" fmla="*/ 14418 w 37794"/>
                <a:gd name="connsiteY21" fmla="*/ 12598 h 188973"/>
                <a:gd name="connsiteX22" fmla="*/ 15678 w 37794"/>
                <a:gd name="connsiteY22" fmla="*/ 13858 h 188973"/>
                <a:gd name="connsiteX23" fmla="*/ 18197 w 37794"/>
                <a:gd name="connsiteY23" fmla="*/ 16378 h 188973"/>
                <a:gd name="connsiteX24" fmla="*/ 20717 w 37794"/>
                <a:gd name="connsiteY24" fmla="*/ 18897 h 188973"/>
                <a:gd name="connsiteX25" fmla="*/ 20717 w 37794"/>
                <a:gd name="connsiteY25" fmla="*/ 18897 h 188973"/>
                <a:gd name="connsiteX26" fmla="*/ 21977 w 37794"/>
                <a:gd name="connsiteY26" fmla="*/ 20157 h 188973"/>
                <a:gd name="connsiteX27" fmla="*/ 25756 w 37794"/>
                <a:gd name="connsiteY27" fmla="*/ 25196 h 188973"/>
                <a:gd name="connsiteX28" fmla="*/ 27016 w 37794"/>
                <a:gd name="connsiteY28" fmla="*/ 27716 h 188973"/>
                <a:gd name="connsiteX29" fmla="*/ 27016 w 37794"/>
                <a:gd name="connsiteY29" fmla="*/ 28976 h 188973"/>
                <a:gd name="connsiteX30" fmla="*/ 28276 w 37794"/>
                <a:gd name="connsiteY30" fmla="*/ 31496 h 188973"/>
                <a:gd name="connsiteX31" fmla="*/ 32056 w 37794"/>
                <a:gd name="connsiteY31" fmla="*/ 36535 h 188973"/>
                <a:gd name="connsiteX32" fmla="*/ 33315 w 37794"/>
                <a:gd name="connsiteY32" fmla="*/ 37795 h 188973"/>
                <a:gd name="connsiteX33" fmla="*/ 33315 w 37794"/>
                <a:gd name="connsiteY33" fmla="*/ 39054 h 188973"/>
                <a:gd name="connsiteX34" fmla="*/ 33315 w 37794"/>
                <a:gd name="connsiteY34" fmla="*/ 39054 h 188973"/>
                <a:gd name="connsiteX35" fmla="*/ 33315 w 37794"/>
                <a:gd name="connsiteY35" fmla="*/ 39054 h 188973"/>
                <a:gd name="connsiteX36" fmla="*/ 33315 w 37794"/>
                <a:gd name="connsiteY36" fmla="*/ 39054 h 188973"/>
                <a:gd name="connsiteX37" fmla="*/ 34575 w 37794"/>
                <a:gd name="connsiteY37" fmla="*/ 41574 h 188973"/>
                <a:gd name="connsiteX38" fmla="*/ 35835 w 37794"/>
                <a:gd name="connsiteY38" fmla="*/ 42834 h 188973"/>
                <a:gd name="connsiteX39" fmla="*/ 38355 w 37794"/>
                <a:gd name="connsiteY39" fmla="*/ 45354 h 188973"/>
                <a:gd name="connsiteX40" fmla="*/ 39614 w 37794"/>
                <a:gd name="connsiteY40" fmla="*/ 47873 h 188973"/>
                <a:gd name="connsiteX41" fmla="*/ 39614 w 37794"/>
                <a:gd name="connsiteY41" fmla="*/ 47873 h 188973"/>
                <a:gd name="connsiteX42" fmla="*/ 39614 w 37794"/>
                <a:gd name="connsiteY42" fmla="*/ 47873 h 188973"/>
                <a:gd name="connsiteX43" fmla="*/ 39614 w 37794"/>
                <a:gd name="connsiteY43" fmla="*/ 47873 h 188973"/>
                <a:gd name="connsiteX44" fmla="*/ 39614 w 37794"/>
                <a:gd name="connsiteY44" fmla="*/ 49133 h 188973"/>
                <a:gd name="connsiteX45" fmla="*/ 39614 w 37794"/>
                <a:gd name="connsiteY45" fmla="*/ 50393 h 188973"/>
                <a:gd name="connsiteX46" fmla="*/ 39614 w 37794"/>
                <a:gd name="connsiteY46" fmla="*/ 51653 h 188973"/>
                <a:gd name="connsiteX47" fmla="*/ 39614 w 37794"/>
                <a:gd name="connsiteY47" fmla="*/ 52913 h 188973"/>
                <a:gd name="connsiteX48" fmla="*/ 39614 w 37794"/>
                <a:gd name="connsiteY48" fmla="*/ 55432 h 188973"/>
                <a:gd name="connsiteX49" fmla="*/ 39614 w 37794"/>
                <a:gd name="connsiteY49" fmla="*/ 56692 h 188973"/>
                <a:gd name="connsiteX50" fmla="*/ 39614 w 37794"/>
                <a:gd name="connsiteY50" fmla="*/ 59212 h 188973"/>
                <a:gd name="connsiteX51" fmla="*/ 38355 w 37794"/>
                <a:gd name="connsiteY51" fmla="*/ 65511 h 188973"/>
                <a:gd name="connsiteX52" fmla="*/ 38355 w 37794"/>
                <a:gd name="connsiteY52" fmla="*/ 71810 h 188973"/>
                <a:gd name="connsiteX53" fmla="*/ 38355 w 37794"/>
                <a:gd name="connsiteY53" fmla="*/ 70550 h 188973"/>
                <a:gd name="connsiteX54" fmla="*/ 38355 w 37794"/>
                <a:gd name="connsiteY54" fmla="*/ 74330 h 188973"/>
                <a:gd name="connsiteX55" fmla="*/ 38355 w 37794"/>
                <a:gd name="connsiteY55" fmla="*/ 78109 h 188973"/>
                <a:gd name="connsiteX56" fmla="*/ 38355 w 37794"/>
                <a:gd name="connsiteY56" fmla="*/ 79369 h 188973"/>
                <a:gd name="connsiteX57" fmla="*/ 38355 w 37794"/>
                <a:gd name="connsiteY57" fmla="*/ 83148 h 188973"/>
                <a:gd name="connsiteX58" fmla="*/ 38355 w 37794"/>
                <a:gd name="connsiteY58" fmla="*/ 90707 h 188973"/>
                <a:gd name="connsiteX59" fmla="*/ 38355 w 37794"/>
                <a:gd name="connsiteY59" fmla="*/ 94487 h 188973"/>
                <a:gd name="connsiteX60" fmla="*/ 38355 w 37794"/>
                <a:gd name="connsiteY60" fmla="*/ 97006 h 188973"/>
                <a:gd name="connsiteX61" fmla="*/ 38355 w 37794"/>
                <a:gd name="connsiteY61" fmla="*/ 99526 h 188973"/>
                <a:gd name="connsiteX62" fmla="*/ 38355 w 37794"/>
                <a:gd name="connsiteY62" fmla="*/ 102046 h 188973"/>
                <a:gd name="connsiteX63" fmla="*/ 37095 w 37794"/>
                <a:gd name="connsiteY63" fmla="*/ 112124 h 188973"/>
                <a:gd name="connsiteX64" fmla="*/ 37095 w 37794"/>
                <a:gd name="connsiteY64" fmla="*/ 114644 h 188973"/>
                <a:gd name="connsiteX65" fmla="*/ 37095 w 37794"/>
                <a:gd name="connsiteY65" fmla="*/ 124722 h 188973"/>
                <a:gd name="connsiteX66" fmla="*/ 37095 w 37794"/>
                <a:gd name="connsiteY66" fmla="*/ 127242 h 188973"/>
                <a:gd name="connsiteX67" fmla="*/ 37095 w 37794"/>
                <a:gd name="connsiteY67" fmla="*/ 129762 h 188973"/>
                <a:gd name="connsiteX68" fmla="*/ 37095 w 37794"/>
                <a:gd name="connsiteY68" fmla="*/ 133541 h 188973"/>
                <a:gd name="connsiteX69" fmla="*/ 37095 w 37794"/>
                <a:gd name="connsiteY69" fmla="*/ 134801 h 188973"/>
                <a:gd name="connsiteX70" fmla="*/ 37095 w 37794"/>
                <a:gd name="connsiteY70" fmla="*/ 136061 h 188973"/>
                <a:gd name="connsiteX71" fmla="*/ 37095 w 37794"/>
                <a:gd name="connsiteY71" fmla="*/ 137321 h 188973"/>
                <a:gd name="connsiteX72" fmla="*/ 37095 w 37794"/>
                <a:gd name="connsiteY72" fmla="*/ 138581 h 188973"/>
                <a:gd name="connsiteX73" fmla="*/ 37095 w 37794"/>
                <a:gd name="connsiteY73" fmla="*/ 154958 h 188973"/>
                <a:gd name="connsiteX74" fmla="*/ 37095 w 37794"/>
                <a:gd name="connsiteY74" fmla="*/ 156218 h 188973"/>
                <a:gd name="connsiteX75" fmla="*/ 35835 w 37794"/>
                <a:gd name="connsiteY75" fmla="*/ 172596 h 188973"/>
                <a:gd name="connsiteX76" fmla="*/ 35835 w 37794"/>
                <a:gd name="connsiteY76" fmla="*/ 180155 h 188973"/>
                <a:gd name="connsiteX77" fmla="*/ 35835 w 37794"/>
                <a:gd name="connsiteY77" fmla="*/ 190233 h 188973"/>
                <a:gd name="connsiteX78" fmla="*/ 35835 w 37794"/>
                <a:gd name="connsiteY78" fmla="*/ 190233 h 188973"/>
                <a:gd name="connsiteX79" fmla="*/ 35835 w 37794"/>
                <a:gd name="connsiteY79" fmla="*/ 190233 h 188973"/>
                <a:gd name="connsiteX80" fmla="*/ 35835 w 37794"/>
                <a:gd name="connsiteY80" fmla="*/ 190233 h 188973"/>
                <a:gd name="connsiteX81" fmla="*/ 35835 w 37794"/>
                <a:gd name="connsiteY81" fmla="*/ 190233 h 188973"/>
                <a:gd name="connsiteX82" fmla="*/ 35835 w 37794"/>
                <a:gd name="connsiteY82" fmla="*/ 190233 h 188973"/>
                <a:gd name="connsiteX83" fmla="*/ 35835 w 37794"/>
                <a:gd name="connsiteY83" fmla="*/ 190233 h 188973"/>
                <a:gd name="connsiteX84" fmla="*/ 34575 w 37794"/>
                <a:gd name="connsiteY84" fmla="*/ 191493 h 188973"/>
                <a:gd name="connsiteX85" fmla="*/ 33315 w 37794"/>
                <a:gd name="connsiteY85" fmla="*/ 191493 h 188973"/>
                <a:gd name="connsiteX86" fmla="*/ 32056 w 37794"/>
                <a:gd name="connsiteY86" fmla="*/ 191493 h 188973"/>
                <a:gd name="connsiteX87" fmla="*/ 30796 w 37794"/>
                <a:gd name="connsiteY87" fmla="*/ 191493 h 188973"/>
                <a:gd name="connsiteX88" fmla="*/ 29536 w 37794"/>
                <a:gd name="connsiteY88" fmla="*/ 190233 h 188973"/>
                <a:gd name="connsiteX89" fmla="*/ 28276 w 37794"/>
                <a:gd name="connsiteY89" fmla="*/ 185194 h 188973"/>
                <a:gd name="connsiteX90" fmla="*/ 28276 w 37794"/>
                <a:gd name="connsiteY90" fmla="*/ 185194 h 188973"/>
                <a:gd name="connsiteX91" fmla="*/ 27016 w 37794"/>
                <a:gd name="connsiteY91" fmla="*/ 180155 h 188973"/>
                <a:gd name="connsiteX92" fmla="*/ 27016 w 37794"/>
                <a:gd name="connsiteY92" fmla="*/ 180155 h 188973"/>
                <a:gd name="connsiteX93" fmla="*/ 27016 w 37794"/>
                <a:gd name="connsiteY93" fmla="*/ 180155 h 188973"/>
                <a:gd name="connsiteX94" fmla="*/ 27016 w 37794"/>
                <a:gd name="connsiteY94" fmla="*/ 180155 h 188973"/>
                <a:gd name="connsiteX95" fmla="*/ 25756 w 37794"/>
                <a:gd name="connsiteY95" fmla="*/ 171336 h 188973"/>
                <a:gd name="connsiteX96" fmla="*/ 24497 w 37794"/>
                <a:gd name="connsiteY96" fmla="*/ 166297 h 188973"/>
                <a:gd name="connsiteX97" fmla="*/ 24497 w 37794"/>
                <a:gd name="connsiteY97" fmla="*/ 165037 h 188973"/>
                <a:gd name="connsiteX98" fmla="*/ 24497 w 37794"/>
                <a:gd name="connsiteY98" fmla="*/ 161257 h 188973"/>
                <a:gd name="connsiteX99" fmla="*/ 23237 w 37794"/>
                <a:gd name="connsiteY99" fmla="*/ 149919 h 188973"/>
                <a:gd name="connsiteX100" fmla="*/ 21977 w 37794"/>
                <a:gd name="connsiteY100" fmla="*/ 139840 h 188973"/>
                <a:gd name="connsiteX101" fmla="*/ 21977 w 37794"/>
                <a:gd name="connsiteY101" fmla="*/ 134801 h 188973"/>
                <a:gd name="connsiteX102" fmla="*/ 21977 w 37794"/>
                <a:gd name="connsiteY102" fmla="*/ 133541 h 188973"/>
                <a:gd name="connsiteX103" fmla="*/ 21977 w 37794"/>
                <a:gd name="connsiteY103" fmla="*/ 128502 h 188973"/>
                <a:gd name="connsiteX104" fmla="*/ 21977 w 37794"/>
                <a:gd name="connsiteY104" fmla="*/ 125982 h 188973"/>
                <a:gd name="connsiteX105" fmla="*/ 21977 w 37794"/>
                <a:gd name="connsiteY105" fmla="*/ 124722 h 188973"/>
                <a:gd name="connsiteX106" fmla="*/ 21977 w 37794"/>
                <a:gd name="connsiteY106" fmla="*/ 123463 h 188973"/>
                <a:gd name="connsiteX107" fmla="*/ 21977 w 37794"/>
                <a:gd name="connsiteY107" fmla="*/ 118423 h 188973"/>
                <a:gd name="connsiteX108" fmla="*/ 20717 w 37794"/>
                <a:gd name="connsiteY108" fmla="*/ 108345 h 188973"/>
                <a:gd name="connsiteX109" fmla="*/ 20717 w 37794"/>
                <a:gd name="connsiteY109" fmla="*/ 108345 h 188973"/>
                <a:gd name="connsiteX110" fmla="*/ 18197 w 37794"/>
                <a:gd name="connsiteY110" fmla="*/ 93227 h 188973"/>
                <a:gd name="connsiteX111" fmla="*/ 18197 w 37794"/>
                <a:gd name="connsiteY111" fmla="*/ 91967 h 188973"/>
                <a:gd name="connsiteX112" fmla="*/ 16938 w 37794"/>
                <a:gd name="connsiteY112" fmla="*/ 85668 h 188973"/>
                <a:gd name="connsiteX113" fmla="*/ 16938 w 37794"/>
                <a:gd name="connsiteY113" fmla="*/ 81889 h 188973"/>
                <a:gd name="connsiteX114" fmla="*/ 16938 w 37794"/>
                <a:gd name="connsiteY114" fmla="*/ 80629 h 188973"/>
                <a:gd name="connsiteX115" fmla="*/ 16938 w 37794"/>
                <a:gd name="connsiteY115" fmla="*/ 78109 h 188973"/>
                <a:gd name="connsiteX116" fmla="*/ 15678 w 37794"/>
                <a:gd name="connsiteY116" fmla="*/ 74330 h 188973"/>
                <a:gd name="connsiteX117" fmla="*/ 15678 w 37794"/>
                <a:gd name="connsiteY117" fmla="*/ 73070 h 188973"/>
                <a:gd name="connsiteX118" fmla="*/ 15678 w 37794"/>
                <a:gd name="connsiteY118" fmla="*/ 73070 h 188973"/>
                <a:gd name="connsiteX119" fmla="*/ 14418 w 37794"/>
                <a:gd name="connsiteY119" fmla="*/ 68030 h 188973"/>
                <a:gd name="connsiteX120" fmla="*/ 13158 w 37794"/>
                <a:gd name="connsiteY120" fmla="*/ 61731 h 188973"/>
                <a:gd name="connsiteX121" fmla="*/ 13158 w 37794"/>
                <a:gd name="connsiteY121" fmla="*/ 60472 h 188973"/>
                <a:gd name="connsiteX122" fmla="*/ 11898 w 37794"/>
                <a:gd name="connsiteY122" fmla="*/ 56692 h 188973"/>
                <a:gd name="connsiteX123" fmla="*/ 9378 w 37794"/>
                <a:gd name="connsiteY123" fmla="*/ 45354 h 188973"/>
                <a:gd name="connsiteX124" fmla="*/ 9378 w 37794"/>
                <a:gd name="connsiteY124" fmla="*/ 42834 h 188973"/>
                <a:gd name="connsiteX125" fmla="*/ 9378 w 37794"/>
                <a:gd name="connsiteY125" fmla="*/ 42834 h 188973"/>
                <a:gd name="connsiteX126" fmla="*/ 8119 w 37794"/>
                <a:gd name="connsiteY126" fmla="*/ 40314 h 188973"/>
                <a:gd name="connsiteX127" fmla="*/ 8119 w 37794"/>
                <a:gd name="connsiteY127" fmla="*/ 39054 h 188973"/>
                <a:gd name="connsiteX128" fmla="*/ 6859 w 37794"/>
                <a:gd name="connsiteY128" fmla="*/ 35275 h 188973"/>
                <a:gd name="connsiteX129" fmla="*/ 6859 w 37794"/>
                <a:gd name="connsiteY129" fmla="*/ 34015 h 188973"/>
                <a:gd name="connsiteX130" fmla="*/ 6859 w 37794"/>
                <a:gd name="connsiteY130" fmla="*/ 32755 h 188973"/>
                <a:gd name="connsiteX131" fmla="*/ 6859 w 37794"/>
                <a:gd name="connsiteY131" fmla="*/ 31496 h 188973"/>
                <a:gd name="connsiteX132" fmla="*/ 6859 w 37794"/>
                <a:gd name="connsiteY132" fmla="*/ 31496 h 188973"/>
                <a:gd name="connsiteX133" fmla="*/ 6859 w 37794"/>
                <a:gd name="connsiteY133" fmla="*/ 31496 h 188973"/>
                <a:gd name="connsiteX134" fmla="*/ 6859 w 37794"/>
                <a:gd name="connsiteY134" fmla="*/ 28976 h 188973"/>
                <a:gd name="connsiteX135" fmla="*/ 6859 w 37794"/>
                <a:gd name="connsiteY135" fmla="*/ 27716 h 188973"/>
                <a:gd name="connsiteX136" fmla="*/ 6859 w 37794"/>
                <a:gd name="connsiteY136" fmla="*/ 27716 h 188973"/>
                <a:gd name="connsiteX137" fmla="*/ 6859 w 37794"/>
                <a:gd name="connsiteY137" fmla="*/ 27716 h 188973"/>
                <a:gd name="connsiteX138" fmla="*/ 6859 w 37794"/>
                <a:gd name="connsiteY138" fmla="*/ 23937 h 188973"/>
                <a:gd name="connsiteX139" fmla="*/ 6859 w 37794"/>
                <a:gd name="connsiteY139" fmla="*/ 22677 h 188973"/>
                <a:gd name="connsiteX140" fmla="*/ 6859 w 37794"/>
                <a:gd name="connsiteY140" fmla="*/ 20157 h 188973"/>
                <a:gd name="connsiteX141" fmla="*/ 6859 w 37794"/>
                <a:gd name="connsiteY141" fmla="*/ 16378 h 188973"/>
                <a:gd name="connsiteX142" fmla="*/ 6859 w 37794"/>
                <a:gd name="connsiteY142" fmla="*/ 15118 h 188973"/>
                <a:gd name="connsiteX143" fmla="*/ 6859 w 37794"/>
                <a:gd name="connsiteY143" fmla="*/ 13858 h 188973"/>
                <a:gd name="connsiteX144" fmla="*/ 6859 w 37794"/>
                <a:gd name="connsiteY144" fmla="*/ 11338 h 188973"/>
                <a:gd name="connsiteX145" fmla="*/ 6859 w 37794"/>
                <a:gd name="connsiteY145" fmla="*/ 8819 h 188973"/>
                <a:gd name="connsiteX146" fmla="*/ 6859 w 37794"/>
                <a:gd name="connsiteY146" fmla="*/ 8819 h 188973"/>
                <a:gd name="connsiteX147" fmla="*/ 6859 w 37794"/>
                <a:gd name="connsiteY147" fmla="*/ 7559 h 188973"/>
                <a:gd name="connsiteX148" fmla="*/ 6859 w 37794"/>
                <a:gd name="connsiteY148" fmla="*/ 7559 h 188973"/>
                <a:gd name="connsiteX149" fmla="*/ 6859 w 37794"/>
                <a:gd name="connsiteY149" fmla="*/ 7559 h 188973"/>
                <a:gd name="connsiteX150" fmla="*/ 6859 w 37794"/>
                <a:gd name="connsiteY150" fmla="*/ 7559 h 188973"/>
                <a:gd name="connsiteX151" fmla="*/ 6859 w 37794"/>
                <a:gd name="connsiteY151" fmla="*/ 6299 h 188973"/>
                <a:gd name="connsiteX152" fmla="*/ 560 w 37794"/>
                <a:gd name="connsiteY152" fmla="*/ 0 h 188973"/>
                <a:gd name="connsiteX153" fmla="*/ 560 w 37794"/>
                <a:gd name="connsiteY153" fmla="*/ 0 h 188973"/>
                <a:gd name="connsiteX154" fmla="*/ 560 w 37794"/>
                <a:gd name="connsiteY154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37794" h="188973">
                  <a:moveTo>
                    <a:pt x="560" y="0"/>
                  </a:moveTo>
                  <a:cubicBezTo>
                    <a:pt x="1819" y="0"/>
                    <a:pt x="1819" y="1260"/>
                    <a:pt x="560" y="0"/>
                  </a:cubicBezTo>
                  <a:lnTo>
                    <a:pt x="560" y="0"/>
                  </a:lnTo>
                  <a:lnTo>
                    <a:pt x="1819" y="1260"/>
                  </a:lnTo>
                  <a:cubicBezTo>
                    <a:pt x="1819" y="1260"/>
                    <a:pt x="3079" y="2520"/>
                    <a:pt x="4339" y="2520"/>
                  </a:cubicBezTo>
                  <a:lnTo>
                    <a:pt x="4339" y="2520"/>
                  </a:lnTo>
                  <a:lnTo>
                    <a:pt x="4339" y="2520"/>
                  </a:lnTo>
                  <a:cubicBezTo>
                    <a:pt x="5599" y="2520"/>
                    <a:pt x="6859" y="3780"/>
                    <a:pt x="6859" y="5039"/>
                  </a:cubicBezTo>
                  <a:cubicBezTo>
                    <a:pt x="8119" y="6299"/>
                    <a:pt x="8119" y="629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cubicBezTo>
                    <a:pt x="9378" y="7559"/>
                    <a:pt x="9378" y="755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10638" y="8819"/>
                  </a:lnTo>
                  <a:lnTo>
                    <a:pt x="11898" y="10079"/>
                  </a:lnTo>
                  <a:cubicBezTo>
                    <a:pt x="13158" y="11338"/>
                    <a:pt x="13158" y="11338"/>
                    <a:pt x="14418" y="12598"/>
                  </a:cubicBezTo>
                  <a:lnTo>
                    <a:pt x="15678" y="13858"/>
                  </a:lnTo>
                  <a:cubicBezTo>
                    <a:pt x="16938" y="15118"/>
                    <a:pt x="16938" y="16378"/>
                    <a:pt x="18197" y="16378"/>
                  </a:cubicBezTo>
                  <a:cubicBezTo>
                    <a:pt x="19457" y="17637"/>
                    <a:pt x="19457" y="17637"/>
                    <a:pt x="20717" y="18897"/>
                  </a:cubicBezTo>
                  <a:lnTo>
                    <a:pt x="20717" y="18897"/>
                  </a:lnTo>
                  <a:lnTo>
                    <a:pt x="21977" y="20157"/>
                  </a:lnTo>
                  <a:cubicBezTo>
                    <a:pt x="23237" y="21417"/>
                    <a:pt x="24497" y="22677"/>
                    <a:pt x="25756" y="25196"/>
                  </a:cubicBezTo>
                  <a:lnTo>
                    <a:pt x="27016" y="27716"/>
                  </a:lnTo>
                  <a:lnTo>
                    <a:pt x="27016" y="28976"/>
                  </a:lnTo>
                  <a:lnTo>
                    <a:pt x="28276" y="31496"/>
                  </a:lnTo>
                  <a:cubicBezTo>
                    <a:pt x="29536" y="32755"/>
                    <a:pt x="30796" y="34015"/>
                    <a:pt x="32056" y="36535"/>
                  </a:cubicBezTo>
                  <a:lnTo>
                    <a:pt x="33315" y="37795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cubicBezTo>
                    <a:pt x="33315" y="40314"/>
                    <a:pt x="34575" y="40314"/>
                    <a:pt x="34575" y="41574"/>
                  </a:cubicBezTo>
                  <a:cubicBezTo>
                    <a:pt x="34575" y="41574"/>
                    <a:pt x="35835" y="42834"/>
                    <a:pt x="35835" y="42834"/>
                  </a:cubicBezTo>
                  <a:cubicBezTo>
                    <a:pt x="35835" y="44094"/>
                    <a:pt x="37095" y="44094"/>
                    <a:pt x="38355" y="45354"/>
                  </a:cubicBezTo>
                  <a:cubicBezTo>
                    <a:pt x="38355" y="46613"/>
                    <a:pt x="39614" y="46613"/>
                    <a:pt x="39614" y="47873"/>
                  </a:cubicBezTo>
                  <a:lnTo>
                    <a:pt x="39614" y="47873"/>
                  </a:lnTo>
                  <a:lnTo>
                    <a:pt x="39614" y="47873"/>
                  </a:lnTo>
                  <a:cubicBezTo>
                    <a:pt x="39614" y="47873"/>
                    <a:pt x="39614" y="47873"/>
                    <a:pt x="39614" y="47873"/>
                  </a:cubicBezTo>
                  <a:cubicBezTo>
                    <a:pt x="39614" y="47873"/>
                    <a:pt x="39614" y="49133"/>
                    <a:pt x="39614" y="49133"/>
                  </a:cubicBezTo>
                  <a:cubicBezTo>
                    <a:pt x="39614" y="49133"/>
                    <a:pt x="39614" y="50393"/>
                    <a:pt x="39614" y="50393"/>
                  </a:cubicBezTo>
                  <a:cubicBezTo>
                    <a:pt x="39614" y="50393"/>
                    <a:pt x="39614" y="51653"/>
                    <a:pt x="39614" y="51653"/>
                  </a:cubicBezTo>
                  <a:cubicBezTo>
                    <a:pt x="39614" y="51653"/>
                    <a:pt x="39614" y="52913"/>
                    <a:pt x="39614" y="52913"/>
                  </a:cubicBezTo>
                  <a:cubicBezTo>
                    <a:pt x="39614" y="54172"/>
                    <a:pt x="39614" y="54172"/>
                    <a:pt x="39614" y="55432"/>
                  </a:cubicBezTo>
                  <a:lnTo>
                    <a:pt x="39614" y="56692"/>
                  </a:lnTo>
                  <a:cubicBezTo>
                    <a:pt x="39614" y="57952"/>
                    <a:pt x="39614" y="59212"/>
                    <a:pt x="39614" y="59212"/>
                  </a:cubicBezTo>
                  <a:cubicBezTo>
                    <a:pt x="39614" y="61731"/>
                    <a:pt x="39614" y="64251"/>
                    <a:pt x="38355" y="65511"/>
                  </a:cubicBezTo>
                  <a:cubicBezTo>
                    <a:pt x="38355" y="68030"/>
                    <a:pt x="38355" y="69290"/>
                    <a:pt x="38355" y="71810"/>
                  </a:cubicBezTo>
                  <a:lnTo>
                    <a:pt x="38355" y="70550"/>
                  </a:lnTo>
                  <a:cubicBezTo>
                    <a:pt x="38355" y="71810"/>
                    <a:pt x="38355" y="73070"/>
                    <a:pt x="38355" y="74330"/>
                  </a:cubicBezTo>
                  <a:cubicBezTo>
                    <a:pt x="38355" y="75589"/>
                    <a:pt x="38355" y="76849"/>
                    <a:pt x="38355" y="78109"/>
                  </a:cubicBezTo>
                  <a:lnTo>
                    <a:pt x="38355" y="79369"/>
                  </a:lnTo>
                  <a:cubicBezTo>
                    <a:pt x="38355" y="80629"/>
                    <a:pt x="38355" y="81889"/>
                    <a:pt x="38355" y="83148"/>
                  </a:cubicBezTo>
                  <a:cubicBezTo>
                    <a:pt x="38355" y="85668"/>
                    <a:pt x="38355" y="88188"/>
                    <a:pt x="38355" y="90707"/>
                  </a:cubicBezTo>
                  <a:cubicBezTo>
                    <a:pt x="38355" y="91967"/>
                    <a:pt x="38355" y="93227"/>
                    <a:pt x="38355" y="94487"/>
                  </a:cubicBezTo>
                  <a:lnTo>
                    <a:pt x="38355" y="97006"/>
                  </a:lnTo>
                  <a:cubicBezTo>
                    <a:pt x="38355" y="98266"/>
                    <a:pt x="38355" y="98266"/>
                    <a:pt x="38355" y="99526"/>
                  </a:cubicBezTo>
                  <a:cubicBezTo>
                    <a:pt x="38355" y="100786"/>
                    <a:pt x="38355" y="102046"/>
                    <a:pt x="38355" y="102046"/>
                  </a:cubicBezTo>
                  <a:cubicBezTo>
                    <a:pt x="38355" y="105825"/>
                    <a:pt x="38355" y="109605"/>
                    <a:pt x="37095" y="112124"/>
                  </a:cubicBezTo>
                  <a:cubicBezTo>
                    <a:pt x="37095" y="113384"/>
                    <a:pt x="37095" y="113384"/>
                    <a:pt x="37095" y="114644"/>
                  </a:cubicBezTo>
                  <a:cubicBezTo>
                    <a:pt x="37095" y="117164"/>
                    <a:pt x="37095" y="120943"/>
                    <a:pt x="37095" y="124722"/>
                  </a:cubicBezTo>
                  <a:cubicBezTo>
                    <a:pt x="37095" y="125982"/>
                    <a:pt x="37095" y="125982"/>
                    <a:pt x="37095" y="127242"/>
                  </a:cubicBezTo>
                  <a:cubicBezTo>
                    <a:pt x="37095" y="128502"/>
                    <a:pt x="37095" y="128502"/>
                    <a:pt x="37095" y="129762"/>
                  </a:cubicBezTo>
                  <a:cubicBezTo>
                    <a:pt x="37095" y="131022"/>
                    <a:pt x="37095" y="132281"/>
                    <a:pt x="37095" y="133541"/>
                  </a:cubicBezTo>
                  <a:lnTo>
                    <a:pt x="37095" y="134801"/>
                  </a:lnTo>
                  <a:lnTo>
                    <a:pt x="37095" y="136061"/>
                  </a:lnTo>
                  <a:lnTo>
                    <a:pt x="37095" y="137321"/>
                  </a:lnTo>
                  <a:cubicBezTo>
                    <a:pt x="37095" y="137321"/>
                    <a:pt x="37095" y="138581"/>
                    <a:pt x="37095" y="138581"/>
                  </a:cubicBezTo>
                  <a:cubicBezTo>
                    <a:pt x="37095" y="143620"/>
                    <a:pt x="37095" y="148659"/>
                    <a:pt x="37095" y="154958"/>
                  </a:cubicBezTo>
                  <a:cubicBezTo>
                    <a:pt x="37095" y="154958"/>
                    <a:pt x="37095" y="156218"/>
                    <a:pt x="37095" y="156218"/>
                  </a:cubicBezTo>
                  <a:cubicBezTo>
                    <a:pt x="35835" y="161257"/>
                    <a:pt x="35835" y="167557"/>
                    <a:pt x="35835" y="172596"/>
                  </a:cubicBezTo>
                  <a:cubicBezTo>
                    <a:pt x="35835" y="175115"/>
                    <a:pt x="35835" y="177635"/>
                    <a:pt x="35835" y="180155"/>
                  </a:cubicBezTo>
                  <a:cubicBezTo>
                    <a:pt x="35835" y="183934"/>
                    <a:pt x="35835" y="187714"/>
                    <a:pt x="35835" y="190233"/>
                  </a:cubicBezTo>
                  <a:lnTo>
                    <a:pt x="35835" y="190233"/>
                  </a:lnTo>
                  <a:lnTo>
                    <a:pt x="35835" y="190233"/>
                  </a:ln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1493"/>
                    <a:pt x="34575" y="191493"/>
                  </a:cubicBezTo>
                  <a:cubicBezTo>
                    <a:pt x="34575" y="191493"/>
                    <a:pt x="34575" y="191493"/>
                    <a:pt x="33315" y="191493"/>
                  </a:cubicBezTo>
                  <a:cubicBezTo>
                    <a:pt x="33315" y="191493"/>
                    <a:pt x="32056" y="191493"/>
                    <a:pt x="32056" y="191493"/>
                  </a:cubicBezTo>
                  <a:cubicBezTo>
                    <a:pt x="32056" y="191493"/>
                    <a:pt x="30796" y="191493"/>
                    <a:pt x="30796" y="191493"/>
                  </a:cubicBezTo>
                  <a:cubicBezTo>
                    <a:pt x="30796" y="191493"/>
                    <a:pt x="29536" y="190233"/>
                    <a:pt x="29536" y="190233"/>
                  </a:cubicBezTo>
                  <a:cubicBezTo>
                    <a:pt x="29536" y="188974"/>
                    <a:pt x="28276" y="187714"/>
                    <a:pt x="28276" y="185194"/>
                  </a:cubicBezTo>
                  <a:lnTo>
                    <a:pt x="28276" y="185194"/>
                  </a:lnTo>
                  <a:cubicBezTo>
                    <a:pt x="28276" y="183934"/>
                    <a:pt x="27016" y="181414"/>
                    <a:pt x="27016" y="180155"/>
                  </a:cubicBezTo>
                  <a:lnTo>
                    <a:pt x="27016" y="180155"/>
                  </a:lnTo>
                  <a:lnTo>
                    <a:pt x="27016" y="180155"/>
                  </a:lnTo>
                  <a:lnTo>
                    <a:pt x="27016" y="180155"/>
                  </a:lnTo>
                  <a:cubicBezTo>
                    <a:pt x="27016" y="177635"/>
                    <a:pt x="25756" y="173856"/>
                    <a:pt x="25756" y="171336"/>
                  </a:cubicBezTo>
                  <a:cubicBezTo>
                    <a:pt x="25756" y="170076"/>
                    <a:pt x="25756" y="167557"/>
                    <a:pt x="24497" y="166297"/>
                  </a:cubicBezTo>
                  <a:lnTo>
                    <a:pt x="24497" y="165037"/>
                  </a:lnTo>
                  <a:lnTo>
                    <a:pt x="24497" y="161257"/>
                  </a:lnTo>
                  <a:cubicBezTo>
                    <a:pt x="23237" y="157478"/>
                    <a:pt x="23237" y="153698"/>
                    <a:pt x="23237" y="149919"/>
                  </a:cubicBezTo>
                  <a:cubicBezTo>
                    <a:pt x="23237" y="146139"/>
                    <a:pt x="21977" y="143620"/>
                    <a:pt x="21977" y="139840"/>
                  </a:cubicBezTo>
                  <a:cubicBezTo>
                    <a:pt x="21977" y="138581"/>
                    <a:pt x="21977" y="136061"/>
                    <a:pt x="21977" y="134801"/>
                  </a:cubicBezTo>
                  <a:lnTo>
                    <a:pt x="21977" y="133541"/>
                  </a:lnTo>
                  <a:cubicBezTo>
                    <a:pt x="21977" y="132281"/>
                    <a:pt x="21977" y="129762"/>
                    <a:pt x="21977" y="128502"/>
                  </a:cubicBezTo>
                  <a:cubicBezTo>
                    <a:pt x="21977" y="127242"/>
                    <a:pt x="21977" y="127242"/>
                    <a:pt x="21977" y="125982"/>
                  </a:cubicBezTo>
                  <a:lnTo>
                    <a:pt x="21977" y="124722"/>
                  </a:lnTo>
                  <a:lnTo>
                    <a:pt x="21977" y="123463"/>
                  </a:lnTo>
                  <a:cubicBezTo>
                    <a:pt x="21977" y="122203"/>
                    <a:pt x="21977" y="119683"/>
                    <a:pt x="21977" y="118423"/>
                  </a:cubicBezTo>
                  <a:cubicBezTo>
                    <a:pt x="21977" y="114644"/>
                    <a:pt x="20717" y="112124"/>
                    <a:pt x="20717" y="108345"/>
                  </a:cubicBezTo>
                  <a:lnTo>
                    <a:pt x="20717" y="108345"/>
                  </a:lnTo>
                  <a:cubicBezTo>
                    <a:pt x="19457" y="103305"/>
                    <a:pt x="19457" y="98266"/>
                    <a:pt x="18197" y="93227"/>
                  </a:cubicBezTo>
                  <a:lnTo>
                    <a:pt x="18197" y="91967"/>
                  </a:lnTo>
                  <a:cubicBezTo>
                    <a:pt x="18197" y="90707"/>
                    <a:pt x="18197" y="88188"/>
                    <a:pt x="16938" y="85668"/>
                  </a:cubicBezTo>
                  <a:cubicBezTo>
                    <a:pt x="16938" y="84408"/>
                    <a:pt x="16938" y="83148"/>
                    <a:pt x="16938" y="81889"/>
                  </a:cubicBezTo>
                  <a:cubicBezTo>
                    <a:pt x="16938" y="81889"/>
                    <a:pt x="16938" y="80629"/>
                    <a:pt x="16938" y="80629"/>
                  </a:cubicBezTo>
                  <a:cubicBezTo>
                    <a:pt x="16938" y="79369"/>
                    <a:pt x="16938" y="79369"/>
                    <a:pt x="16938" y="78109"/>
                  </a:cubicBezTo>
                  <a:lnTo>
                    <a:pt x="15678" y="74330"/>
                  </a:lnTo>
                  <a:lnTo>
                    <a:pt x="15678" y="73070"/>
                  </a:lnTo>
                  <a:lnTo>
                    <a:pt x="15678" y="73070"/>
                  </a:lnTo>
                  <a:cubicBezTo>
                    <a:pt x="15678" y="71810"/>
                    <a:pt x="14418" y="70550"/>
                    <a:pt x="14418" y="68030"/>
                  </a:cubicBezTo>
                  <a:cubicBezTo>
                    <a:pt x="14418" y="65511"/>
                    <a:pt x="13158" y="64251"/>
                    <a:pt x="13158" y="61731"/>
                  </a:cubicBezTo>
                  <a:lnTo>
                    <a:pt x="13158" y="60472"/>
                  </a:lnTo>
                  <a:cubicBezTo>
                    <a:pt x="13158" y="59212"/>
                    <a:pt x="13158" y="57952"/>
                    <a:pt x="11898" y="56692"/>
                  </a:cubicBezTo>
                  <a:cubicBezTo>
                    <a:pt x="10638" y="52913"/>
                    <a:pt x="10638" y="49133"/>
                    <a:pt x="9378" y="45354"/>
                  </a:cubicBezTo>
                  <a:lnTo>
                    <a:pt x="9378" y="42834"/>
                  </a:lnTo>
                  <a:lnTo>
                    <a:pt x="9378" y="42834"/>
                  </a:lnTo>
                  <a:cubicBezTo>
                    <a:pt x="9378" y="41574"/>
                    <a:pt x="9378" y="40314"/>
                    <a:pt x="8119" y="40314"/>
                  </a:cubicBezTo>
                  <a:lnTo>
                    <a:pt x="8119" y="39054"/>
                  </a:lnTo>
                  <a:cubicBezTo>
                    <a:pt x="8119" y="37795"/>
                    <a:pt x="8119" y="36535"/>
                    <a:pt x="6859" y="35275"/>
                  </a:cubicBezTo>
                  <a:lnTo>
                    <a:pt x="6859" y="34015"/>
                  </a:lnTo>
                  <a:lnTo>
                    <a:pt x="6859" y="32755"/>
                  </a:lnTo>
                  <a:lnTo>
                    <a:pt x="6859" y="31496"/>
                  </a:lnTo>
                  <a:lnTo>
                    <a:pt x="6859" y="31496"/>
                  </a:lnTo>
                  <a:lnTo>
                    <a:pt x="6859" y="31496"/>
                  </a:lnTo>
                  <a:cubicBezTo>
                    <a:pt x="6859" y="30236"/>
                    <a:pt x="6859" y="30236"/>
                    <a:pt x="6859" y="28976"/>
                  </a:cubicBezTo>
                  <a:lnTo>
                    <a:pt x="6859" y="27716"/>
                  </a:lnTo>
                  <a:lnTo>
                    <a:pt x="6859" y="27716"/>
                  </a:lnTo>
                  <a:lnTo>
                    <a:pt x="6859" y="27716"/>
                  </a:lnTo>
                  <a:cubicBezTo>
                    <a:pt x="6859" y="26456"/>
                    <a:pt x="6859" y="25196"/>
                    <a:pt x="6859" y="23937"/>
                  </a:cubicBezTo>
                  <a:lnTo>
                    <a:pt x="6859" y="22677"/>
                  </a:lnTo>
                  <a:lnTo>
                    <a:pt x="6859" y="20157"/>
                  </a:lnTo>
                  <a:cubicBezTo>
                    <a:pt x="6859" y="18897"/>
                    <a:pt x="6859" y="17637"/>
                    <a:pt x="6859" y="16378"/>
                  </a:cubicBezTo>
                  <a:lnTo>
                    <a:pt x="6859" y="15118"/>
                  </a:lnTo>
                  <a:lnTo>
                    <a:pt x="6859" y="13858"/>
                  </a:lnTo>
                  <a:cubicBezTo>
                    <a:pt x="6859" y="12598"/>
                    <a:pt x="6859" y="11338"/>
                    <a:pt x="6859" y="11338"/>
                  </a:cubicBezTo>
                  <a:cubicBezTo>
                    <a:pt x="6859" y="10079"/>
                    <a:pt x="6859" y="10079"/>
                    <a:pt x="6859" y="8819"/>
                  </a:cubicBezTo>
                  <a:lnTo>
                    <a:pt x="6859" y="8819"/>
                  </a:lnTo>
                  <a:cubicBezTo>
                    <a:pt x="6859" y="8819"/>
                    <a:pt x="6859" y="7559"/>
                    <a:pt x="6859" y="7559"/>
                  </a:cubicBezTo>
                  <a:cubicBezTo>
                    <a:pt x="6859" y="7559"/>
                    <a:pt x="6859" y="7559"/>
                    <a:pt x="6859" y="7559"/>
                  </a:cubicBezTo>
                  <a:lnTo>
                    <a:pt x="6859" y="7559"/>
                  </a:lnTo>
                  <a:lnTo>
                    <a:pt x="6859" y="7559"/>
                  </a:lnTo>
                  <a:cubicBezTo>
                    <a:pt x="6859" y="7559"/>
                    <a:pt x="6859" y="6299"/>
                    <a:pt x="6859" y="6299"/>
                  </a:cubicBezTo>
                  <a:lnTo>
                    <a:pt x="560" y="0"/>
                  </a:lnTo>
                  <a:cubicBezTo>
                    <a:pt x="-700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2" name="任意多边形: 形状 10221"/>
            <p:cNvSpPr/>
            <p:nvPr/>
          </p:nvSpPr>
          <p:spPr>
            <a:xfrm>
              <a:off x="4959812" y="4661107"/>
              <a:ext cx="251965" cy="75589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2 w 251964"/>
                <a:gd name="connsiteY2" fmla="*/ 2520 h 75589"/>
                <a:gd name="connsiteX3" fmla="*/ 249013 w 251964"/>
                <a:gd name="connsiteY3" fmla="*/ 5040 h 75589"/>
                <a:gd name="connsiteX4" fmla="*/ 249013 w 251964"/>
                <a:gd name="connsiteY4" fmla="*/ 5040 h 75589"/>
                <a:gd name="connsiteX5" fmla="*/ 249013 w 251964"/>
                <a:gd name="connsiteY5" fmla="*/ 5040 h 75589"/>
                <a:gd name="connsiteX6" fmla="*/ 249013 w 251964"/>
                <a:gd name="connsiteY6" fmla="*/ 5040 h 75589"/>
                <a:gd name="connsiteX7" fmla="*/ 242713 w 251964"/>
                <a:gd name="connsiteY7" fmla="*/ 3780 h 75589"/>
                <a:gd name="connsiteX8" fmla="*/ 235155 w 251964"/>
                <a:gd name="connsiteY8" fmla="*/ 2520 h 75589"/>
                <a:gd name="connsiteX9" fmla="*/ 235155 w 251964"/>
                <a:gd name="connsiteY9" fmla="*/ 2520 h 75589"/>
                <a:gd name="connsiteX10" fmla="*/ 228856 w 251964"/>
                <a:gd name="connsiteY10" fmla="*/ 2520 h 75589"/>
                <a:gd name="connsiteX11" fmla="*/ 228856 w 251964"/>
                <a:gd name="connsiteY11" fmla="*/ 2520 h 75589"/>
                <a:gd name="connsiteX12" fmla="*/ 214998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4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8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24290 w 251964"/>
                <a:gd name="connsiteY40" fmla="*/ 12598 h 75589"/>
                <a:gd name="connsiteX41" fmla="*/ 120511 w 251964"/>
                <a:gd name="connsiteY41" fmla="*/ 13858 h 75589"/>
                <a:gd name="connsiteX42" fmla="*/ 117991 w 251964"/>
                <a:gd name="connsiteY42" fmla="*/ 15118 h 75589"/>
                <a:gd name="connsiteX43" fmla="*/ 116731 w 251964"/>
                <a:gd name="connsiteY43" fmla="*/ 15118 h 75589"/>
                <a:gd name="connsiteX44" fmla="*/ 110432 w 251964"/>
                <a:gd name="connsiteY44" fmla="*/ 16378 h 75589"/>
                <a:gd name="connsiteX45" fmla="*/ 109172 w 251964"/>
                <a:gd name="connsiteY45" fmla="*/ 16378 h 75589"/>
                <a:gd name="connsiteX46" fmla="*/ 97834 w 251964"/>
                <a:gd name="connsiteY46" fmla="*/ 20157 h 75589"/>
                <a:gd name="connsiteX47" fmla="*/ 94054 w 251964"/>
                <a:gd name="connsiteY47" fmla="*/ 21417 h 75589"/>
                <a:gd name="connsiteX48" fmla="*/ 91535 w 251964"/>
                <a:gd name="connsiteY48" fmla="*/ 22677 h 75589"/>
                <a:gd name="connsiteX49" fmla="*/ 83976 w 251964"/>
                <a:gd name="connsiteY49" fmla="*/ 25196 h 75589"/>
                <a:gd name="connsiteX50" fmla="*/ 75157 w 251964"/>
                <a:gd name="connsiteY50" fmla="*/ 27716 h 75589"/>
                <a:gd name="connsiteX51" fmla="*/ 71378 w 251964"/>
                <a:gd name="connsiteY51" fmla="*/ 28976 h 75589"/>
                <a:gd name="connsiteX52" fmla="*/ 58780 w 251964"/>
                <a:gd name="connsiteY52" fmla="*/ 34015 h 75589"/>
                <a:gd name="connsiteX53" fmla="*/ 46181 w 251964"/>
                <a:gd name="connsiteY53" fmla="*/ 39055 h 75589"/>
                <a:gd name="connsiteX54" fmla="*/ 33583 w 251964"/>
                <a:gd name="connsiteY54" fmla="*/ 44094 h 75589"/>
                <a:gd name="connsiteX55" fmla="*/ 32323 w 251964"/>
                <a:gd name="connsiteY55" fmla="*/ 44094 h 75589"/>
                <a:gd name="connsiteX56" fmla="*/ 26024 w 251964"/>
                <a:gd name="connsiteY56" fmla="*/ 46614 h 75589"/>
                <a:gd name="connsiteX57" fmla="*/ 20985 w 251964"/>
                <a:gd name="connsiteY57" fmla="*/ 49133 h 75589"/>
                <a:gd name="connsiteX58" fmla="*/ 17205 w 251964"/>
                <a:gd name="connsiteY58" fmla="*/ 51653 h 75589"/>
                <a:gd name="connsiteX59" fmla="*/ 15945 w 251964"/>
                <a:gd name="connsiteY59" fmla="*/ 52913 h 75589"/>
                <a:gd name="connsiteX60" fmla="*/ 14686 w 251964"/>
                <a:gd name="connsiteY60" fmla="*/ 52913 h 75589"/>
                <a:gd name="connsiteX61" fmla="*/ 9646 w 251964"/>
                <a:gd name="connsiteY61" fmla="*/ 55433 h 75589"/>
                <a:gd name="connsiteX62" fmla="*/ 3347 w 251964"/>
                <a:gd name="connsiteY62" fmla="*/ 60472 h 75589"/>
                <a:gd name="connsiteX63" fmla="*/ 828 w 251964"/>
                <a:gd name="connsiteY63" fmla="*/ 64251 h 75589"/>
                <a:gd name="connsiteX64" fmla="*/ 2087 w 251964"/>
                <a:gd name="connsiteY64" fmla="*/ 71810 h 75589"/>
                <a:gd name="connsiteX65" fmla="*/ 8387 w 251964"/>
                <a:gd name="connsiteY65" fmla="*/ 76849 h 75589"/>
                <a:gd name="connsiteX66" fmla="*/ 14686 w 251964"/>
                <a:gd name="connsiteY66" fmla="*/ 79369 h 75589"/>
                <a:gd name="connsiteX67" fmla="*/ 27284 w 251964"/>
                <a:gd name="connsiteY67" fmla="*/ 80629 h 75589"/>
                <a:gd name="connsiteX68" fmla="*/ 28543 w 251964"/>
                <a:gd name="connsiteY68" fmla="*/ 80629 h 75589"/>
                <a:gd name="connsiteX69" fmla="*/ 33583 w 251964"/>
                <a:gd name="connsiteY69" fmla="*/ 80629 h 75589"/>
                <a:gd name="connsiteX70" fmla="*/ 34843 w 251964"/>
                <a:gd name="connsiteY70" fmla="*/ 80629 h 75589"/>
                <a:gd name="connsiteX71" fmla="*/ 41142 w 251964"/>
                <a:gd name="connsiteY71" fmla="*/ 80629 h 75589"/>
                <a:gd name="connsiteX72" fmla="*/ 41142 w 251964"/>
                <a:gd name="connsiteY72" fmla="*/ 80629 h 75589"/>
                <a:gd name="connsiteX73" fmla="*/ 55000 w 251964"/>
                <a:gd name="connsiteY73" fmla="*/ 80629 h 75589"/>
                <a:gd name="connsiteX74" fmla="*/ 68858 w 251964"/>
                <a:gd name="connsiteY74" fmla="*/ 79369 h 75589"/>
                <a:gd name="connsiteX75" fmla="*/ 68858 w 251964"/>
                <a:gd name="connsiteY75" fmla="*/ 79369 h 75589"/>
                <a:gd name="connsiteX76" fmla="*/ 78936 w 251964"/>
                <a:gd name="connsiteY76" fmla="*/ 78109 h 75589"/>
                <a:gd name="connsiteX77" fmla="*/ 81456 w 251964"/>
                <a:gd name="connsiteY77" fmla="*/ 78109 h 75589"/>
                <a:gd name="connsiteX78" fmla="*/ 100354 w 251964"/>
                <a:gd name="connsiteY78" fmla="*/ 76849 h 75589"/>
                <a:gd name="connsiteX79" fmla="*/ 106653 w 251964"/>
                <a:gd name="connsiteY79" fmla="*/ 76849 h 75589"/>
                <a:gd name="connsiteX80" fmla="*/ 155786 w 251964"/>
                <a:gd name="connsiteY80" fmla="*/ 78109 h 75589"/>
                <a:gd name="connsiteX81" fmla="*/ 162085 w 251964"/>
                <a:gd name="connsiteY81" fmla="*/ 78109 h 75589"/>
                <a:gd name="connsiteX82" fmla="*/ 169644 w 251964"/>
                <a:gd name="connsiteY82" fmla="*/ 78109 h 75589"/>
                <a:gd name="connsiteX83" fmla="*/ 184762 w 251964"/>
                <a:gd name="connsiteY83" fmla="*/ 78109 h 75589"/>
                <a:gd name="connsiteX84" fmla="*/ 198620 w 251964"/>
                <a:gd name="connsiteY84" fmla="*/ 76849 h 75589"/>
                <a:gd name="connsiteX85" fmla="*/ 204919 w 251964"/>
                <a:gd name="connsiteY85" fmla="*/ 75589 h 75589"/>
                <a:gd name="connsiteX86" fmla="*/ 207439 w 251964"/>
                <a:gd name="connsiteY86" fmla="*/ 75589 h 75589"/>
                <a:gd name="connsiteX87" fmla="*/ 211218 w 251964"/>
                <a:gd name="connsiteY87" fmla="*/ 74330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2478 w 251964"/>
                <a:gd name="connsiteY90" fmla="*/ 75589 h 75589"/>
                <a:gd name="connsiteX91" fmla="*/ 212478 w 251964"/>
                <a:gd name="connsiteY91" fmla="*/ 75589 h 75589"/>
                <a:gd name="connsiteX92" fmla="*/ 217517 w 251964"/>
                <a:gd name="connsiteY92" fmla="*/ 79369 h 75589"/>
                <a:gd name="connsiteX93" fmla="*/ 222557 w 251964"/>
                <a:gd name="connsiteY93" fmla="*/ 81889 h 75589"/>
                <a:gd name="connsiteX94" fmla="*/ 226336 w 251964"/>
                <a:gd name="connsiteY94" fmla="*/ 83148 h 75589"/>
                <a:gd name="connsiteX95" fmla="*/ 227596 w 251964"/>
                <a:gd name="connsiteY95" fmla="*/ 83148 h 75589"/>
                <a:gd name="connsiteX96" fmla="*/ 241454 w 251964"/>
                <a:gd name="connsiteY96" fmla="*/ 81889 h 75589"/>
                <a:gd name="connsiteX97" fmla="*/ 242713 w 251964"/>
                <a:gd name="connsiteY97" fmla="*/ 81889 h 75589"/>
                <a:gd name="connsiteX98" fmla="*/ 247753 w 251964"/>
                <a:gd name="connsiteY98" fmla="*/ 80629 h 75589"/>
                <a:gd name="connsiteX99" fmla="*/ 254052 w 251964"/>
                <a:gd name="connsiteY99" fmla="*/ 76849 h 75589"/>
                <a:gd name="connsiteX100" fmla="*/ 255312 w 251964"/>
                <a:gd name="connsiteY100" fmla="*/ 74330 h 75589"/>
                <a:gd name="connsiteX101" fmla="*/ 257831 w 251964"/>
                <a:gd name="connsiteY101" fmla="*/ 70550 h 75589"/>
                <a:gd name="connsiteX102" fmla="*/ 257831 w 251964"/>
                <a:gd name="connsiteY102" fmla="*/ 60472 h 75589"/>
                <a:gd name="connsiteX103" fmla="*/ 257831 w 251964"/>
                <a:gd name="connsiteY103" fmla="*/ 55433 h 75589"/>
                <a:gd name="connsiteX104" fmla="*/ 257831 w 251964"/>
                <a:gd name="connsiteY104" fmla="*/ 52913 h 75589"/>
                <a:gd name="connsiteX105" fmla="*/ 257831 w 251964"/>
                <a:gd name="connsiteY105" fmla="*/ 42834 h 75589"/>
                <a:gd name="connsiteX106" fmla="*/ 257831 w 251964"/>
                <a:gd name="connsiteY106" fmla="*/ 40315 h 75589"/>
                <a:gd name="connsiteX107" fmla="*/ 257831 w 251964"/>
                <a:gd name="connsiteY107" fmla="*/ 36535 h 75589"/>
                <a:gd name="connsiteX108" fmla="*/ 257831 w 251964"/>
                <a:gd name="connsiteY108" fmla="*/ 27716 h 75589"/>
                <a:gd name="connsiteX109" fmla="*/ 257831 w 251964"/>
                <a:gd name="connsiteY109" fmla="*/ 21417 h 75589"/>
                <a:gd name="connsiteX110" fmla="*/ 257831 w 251964"/>
                <a:gd name="connsiteY110" fmla="*/ 15118 h 75589"/>
                <a:gd name="connsiteX111" fmla="*/ 256572 w 251964"/>
                <a:gd name="connsiteY111" fmla="*/ 11339 h 75589"/>
                <a:gd name="connsiteX112" fmla="*/ 255312 w 251964"/>
                <a:gd name="connsiteY112" fmla="*/ 8819 h 75589"/>
                <a:gd name="connsiteX113" fmla="*/ 255312 w 251964"/>
                <a:gd name="connsiteY113" fmla="*/ 5040 h 75589"/>
                <a:gd name="connsiteX114" fmla="*/ 252792 w 251964"/>
                <a:gd name="connsiteY114" fmla="*/ 1260 h 75589"/>
                <a:gd name="connsiteX115" fmla="*/ 8387 w 251964"/>
                <a:gd name="connsiteY115" fmla="*/ 64251 h 75589"/>
                <a:gd name="connsiteX116" fmla="*/ 12166 w 251964"/>
                <a:gd name="connsiteY116" fmla="*/ 61732 h 75589"/>
                <a:gd name="connsiteX117" fmla="*/ 15945 w 251964"/>
                <a:gd name="connsiteY117" fmla="*/ 59212 h 75589"/>
                <a:gd name="connsiteX118" fmla="*/ 17205 w 251964"/>
                <a:gd name="connsiteY118" fmla="*/ 59212 h 75589"/>
                <a:gd name="connsiteX119" fmla="*/ 20985 w 251964"/>
                <a:gd name="connsiteY119" fmla="*/ 57952 h 75589"/>
                <a:gd name="connsiteX120" fmla="*/ 22244 w 251964"/>
                <a:gd name="connsiteY120" fmla="*/ 56692 h 75589"/>
                <a:gd name="connsiteX121" fmla="*/ 28543 w 251964"/>
                <a:gd name="connsiteY121" fmla="*/ 54173 h 75589"/>
                <a:gd name="connsiteX122" fmla="*/ 34843 w 251964"/>
                <a:gd name="connsiteY122" fmla="*/ 51653 h 75589"/>
                <a:gd name="connsiteX123" fmla="*/ 26024 w 251964"/>
                <a:gd name="connsiteY123" fmla="*/ 56692 h 75589"/>
                <a:gd name="connsiteX124" fmla="*/ 26024 w 251964"/>
                <a:gd name="connsiteY124" fmla="*/ 56692 h 75589"/>
                <a:gd name="connsiteX125" fmla="*/ 15945 w 251964"/>
                <a:gd name="connsiteY125" fmla="*/ 62991 h 75589"/>
                <a:gd name="connsiteX126" fmla="*/ 12166 w 251964"/>
                <a:gd name="connsiteY126" fmla="*/ 64251 h 75589"/>
                <a:gd name="connsiteX127" fmla="*/ 8387 w 251964"/>
                <a:gd name="connsiteY127" fmla="*/ 6425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2" y="2520"/>
                  </a:cubicBezTo>
                  <a:cubicBezTo>
                    <a:pt x="250272" y="2520"/>
                    <a:pt x="249013" y="3780"/>
                    <a:pt x="249013" y="5040"/>
                  </a:cubicBezTo>
                  <a:lnTo>
                    <a:pt x="249013" y="5040"/>
                  </a:lnTo>
                  <a:lnTo>
                    <a:pt x="249013" y="5040"/>
                  </a:lnTo>
                  <a:lnTo>
                    <a:pt x="249013" y="5040"/>
                  </a:lnTo>
                  <a:cubicBezTo>
                    <a:pt x="247753" y="5040"/>
                    <a:pt x="245233" y="3780"/>
                    <a:pt x="242713" y="3780"/>
                  </a:cubicBezTo>
                  <a:cubicBezTo>
                    <a:pt x="240194" y="3780"/>
                    <a:pt x="237674" y="2520"/>
                    <a:pt x="235155" y="2520"/>
                  </a:cubicBezTo>
                  <a:lnTo>
                    <a:pt x="235155" y="2520"/>
                  </a:lnTo>
                  <a:cubicBezTo>
                    <a:pt x="232635" y="2520"/>
                    <a:pt x="231375" y="2520"/>
                    <a:pt x="228856" y="2520"/>
                  </a:cubicBezTo>
                  <a:lnTo>
                    <a:pt x="228856" y="2520"/>
                  </a:lnTo>
                  <a:cubicBezTo>
                    <a:pt x="223816" y="2520"/>
                    <a:pt x="220037" y="1260"/>
                    <a:pt x="214998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4" y="0"/>
                  </a:lnTo>
                  <a:cubicBezTo>
                    <a:pt x="170904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5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6" y="1260"/>
                    <a:pt x="148227" y="2520"/>
                    <a:pt x="146967" y="3780"/>
                  </a:cubicBezTo>
                  <a:cubicBezTo>
                    <a:pt x="143187" y="5040"/>
                    <a:pt x="139408" y="6299"/>
                    <a:pt x="135628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9"/>
                    <a:pt x="126810" y="12598"/>
                    <a:pt x="124290" y="12598"/>
                  </a:cubicBezTo>
                  <a:cubicBezTo>
                    <a:pt x="123030" y="12598"/>
                    <a:pt x="121771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2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8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4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5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8" y="28976"/>
                  </a:cubicBezTo>
                  <a:cubicBezTo>
                    <a:pt x="67598" y="30236"/>
                    <a:pt x="62559" y="31496"/>
                    <a:pt x="58780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3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6" y="52913"/>
                  </a:lnTo>
                  <a:cubicBezTo>
                    <a:pt x="13426" y="54173"/>
                    <a:pt x="10906" y="54173"/>
                    <a:pt x="9646" y="55433"/>
                  </a:cubicBezTo>
                  <a:cubicBezTo>
                    <a:pt x="7127" y="56692"/>
                    <a:pt x="5867" y="57952"/>
                    <a:pt x="3347" y="60472"/>
                  </a:cubicBezTo>
                  <a:cubicBezTo>
                    <a:pt x="2087" y="61732"/>
                    <a:pt x="828" y="62991"/>
                    <a:pt x="828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7" y="76849"/>
                  </a:cubicBezTo>
                  <a:cubicBezTo>
                    <a:pt x="10906" y="78109"/>
                    <a:pt x="12166" y="79369"/>
                    <a:pt x="14686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3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9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4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5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39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8" y="78109"/>
                    <a:pt x="217517" y="79369"/>
                  </a:cubicBezTo>
                  <a:cubicBezTo>
                    <a:pt x="218777" y="80629"/>
                    <a:pt x="220037" y="81889"/>
                    <a:pt x="222557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6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3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2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1" y="71810"/>
                    <a:pt x="257831" y="70550"/>
                  </a:cubicBezTo>
                  <a:cubicBezTo>
                    <a:pt x="257831" y="66771"/>
                    <a:pt x="257831" y="62991"/>
                    <a:pt x="257831" y="60472"/>
                  </a:cubicBezTo>
                  <a:cubicBezTo>
                    <a:pt x="257831" y="59212"/>
                    <a:pt x="257831" y="56692"/>
                    <a:pt x="257831" y="55433"/>
                  </a:cubicBezTo>
                  <a:cubicBezTo>
                    <a:pt x="257831" y="54173"/>
                    <a:pt x="257831" y="54173"/>
                    <a:pt x="257831" y="52913"/>
                  </a:cubicBezTo>
                  <a:cubicBezTo>
                    <a:pt x="257831" y="49133"/>
                    <a:pt x="257831" y="46614"/>
                    <a:pt x="257831" y="42834"/>
                  </a:cubicBezTo>
                  <a:lnTo>
                    <a:pt x="257831" y="40315"/>
                  </a:lnTo>
                  <a:lnTo>
                    <a:pt x="257831" y="36535"/>
                  </a:lnTo>
                  <a:cubicBezTo>
                    <a:pt x="257831" y="34015"/>
                    <a:pt x="257831" y="31496"/>
                    <a:pt x="257831" y="27716"/>
                  </a:cubicBezTo>
                  <a:cubicBezTo>
                    <a:pt x="257831" y="25196"/>
                    <a:pt x="257831" y="23937"/>
                    <a:pt x="257831" y="21417"/>
                  </a:cubicBezTo>
                  <a:cubicBezTo>
                    <a:pt x="257831" y="18897"/>
                    <a:pt x="257831" y="17638"/>
                    <a:pt x="257831" y="15118"/>
                  </a:cubicBezTo>
                  <a:cubicBezTo>
                    <a:pt x="257831" y="13858"/>
                    <a:pt x="257831" y="12598"/>
                    <a:pt x="256572" y="11339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40"/>
                  </a:cubicBezTo>
                  <a:cubicBezTo>
                    <a:pt x="255312" y="2520"/>
                    <a:pt x="254052" y="1260"/>
                    <a:pt x="252792" y="1260"/>
                  </a:cubicBezTo>
                  <a:moveTo>
                    <a:pt x="8387" y="64251"/>
                  </a:moveTo>
                  <a:cubicBezTo>
                    <a:pt x="9646" y="62991"/>
                    <a:pt x="10906" y="62991"/>
                    <a:pt x="12166" y="61732"/>
                  </a:cubicBezTo>
                  <a:cubicBezTo>
                    <a:pt x="13426" y="60472"/>
                    <a:pt x="14686" y="60472"/>
                    <a:pt x="15945" y="59212"/>
                  </a:cubicBezTo>
                  <a:lnTo>
                    <a:pt x="17205" y="59212"/>
                  </a:lnTo>
                  <a:cubicBezTo>
                    <a:pt x="18465" y="57952"/>
                    <a:pt x="19725" y="57952"/>
                    <a:pt x="20985" y="57952"/>
                  </a:cubicBezTo>
                  <a:lnTo>
                    <a:pt x="22244" y="56692"/>
                  </a:lnTo>
                  <a:cubicBezTo>
                    <a:pt x="23504" y="55433"/>
                    <a:pt x="26024" y="55433"/>
                    <a:pt x="28543" y="54173"/>
                  </a:cubicBezTo>
                  <a:cubicBezTo>
                    <a:pt x="31063" y="52913"/>
                    <a:pt x="33583" y="52913"/>
                    <a:pt x="34843" y="51653"/>
                  </a:cubicBezTo>
                  <a:cubicBezTo>
                    <a:pt x="32323" y="52913"/>
                    <a:pt x="28543" y="55433"/>
                    <a:pt x="26024" y="56692"/>
                  </a:cubicBezTo>
                  <a:lnTo>
                    <a:pt x="26024" y="56692"/>
                  </a:lnTo>
                  <a:cubicBezTo>
                    <a:pt x="22244" y="59212"/>
                    <a:pt x="19725" y="60472"/>
                    <a:pt x="15945" y="62991"/>
                  </a:cubicBezTo>
                  <a:cubicBezTo>
                    <a:pt x="14686" y="62991"/>
                    <a:pt x="13426" y="64251"/>
                    <a:pt x="12166" y="64251"/>
                  </a:cubicBezTo>
                  <a:cubicBezTo>
                    <a:pt x="10906" y="64251"/>
                    <a:pt x="9646" y="64251"/>
                    <a:pt x="8387" y="6425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3" name="任意多边形: 形状 10222"/>
            <p:cNvSpPr/>
            <p:nvPr/>
          </p:nvSpPr>
          <p:spPr>
            <a:xfrm>
              <a:off x="4954341" y="4700161"/>
              <a:ext cx="62991" cy="37795"/>
            </a:xfrm>
            <a:custGeom>
              <a:avLst/>
              <a:gdLst>
                <a:gd name="connsiteX0" fmla="*/ 73070 w 62991"/>
                <a:gd name="connsiteY0" fmla="*/ 2520 h 37794"/>
                <a:gd name="connsiteX1" fmla="*/ 74329 w 62991"/>
                <a:gd name="connsiteY1" fmla="*/ 6299 h 37794"/>
                <a:gd name="connsiteX2" fmla="*/ 71810 w 62991"/>
                <a:gd name="connsiteY2" fmla="*/ 11338 h 37794"/>
                <a:gd name="connsiteX3" fmla="*/ 66770 w 62991"/>
                <a:gd name="connsiteY3" fmla="*/ 13858 h 37794"/>
                <a:gd name="connsiteX4" fmla="*/ 64251 w 62991"/>
                <a:gd name="connsiteY4" fmla="*/ 15118 h 37794"/>
                <a:gd name="connsiteX5" fmla="*/ 57952 w 62991"/>
                <a:gd name="connsiteY5" fmla="*/ 17637 h 37794"/>
                <a:gd name="connsiteX6" fmla="*/ 45354 w 62991"/>
                <a:gd name="connsiteY6" fmla="*/ 22677 h 37794"/>
                <a:gd name="connsiteX7" fmla="*/ 13858 w 62991"/>
                <a:gd name="connsiteY7" fmla="*/ 36535 h 37794"/>
                <a:gd name="connsiteX8" fmla="*/ 11338 w 62991"/>
                <a:gd name="connsiteY8" fmla="*/ 37795 h 37794"/>
                <a:gd name="connsiteX9" fmla="*/ 6299 w 62991"/>
                <a:gd name="connsiteY9" fmla="*/ 37795 h 37794"/>
                <a:gd name="connsiteX10" fmla="*/ 1260 w 62991"/>
                <a:gd name="connsiteY10" fmla="*/ 34015 h 37794"/>
                <a:gd name="connsiteX11" fmla="*/ 0 w 62991"/>
                <a:gd name="connsiteY11" fmla="*/ 27716 h 37794"/>
                <a:gd name="connsiteX12" fmla="*/ 3779 w 62991"/>
                <a:gd name="connsiteY12" fmla="*/ 22677 h 37794"/>
                <a:gd name="connsiteX13" fmla="*/ 35275 w 62991"/>
                <a:gd name="connsiteY13" fmla="*/ 10079 h 37794"/>
                <a:gd name="connsiteX14" fmla="*/ 62991 w 62991"/>
                <a:gd name="connsiteY14" fmla="*/ 0 h 37794"/>
                <a:gd name="connsiteX15" fmla="*/ 65511 w 62991"/>
                <a:gd name="connsiteY15" fmla="*/ 0 h 37794"/>
                <a:gd name="connsiteX16" fmla="*/ 73070 w 62991"/>
                <a:gd name="connsiteY16" fmla="*/ 2520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520"/>
                  </a:moveTo>
                  <a:cubicBezTo>
                    <a:pt x="73070" y="3780"/>
                    <a:pt x="74329" y="5039"/>
                    <a:pt x="74329" y="6299"/>
                  </a:cubicBezTo>
                  <a:cubicBezTo>
                    <a:pt x="74329" y="7559"/>
                    <a:pt x="73070" y="10079"/>
                    <a:pt x="71810" y="11338"/>
                  </a:cubicBezTo>
                  <a:cubicBezTo>
                    <a:pt x="70550" y="12598"/>
                    <a:pt x="69290" y="13858"/>
                    <a:pt x="66770" y="13858"/>
                  </a:cubicBezTo>
                  <a:cubicBezTo>
                    <a:pt x="65511" y="13858"/>
                    <a:pt x="64251" y="15118"/>
                    <a:pt x="64251" y="15118"/>
                  </a:cubicBezTo>
                  <a:cubicBezTo>
                    <a:pt x="61731" y="16378"/>
                    <a:pt x="60471" y="17637"/>
                    <a:pt x="57952" y="17637"/>
                  </a:cubicBezTo>
                  <a:cubicBezTo>
                    <a:pt x="54172" y="20157"/>
                    <a:pt x="50393" y="21417"/>
                    <a:pt x="45354" y="22677"/>
                  </a:cubicBezTo>
                  <a:cubicBezTo>
                    <a:pt x="35275" y="27716"/>
                    <a:pt x="23937" y="31496"/>
                    <a:pt x="13858" y="36535"/>
                  </a:cubicBezTo>
                  <a:cubicBezTo>
                    <a:pt x="12598" y="36535"/>
                    <a:pt x="12598" y="36535"/>
                    <a:pt x="11338" y="37795"/>
                  </a:cubicBezTo>
                  <a:cubicBezTo>
                    <a:pt x="10078" y="37795"/>
                    <a:pt x="8819" y="37795"/>
                    <a:pt x="6299" y="37795"/>
                  </a:cubicBezTo>
                  <a:cubicBezTo>
                    <a:pt x="3779" y="37795"/>
                    <a:pt x="2519" y="35275"/>
                    <a:pt x="1260" y="34015"/>
                  </a:cubicBezTo>
                  <a:cubicBezTo>
                    <a:pt x="0" y="31496"/>
                    <a:pt x="0" y="30236"/>
                    <a:pt x="0" y="27716"/>
                  </a:cubicBezTo>
                  <a:cubicBezTo>
                    <a:pt x="0" y="26456"/>
                    <a:pt x="2519" y="23937"/>
                    <a:pt x="3779" y="22677"/>
                  </a:cubicBezTo>
                  <a:cubicBezTo>
                    <a:pt x="13858" y="18897"/>
                    <a:pt x="25196" y="13858"/>
                    <a:pt x="35275" y="10079"/>
                  </a:cubicBezTo>
                  <a:cubicBezTo>
                    <a:pt x="44094" y="6299"/>
                    <a:pt x="52912" y="2520"/>
                    <a:pt x="62991" y="0"/>
                  </a:cubicBezTo>
                  <a:cubicBezTo>
                    <a:pt x="64251" y="0"/>
                    <a:pt x="64251" y="0"/>
                    <a:pt x="65511" y="0"/>
                  </a:cubicBezTo>
                  <a:cubicBezTo>
                    <a:pt x="69290" y="0"/>
                    <a:pt x="71810" y="1260"/>
                    <a:pt x="73070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4" name="任意多边形: 形状 10223"/>
            <p:cNvSpPr/>
            <p:nvPr/>
          </p:nvSpPr>
          <p:spPr>
            <a:xfrm>
              <a:off x="4941742" y="4687003"/>
              <a:ext cx="226768" cy="50393"/>
            </a:xfrm>
            <a:custGeom>
              <a:avLst/>
              <a:gdLst>
                <a:gd name="connsiteX0" fmla="*/ 99526 w 226768"/>
                <a:gd name="connsiteY0" fmla="*/ 560 h 50392"/>
                <a:gd name="connsiteX1" fmla="*/ 99526 w 226768"/>
                <a:gd name="connsiteY1" fmla="*/ 560 h 50392"/>
                <a:gd name="connsiteX2" fmla="*/ 95747 w 226768"/>
                <a:gd name="connsiteY2" fmla="*/ 560 h 50392"/>
                <a:gd name="connsiteX3" fmla="*/ 68030 w 226768"/>
                <a:gd name="connsiteY3" fmla="*/ 10639 h 50392"/>
                <a:gd name="connsiteX4" fmla="*/ 56692 w 226768"/>
                <a:gd name="connsiteY4" fmla="*/ 15678 h 50392"/>
                <a:gd name="connsiteX5" fmla="*/ 46613 w 226768"/>
                <a:gd name="connsiteY5" fmla="*/ 19457 h 50392"/>
                <a:gd name="connsiteX6" fmla="*/ 23937 w 226768"/>
                <a:gd name="connsiteY6" fmla="*/ 29536 h 50392"/>
                <a:gd name="connsiteX7" fmla="*/ 12598 w 226768"/>
                <a:gd name="connsiteY7" fmla="*/ 35835 h 50392"/>
                <a:gd name="connsiteX8" fmla="*/ 7559 w 226768"/>
                <a:gd name="connsiteY8" fmla="*/ 39615 h 50392"/>
                <a:gd name="connsiteX9" fmla="*/ 2519 w 226768"/>
                <a:gd name="connsiteY9" fmla="*/ 43394 h 50392"/>
                <a:gd name="connsiteX10" fmla="*/ 0 w 226768"/>
                <a:gd name="connsiteY10" fmla="*/ 47174 h 50392"/>
                <a:gd name="connsiteX11" fmla="*/ 0 w 226768"/>
                <a:gd name="connsiteY11" fmla="*/ 49693 h 50392"/>
                <a:gd name="connsiteX12" fmla="*/ 0 w 226768"/>
                <a:gd name="connsiteY12" fmla="*/ 50953 h 50392"/>
                <a:gd name="connsiteX13" fmla="*/ 5039 w 226768"/>
                <a:gd name="connsiteY13" fmla="*/ 54733 h 50392"/>
                <a:gd name="connsiteX14" fmla="*/ 11338 w 226768"/>
                <a:gd name="connsiteY14" fmla="*/ 55992 h 50392"/>
                <a:gd name="connsiteX15" fmla="*/ 23937 w 226768"/>
                <a:gd name="connsiteY15" fmla="*/ 55992 h 50392"/>
                <a:gd name="connsiteX16" fmla="*/ 22677 w 226768"/>
                <a:gd name="connsiteY16" fmla="*/ 55992 h 50392"/>
                <a:gd name="connsiteX17" fmla="*/ 31496 w 226768"/>
                <a:gd name="connsiteY17" fmla="*/ 55992 h 50392"/>
                <a:gd name="connsiteX18" fmla="*/ 41574 w 226768"/>
                <a:gd name="connsiteY18" fmla="*/ 55992 h 50392"/>
                <a:gd name="connsiteX19" fmla="*/ 57952 w 226768"/>
                <a:gd name="connsiteY19" fmla="*/ 55992 h 50392"/>
                <a:gd name="connsiteX20" fmla="*/ 75589 w 226768"/>
                <a:gd name="connsiteY20" fmla="*/ 55992 h 50392"/>
                <a:gd name="connsiteX21" fmla="*/ 74329 w 226768"/>
                <a:gd name="connsiteY21" fmla="*/ 55992 h 50392"/>
                <a:gd name="connsiteX22" fmla="*/ 84408 w 226768"/>
                <a:gd name="connsiteY22" fmla="*/ 55992 h 50392"/>
                <a:gd name="connsiteX23" fmla="*/ 94487 w 226768"/>
                <a:gd name="connsiteY23" fmla="*/ 55992 h 50392"/>
                <a:gd name="connsiteX24" fmla="*/ 105825 w 226768"/>
                <a:gd name="connsiteY24" fmla="*/ 55992 h 50392"/>
                <a:gd name="connsiteX25" fmla="*/ 104565 w 226768"/>
                <a:gd name="connsiteY25" fmla="*/ 55992 h 50392"/>
                <a:gd name="connsiteX26" fmla="*/ 114644 w 226768"/>
                <a:gd name="connsiteY26" fmla="*/ 55992 h 50392"/>
                <a:gd name="connsiteX27" fmla="*/ 124722 w 226768"/>
                <a:gd name="connsiteY27" fmla="*/ 55992 h 50392"/>
                <a:gd name="connsiteX28" fmla="*/ 134801 w 226768"/>
                <a:gd name="connsiteY28" fmla="*/ 54733 h 50392"/>
                <a:gd name="connsiteX29" fmla="*/ 144880 w 226768"/>
                <a:gd name="connsiteY29" fmla="*/ 54733 h 50392"/>
                <a:gd name="connsiteX30" fmla="*/ 156218 w 226768"/>
                <a:gd name="connsiteY30" fmla="*/ 54733 h 50392"/>
                <a:gd name="connsiteX31" fmla="*/ 162517 w 226768"/>
                <a:gd name="connsiteY31" fmla="*/ 54733 h 50392"/>
                <a:gd name="connsiteX32" fmla="*/ 167556 w 226768"/>
                <a:gd name="connsiteY32" fmla="*/ 54733 h 50392"/>
                <a:gd name="connsiteX33" fmla="*/ 190233 w 226768"/>
                <a:gd name="connsiteY33" fmla="*/ 55992 h 50392"/>
                <a:gd name="connsiteX34" fmla="*/ 201572 w 226768"/>
                <a:gd name="connsiteY34" fmla="*/ 55992 h 50392"/>
                <a:gd name="connsiteX35" fmla="*/ 214170 w 226768"/>
                <a:gd name="connsiteY35" fmla="*/ 54733 h 50392"/>
                <a:gd name="connsiteX36" fmla="*/ 219209 w 226768"/>
                <a:gd name="connsiteY36" fmla="*/ 54733 h 50392"/>
                <a:gd name="connsiteX37" fmla="*/ 221729 w 226768"/>
                <a:gd name="connsiteY37" fmla="*/ 54733 h 50392"/>
                <a:gd name="connsiteX38" fmla="*/ 225508 w 226768"/>
                <a:gd name="connsiteY38" fmla="*/ 53473 h 50392"/>
                <a:gd name="connsiteX39" fmla="*/ 228028 w 226768"/>
                <a:gd name="connsiteY39" fmla="*/ 52213 h 50392"/>
                <a:gd name="connsiteX40" fmla="*/ 230548 w 226768"/>
                <a:gd name="connsiteY40" fmla="*/ 49693 h 50392"/>
                <a:gd name="connsiteX41" fmla="*/ 233067 w 226768"/>
                <a:gd name="connsiteY41" fmla="*/ 47174 h 50392"/>
                <a:gd name="connsiteX42" fmla="*/ 236847 w 226768"/>
                <a:gd name="connsiteY42" fmla="*/ 42134 h 50392"/>
                <a:gd name="connsiteX43" fmla="*/ 238107 w 226768"/>
                <a:gd name="connsiteY43" fmla="*/ 39615 h 50392"/>
                <a:gd name="connsiteX44" fmla="*/ 236847 w 226768"/>
                <a:gd name="connsiteY44" fmla="*/ 37095 h 50392"/>
                <a:gd name="connsiteX45" fmla="*/ 234327 w 226768"/>
                <a:gd name="connsiteY45" fmla="*/ 35835 h 50392"/>
                <a:gd name="connsiteX46" fmla="*/ 231807 w 226768"/>
                <a:gd name="connsiteY46" fmla="*/ 37095 h 50392"/>
                <a:gd name="connsiteX47" fmla="*/ 228028 w 226768"/>
                <a:gd name="connsiteY47" fmla="*/ 42134 h 50392"/>
                <a:gd name="connsiteX48" fmla="*/ 226768 w 226768"/>
                <a:gd name="connsiteY48" fmla="*/ 44654 h 50392"/>
                <a:gd name="connsiteX49" fmla="*/ 225508 w 226768"/>
                <a:gd name="connsiteY49" fmla="*/ 47174 h 50392"/>
                <a:gd name="connsiteX50" fmla="*/ 224248 w 226768"/>
                <a:gd name="connsiteY50" fmla="*/ 47174 h 50392"/>
                <a:gd name="connsiteX51" fmla="*/ 222988 w 226768"/>
                <a:gd name="connsiteY51" fmla="*/ 47174 h 50392"/>
                <a:gd name="connsiteX52" fmla="*/ 214170 w 226768"/>
                <a:gd name="connsiteY52" fmla="*/ 48433 h 50392"/>
                <a:gd name="connsiteX53" fmla="*/ 204091 w 226768"/>
                <a:gd name="connsiteY53" fmla="*/ 48433 h 50392"/>
                <a:gd name="connsiteX54" fmla="*/ 183934 w 226768"/>
                <a:gd name="connsiteY54" fmla="*/ 48433 h 50392"/>
                <a:gd name="connsiteX55" fmla="*/ 168816 w 226768"/>
                <a:gd name="connsiteY55" fmla="*/ 48433 h 50392"/>
                <a:gd name="connsiteX56" fmla="*/ 152439 w 226768"/>
                <a:gd name="connsiteY56" fmla="*/ 48433 h 50392"/>
                <a:gd name="connsiteX57" fmla="*/ 153698 w 226768"/>
                <a:gd name="connsiteY57" fmla="*/ 48433 h 50392"/>
                <a:gd name="connsiteX58" fmla="*/ 151179 w 226768"/>
                <a:gd name="connsiteY58" fmla="*/ 48433 h 50392"/>
                <a:gd name="connsiteX59" fmla="*/ 138581 w 226768"/>
                <a:gd name="connsiteY59" fmla="*/ 48433 h 50392"/>
                <a:gd name="connsiteX60" fmla="*/ 125982 w 226768"/>
                <a:gd name="connsiteY60" fmla="*/ 49693 h 50392"/>
                <a:gd name="connsiteX61" fmla="*/ 113384 w 226768"/>
                <a:gd name="connsiteY61" fmla="*/ 49693 h 50392"/>
                <a:gd name="connsiteX62" fmla="*/ 102046 w 226768"/>
                <a:gd name="connsiteY62" fmla="*/ 49693 h 50392"/>
                <a:gd name="connsiteX63" fmla="*/ 91967 w 226768"/>
                <a:gd name="connsiteY63" fmla="*/ 49693 h 50392"/>
                <a:gd name="connsiteX64" fmla="*/ 80629 w 226768"/>
                <a:gd name="connsiteY64" fmla="*/ 49693 h 50392"/>
                <a:gd name="connsiteX65" fmla="*/ 81889 w 226768"/>
                <a:gd name="connsiteY65" fmla="*/ 49693 h 50392"/>
                <a:gd name="connsiteX66" fmla="*/ 66770 w 226768"/>
                <a:gd name="connsiteY66" fmla="*/ 49693 h 50392"/>
                <a:gd name="connsiteX67" fmla="*/ 59211 w 226768"/>
                <a:gd name="connsiteY67" fmla="*/ 49693 h 50392"/>
                <a:gd name="connsiteX68" fmla="*/ 52912 w 226768"/>
                <a:gd name="connsiteY68" fmla="*/ 49693 h 50392"/>
                <a:gd name="connsiteX69" fmla="*/ 41574 w 226768"/>
                <a:gd name="connsiteY69" fmla="*/ 49693 h 50392"/>
                <a:gd name="connsiteX70" fmla="*/ 35275 w 226768"/>
                <a:gd name="connsiteY70" fmla="*/ 49693 h 50392"/>
                <a:gd name="connsiteX71" fmla="*/ 30236 w 226768"/>
                <a:gd name="connsiteY71" fmla="*/ 49693 h 50392"/>
                <a:gd name="connsiteX72" fmla="*/ 25196 w 226768"/>
                <a:gd name="connsiteY72" fmla="*/ 49693 h 50392"/>
                <a:gd name="connsiteX73" fmla="*/ 18897 w 226768"/>
                <a:gd name="connsiteY73" fmla="*/ 49693 h 50392"/>
                <a:gd name="connsiteX74" fmla="*/ 16378 w 226768"/>
                <a:gd name="connsiteY74" fmla="*/ 49693 h 50392"/>
                <a:gd name="connsiteX75" fmla="*/ 18897 w 226768"/>
                <a:gd name="connsiteY75" fmla="*/ 48433 h 50392"/>
                <a:gd name="connsiteX76" fmla="*/ 26456 w 226768"/>
                <a:gd name="connsiteY76" fmla="*/ 43394 h 50392"/>
                <a:gd name="connsiteX77" fmla="*/ 35275 w 226768"/>
                <a:gd name="connsiteY77" fmla="*/ 39615 h 50392"/>
                <a:gd name="connsiteX78" fmla="*/ 54172 w 226768"/>
                <a:gd name="connsiteY78" fmla="*/ 32056 h 50392"/>
                <a:gd name="connsiteX79" fmla="*/ 78109 w 226768"/>
                <a:gd name="connsiteY79" fmla="*/ 23237 h 50392"/>
                <a:gd name="connsiteX80" fmla="*/ 100786 w 226768"/>
                <a:gd name="connsiteY80" fmla="*/ 13158 h 50392"/>
                <a:gd name="connsiteX81" fmla="*/ 103305 w 226768"/>
                <a:gd name="connsiteY81" fmla="*/ 8119 h 50392"/>
                <a:gd name="connsiteX82" fmla="*/ 99526 w 226768"/>
                <a:gd name="connsiteY82" fmla="*/ 560 h 50392"/>
                <a:gd name="connsiteX83" fmla="*/ 17637 w 226768"/>
                <a:gd name="connsiteY83" fmla="*/ 43394 h 50392"/>
                <a:gd name="connsiteX84" fmla="*/ 17637 w 226768"/>
                <a:gd name="connsiteY84" fmla="*/ 43394 h 50392"/>
                <a:gd name="connsiteX85" fmla="*/ 17637 w 226768"/>
                <a:gd name="connsiteY85" fmla="*/ 43394 h 50392"/>
                <a:gd name="connsiteX86" fmla="*/ 7559 w 226768"/>
                <a:gd name="connsiteY86" fmla="*/ 44654 h 50392"/>
                <a:gd name="connsiteX87" fmla="*/ 7559 w 226768"/>
                <a:gd name="connsiteY87" fmla="*/ 44654 h 50392"/>
                <a:gd name="connsiteX88" fmla="*/ 7559 w 226768"/>
                <a:gd name="connsiteY88" fmla="*/ 44654 h 50392"/>
                <a:gd name="connsiteX89" fmla="*/ 85668 w 226768"/>
                <a:gd name="connsiteY89" fmla="*/ 53473 h 50392"/>
                <a:gd name="connsiteX90" fmla="*/ 85668 w 226768"/>
                <a:gd name="connsiteY90" fmla="*/ 53473 h 50392"/>
                <a:gd name="connsiteX91" fmla="*/ 85668 w 226768"/>
                <a:gd name="connsiteY91" fmla="*/ 53473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560"/>
                  </a:moveTo>
                  <a:cubicBezTo>
                    <a:pt x="99526" y="560"/>
                    <a:pt x="98266" y="-700"/>
                    <a:pt x="99526" y="560"/>
                  </a:cubicBezTo>
                  <a:cubicBezTo>
                    <a:pt x="98266" y="560"/>
                    <a:pt x="97006" y="560"/>
                    <a:pt x="95747" y="560"/>
                  </a:cubicBezTo>
                  <a:cubicBezTo>
                    <a:pt x="86928" y="3080"/>
                    <a:pt x="78109" y="6859"/>
                    <a:pt x="68030" y="10639"/>
                  </a:cubicBezTo>
                  <a:cubicBezTo>
                    <a:pt x="64251" y="11898"/>
                    <a:pt x="60471" y="13158"/>
                    <a:pt x="56692" y="15678"/>
                  </a:cubicBezTo>
                  <a:cubicBezTo>
                    <a:pt x="52912" y="16938"/>
                    <a:pt x="49133" y="18197"/>
                    <a:pt x="46613" y="19457"/>
                  </a:cubicBezTo>
                  <a:cubicBezTo>
                    <a:pt x="39055" y="23237"/>
                    <a:pt x="31496" y="25756"/>
                    <a:pt x="23937" y="29536"/>
                  </a:cubicBezTo>
                  <a:cubicBezTo>
                    <a:pt x="20157" y="32056"/>
                    <a:pt x="16378" y="33315"/>
                    <a:pt x="12598" y="35835"/>
                  </a:cubicBezTo>
                  <a:cubicBezTo>
                    <a:pt x="11338" y="37095"/>
                    <a:pt x="8819" y="38355"/>
                    <a:pt x="7559" y="39615"/>
                  </a:cubicBezTo>
                  <a:cubicBezTo>
                    <a:pt x="6299" y="40874"/>
                    <a:pt x="3779" y="42134"/>
                    <a:pt x="2519" y="43394"/>
                  </a:cubicBezTo>
                  <a:cubicBezTo>
                    <a:pt x="1260" y="44654"/>
                    <a:pt x="0" y="45914"/>
                    <a:pt x="0" y="47174"/>
                  </a:cubicBezTo>
                  <a:cubicBezTo>
                    <a:pt x="0" y="48433"/>
                    <a:pt x="0" y="48433"/>
                    <a:pt x="0" y="49693"/>
                  </a:cubicBezTo>
                  <a:cubicBezTo>
                    <a:pt x="0" y="49693"/>
                    <a:pt x="0" y="50953"/>
                    <a:pt x="0" y="50953"/>
                  </a:cubicBezTo>
                  <a:cubicBezTo>
                    <a:pt x="1260" y="52213"/>
                    <a:pt x="2519" y="53473"/>
                    <a:pt x="5039" y="54733"/>
                  </a:cubicBezTo>
                  <a:cubicBezTo>
                    <a:pt x="6299" y="54733"/>
                    <a:pt x="8819" y="55992"/>
                    <a:pt x="11338" y="55992"/>
                  </a:cubicBezTo>
                  <a:cubicBezTo>
                    <a:pt x="15118" y="55992"/>
                    <a:pt x="18897" y="55992"/>
                    <a:pt x="23937" y="55992"/>
                  </a:cubicBezTo>
                  <a:cubicBezTo>
                    <a:pt x="23937" y="55992"/>
                    <a:pt x="22677" y="55992"/>
                    <a:pt x="22677" y="55992"/>
                  </a:cubicBezTo>
                  <a:cubicBezTo>
                    <a:pt x="25196" y="55992"/>
                    <a:pt x="28976" y="55992"/>
                    <a:pt x="31496" y="55992"/>
                  </a:cubicBezTo>
                  <a:cubicBezTo>
                    <a:pt x="35275" y="55992"/>
                    <a:pt x="37795" y="55992"/>
                    <a:pt x="41574" y="55992"/>
                  </a:cubicBezTo>
                  <a:cubicBezTo>
                    <a:pt x="46613" y="55992"/>
                    <a:pt x="52912" y="55992"/>
                    <a:pt x="57952" y="55992"/>
                  </a:cubicBezTo>
                  <a:cubicBezTo>
                    <a:pt x="64251" y="55992"/>
                    <a:pt x="70550" y="55992"/>
                    <a:pt x="75589" y="55992"/>
                  </a:cubicBezTo>
                  <a:cubicBezTo>
                    <a:pt x="75589" y="55992"/>
                    <a:pt x="75589" y="55992"/>
                    <a:pt x="74329" y="55992"/>
                  </a:cubicBezTo>
                  <a:cubicBezTo>
                    <a:pt x="78109" y="55992"/>
                    <a:pt x="80629" y="55992"/>
                    <a:pt x="84408" y="55992"/>
                  </a:cubicBezTo>
                  <a:cubicBezTo>
                    <a:pt x="88188" y="55992"/>
                    <a:pt x="90707" y="55992"/>
                    <a:pt x="94487" y="55992"/>
                  </a:cubicBezTo>
                  <a:cubicBezTo>
                    <a:pt x="98266" y="55992"/>
                    <a:pt x="102046" y="55992"/>
                    <a:pt x="105825" y="55992"/>
                  </a:cubicBezTo>
                  <a:lnTo>
                    <a:pt x="104565" y="55992"/>
                  </a:lnTo>
                  <a:cubicBezTo>
                    <a:pt x="108345" y="55992"/>
                    <a:pt x="110864" y="55992"/>
                    <a:pt x="114644" y="55992"/>
                  </a:cubicBezTo>
                  <a:cubicBezTo>
                    <a:pt x="118423" y="55992"/>
                    <a:pt x="122203" y="55992"/>
                    <a:pt x="124722" y="55992"/>
                  </a:cubicBezTo>
                  <a:cubicBezTo>
                    <a:pt x="128502" y="55992"/>
                    <a:pt x="131022" y="55992"/>
                    <a:pt x="134801" y="54733"/>
                  </a:cubicBezTo>
                  <a:cubicBezTo>
                    <a:pt x="138581" y="54733"/>
                    <a:pt x="141100" y="54733"/>
                    <a:pt x="144880" y="54733"/>
                  </a:cubicBezTo>
                  <a:cubicBezTo>
                    <a:pt x="148659" y="54733"/>
                    <a:pt x="152439" y="54733"/>
                    <a:pt x="156218" y="54733"/>
                  </a:cubicBezTo>
                  <a:cubicBezTo>
                    <a:pt x="158738" y="54733"/>
                    <a:pt x="159997" y="54733"/>
                    <a:pt x="162517" y="54733"/>
                  </a:cubicBezTo>
                  <a:cubicBezTo>
                    <a:pt x="163777" y="54733"/>
                    <a:pt x="166296" y="54733"/>
                    <a:pt x="167556" y="54733"/>
                  </a:cubicBezTo>
                  <a:cubicBezTo>
                    <a:pt x="175115" y="54733"/>
                    <a:pt x="182674" y="55992"/>
                    <a:pt x="190233" y="55992"/>
                  </a:cubicBezTo>
                  <a:cubicBezTo>
                    <a:pt x="194013" y="55992"/>
                    <a:pt x="197792" y="55992"/>
                    <a:pt x="201572" y="55992"/>
                  </a:cubicBezTo>
                  <a:cubicBezTo>
                    <a:pt x="205351" y="55992"/>
                    <a:pt x="210390" y="55992"/>
                    <a:pt x="214170" y="54733"/>
                  </a:cubicBezTo>
                  <a:cubicBezTo>
                    <a:pt x="215430" y="54733"/>
                    <a:pt x="217949" y="54733"/>
                    <a:pt x="219209" y="54733"/>
                  </a:cubicBezTo>
                  <a:cubicBezTo>
                    <a:pt x="220469" y="54733"/>
                    <a:pt x="220469" y="54733"/>
                    <a:pt x="221729" y="54733"/>
                  </a:cubicBezTo>
                  <a:cubicBezTo>
                    <a:pt x="222988" y="54733"/>
                    <a:pt x="224248" y="54733"/>
                    <a:pt x="225508" y="53473"/>
                  </a:cubicBezTo>
                  <a:cubicBezTo>
                    <a:pt x="226768" y="53473"/>
                    <a:pt x="226768" y="52213"/>
                    <a:pt x="228028" y="52213"/>
                  </a:cubicBezTo>
                  <a:cubicBezTo>
                    <a:pt x="229288" y="50953"/>
                    <a:pt x="229288" y="50953"/>
                    <a:pt x="230548" y="49693"/>
                  </a:cubicBezTo>
                  <a:cubicBezTo>
                    <a:pt x="230548" y="48433"/>
                    <a:pt x="231807" y="48433"/>
                    <a:pt x="233067" y="47174"/>
                  </a:cubicBezTo>
                  <a:cubicBezTo>
                    <a:pt x="234327" y="45914"/>
                    <a:pt x="235587" y="43394"/>
                    <a:pt x="236847" y="42134"/>
                  </a:cubicBezTo>
                  <a:cubicBezTo>
                    <a:pt x="238107" y="40874"/>
                    <a:pt x="238107" y="39615"/>
                    <a:pt x="238107" y="39615"/>
                  </a:cubicBezTo>
                  <a:cubicBezTo>
                    <a:pt x="238107" y="38355"/>
                    <a:pt x="236847" y="37095"/>
                    <a:pt x="236847" y="37095"/>
                  </a:cubicBezTo>
                  <a:cubicBezTo>
                    <a:pt x="235587" y="37095"/>
                    <a:pt x="234327" y="35835"/>
                    <a:pt x="234327" y="35835"/>
                  </a:cubicBezTo>
                  <a:cubicBezTo>
                    <a:pt x="233067" y="35835"/>
                    <a:pt x="231807" y="37095"/>
                    <a:pt x="231807" y="37095"/>
                  </a:cubicBezTo>
                  <a:cubicBezTo>
                    <a:pt x="230548" y="38355"/>
                    <a:pt x="229288" y="40874"/>
                    <a:pt x="228028" y="42134"/>
                  </a:cubicBezTo>
                  <a:cubicBezTo>
                    <a:pt x="226768" y="43394"/>
                    <a:pt x="226768" y="43394"/>
                    <a:pt x="226768" y="44654"/>
                  </a:cubicBezTo>
                  <a:cubicBezTo>
                    <a:pt x="226768" y="45914"/>
                    <a:pt x="225508" y="45914"/>
                    <a:pt x="225508" y="47174"/>
                  </a:cubicBezTo>
                  <a:cubicBezTo>
                    <a:pt x="225508" y="47174"/>
                    <a:pt x="225508" y="47174"/>
                    <a:pt x="224248" y="47174"/>
                  </a:cubicBezTo>
                  <a:cubicBezTo>
                    <a:pt x="224248" y="47174"/>
                    <a:pt x="222988" y="47174"/>
                    <a:pt x="222988" y="47174"/>
                  </a:cubicBezTo>
                  <a:cubicBezTo>
                    <a:pt x="220469" y="48433"/>
                    <a:pt x="216689" y="48433"/>
                    <a:pt x="214170" y="48433"/>
                  </a:cubicBezTo>
                  <a:cubicBezTo>
                    <a:pt x="210390" y="48433"/>
                    <a:pt x="206611" y="48433"/>
                    <a:pt x="204091" y="48433"/>
                  </a:cubicBezTo>
                  <a:cubicBezTo>
                    <a:pt x="197792" y="48433"/>
                    <a:pt x="190233" y="48433"/>
                    <a:pt x="183934" y="48433"/>
                  </a:cubicBezTo>
                  <a:cubicBezTo>
                    <a:pt x="178895" y="48433"/>
                    <a:pt x="173855" y="48433"/>
                    <a:pt x="168816" y="48433"/>
                  </a:cubicBezTo>
                  <a:cubicBezTo>
                    <a:pt x="163777" y="48433"/>
                    <a:pt x="157478" y="48433"/>
                    <a:pt x="152439" y="48433"/>
                  </a:cubicBezTo>
                  <a:lnTo>
                    <a:pt x="153698" y="48433"/>
                  </a:lnTo>
                  <a:cubicBezTo>
                    <a:pt x="152439" y="48433"/>
                    <a:pt x="152439" y="48433"/>
                    <a:pt x="151179" y="48433"/>
                  </a:cubicBezTo>
                  <a:cubicBezTo>
                    <a:pt x="147399" y="48433"/>
                    <a:pt x="142360" y="48433"/>
                    <a:pt x="138581" y="48433"/>
                  </a:cubicBezTo>
                  <a:cubicBezTo>
                    <a:pt x="134801" y="48433"/>
                    <a:pt x="131022" y="48433"/>
                    <a:pt x="125982" y="49693"/>
                  </a:cubicBezTo>
                  <a:cubicBezTo>
                    <a:pt x="122203" y="49693"/>
                    <a:pt x="118423" y="49693"/>
                    <a:pt x="113384" y="49693"/>
                  </a:cubicBezTo>
                  <a:cubicBezTo>
                    <a:pt x="109604" y="49693"/>
                    <a:pt x="105825" y="49693"/>
                    <a:pt x="102046" y="49693"/>
                  </a:cubicBezTo>
                  <a:cubicBezTo>
                    <a:pt x="98266" y="49693"/>
                    <a:pt x="94487" y="49693"/>
                    <a:pt x="91967" y="49693"/>
                  </a:cubicBezTo>
                  <a:cubicBezTo>
                    <a:pt x="88188" y="49693"/>
                    <a:pt x="84408" y="49693"/>
                    <a:pt x="80629" y="49693"/>
                  </a:cubicBezTo>
                  <a:cubicBezTo>
                    <a:pt x="80629" y="49693"/>
                    <a:pt x="80629" y="49693"/>
                    <a:pt x="81889" y="49693"/>
                  </a:cubicBezTo>
                  <a:cubicBezTo>
                    <a:pt x="76849" y="49693"/>
                    <a:pt x="71810" y="49693"/>
                    <a:pt x="66770" y="49693"/>
                  </a:cubicBezTo>
                  <a:cubicBezTo>
                    <a:pt x="64251" y="49693"/>
                    <a:pt x="61731" y="49693"/>
                    <a:pt x="59211" y="49693"/>
                  </a:cubicBezTo>
                  <a:cubicBezTo>
                    <a:pt x="56692" y="49693"/>
                    <a:pt x="55432" y="49693"/>
                    <a:pt x="52912" y="49693"/>
                  </a:cubicBezTo>
                  <a:cubicBezTo>
                    <a:pt x="49133" y="49693"/>
                    <a:pt x="45354" y="49693"/>
                    <a:pt x="41574" y="49693"/>
                  </a:cubicBezTo>
                  <a:cubicBezTo>
                    <a:pt x="39055" y="49693"/>
                    <a:pt x="37795" y="49693"/>
                    <a:pt x="35275" y="49693"/>
                  </a:cubicBezTo>
                  <a:cubicBezTo>
                    <a:pt x="34015" y="49693"/>
                    <a:pt x="31496" y="49693"/>
                    <a:pt x="30236" y="49693"/>
                  </a:cubicBezTo>
                  <a:cubicBezTo>
                    <a:pt x="28976" y="49693"/>
                    <a:pt x="26456" y="49693"/>
                    <a:pt x="25196" y="49693"/>
                  </a:cubicBezTo>
                  <a:cubicBezTo>
                    <a:pt x="22677" y="49693"/>
                    <a:pt x="21417" y="49693"/>
                    <a:pt x="18897" y="49693"/>
                  </a:cubicBezTo>
                  <a:cubicBezTo>
                    <a:pt x="17637" y="49693"/>
                    <a:pt x="17637" y="49693"/>
                    <a:pt x="16378" y="49693"/>
                  </a:cubicBezTo>
                  <a:cubicBezTo>
                    <a:pt x="17637" y="49693"/>
                    <a:pt x="17637" y="48433"/>
                    <a:pt x="18897" y="48433"/>
                  </a:cubicBezTo>
                  <a:cubicBezTo>
                    <a:pt x="21417" y="47174"/>
                    <a:pt x="23937" y="45914"/>
                    <a:pt x="26456" y="43394"/>
                  </a:cubicBezTo>
                  <a:cubicBezTo>
                    <a:pt x="28976" y="42134"/>
                    <a:pt x="32755" y="40874"/>
                    <a:pt x="35275" y="39615"/>
                  </a:cubicBezTo>
                  <a:cubicBezTo>
                    <a:pt x="41574" y="37095"/>
                    <a:pt x="47873" y="34575"/>
                    <a:pt x="54172" y="32056"/>
                  </a:cubicBezTo>
                  <a:cubicBezTo>
                    <a:pt x="61731" y="28276"/>
                    <a:pt x="69290" y="25756"/>
                    <a:pt x="78109" y="23237"/>
                  </a:cubicBezTo>
                  <a:cubicBezTo>
                    <a:pt x="85668" y="20717"/>
                    <a:pt x="93227" y="16938"/>
                    <a:pt x="100786" y="13158"/>
                  </a:cubicBezTo>
                  <a:cubicBezTo>
                    <a:pt x="103305" y="11898"/>
                    <a:pt x="103305" y="9379"/>
                    <a:pt x="103305" y="8119"/>
                  </a:cubicBezTo>
                  <a:cubicBezTo>
                    <a:pt x="100786" y="1820"/>
                    <a:pt x="100786" y="560"/>
                    <a:pt x="99526" y="560"/>
                  </a:cubicBezTo>
                  <a:moveTo>
                    <a:pt x="17637" y="43394"/>
                  </a:moveTo>
                  <a:cubicBezTo>
                    <a:pt x="16378" y="43394"/>
                    <a:pt x="16378" y="43394"/>
                    <a:pt x="17637" y="43394"/>
                  </a:cubicBezTo>
                  <a:cubicBezTo>
                    <a:pt x="16378" y="43394"/>
                    <a:pt x="16378" y="43394"/>
                    <a:pt x="17637" y="43394"/>
                  </a:cubicBezTo>
                  <a:moveTo>
                    <a:pt x="7559" y="44654"/>
                  </a:moveTo>
                  <a:cubicBezTo>
                    <a:pt x="7559" y="44654"/>
                    <a:pt x="7559" y="44654"/>
                    <a:pt x="7559" y="44654"/>
                  </a:cubicBezTo>
                  <a:cubicBezTo>
                    <a:pt x="7559" y="44654"/>
                    <a:pt x="7559" y="44654"/>
                    <a:pt x="7559" y="44654"/>
                  </a:cubicBezTo>
                  <a:moveTo>
                    <a:pt x="85668" y="53473"/>
                  </a:moveTo>
                  <a:cubicBezTo>
                    <a:pt x="85668" y="53473"/>
                    <a:pt x="85668" y="53473"/>
                    <a:pt x="85668" y="53473"/>
                  </a:cubicBezTo>
                  <a:cubicBezTo>
                    <a:pt x="85668" y="53473"/>
                    <a:pt x="85668" y="53473"/>
                    <a:pt x="85668" y="5347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5" name="任意多边形: 形状 10224"/>
            <p:cNvSpPr/>
            <p:nvPr/>
          </p:nvSpPr>
          <p:spPr>
            <a:xfrm>
              <a:off x="5008019" y="4653548"/>
              <a:ext cx="201572" cy="50393"/>
            </a:xfrm>
            <a:custGeom>
              <a:avLst/>
              <a:gdLst>
                <a:gd name="connsiteX0" fmla="*/ 191988 w 201571"/>
                <a:gd name="connsiteY0" fmla="*/ 2519 h 50392"/>
                <a:gd name="connsiteX1" fmla="*/ 198287 w 201571"/>
                <a:gd name="connsiteY1" fmla="*/ 3779 h 50392"/>
                <a:gd name="connsiteX2" fmla="*/ 204586 w 201571"/>
                <a:gd name="connsiteY2" fmla="*/ 5039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8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6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8 h 50392"/>
                <a:gd name="connsiteX19" fmla="*/ 179389 w 201571"/>
                <a:gd name="connsiteY19" fmla="*/ 11338 h 50392"/>
                <a:gd name="connsiteX20" fmla="*/ 171830 w 201571"/>
                <a:gd name="connsiteY20" fmla="*/ 11338 h 50392"/>
                <a:gd name="connsiteX21" fmla="*/ 157972 w 201571"/>
                <a:gd name="connsiteY21" fmla="*/ 11338 h 50392"/>
                <a:gd name="connsiteX22" fmla="*/ 145374 w 201571"/>
                <a:gd name="connsiteY22" fmla="*/ 11338 h 50392"/>
                <a:gd name="connsiteX23" fmla="*/ 142855 w 201571"/>
                <a:gd name="connsiteY23" fmla="*/ 11338 h 50392"/>
                <a:gd name="connsiteX24" fmla="*/ 127736 w 201571"/>
                <a:gd name="connsiteY24" fmla="*/ 11338 h 50392"/>
                <a:gd name="connsiteX25" fmla="*/ 118918 w 201571"/>
                <a:gd name="connsiteY25" fmla="*/ 11338 h 50392"/>
                <a:gd name="connsiteX26" fmla="*/ 112618 w 201571"/>
                <a:gd name="connsiteY26" fmla="*/ 11338 h 50392"/>
                <a:gd name="connsiteX27" fmla="*/ 108839 w 201571"/>
                <a:gd name="connsiteY27" fmla="*/ 11338 h 50392"/>
                <a:gd name="connsiteX28" fmla="*/ 97501 w 201571"/>
                <a:gd name="connsiteY28" fmla="*/ 15118 h 50392"/>
                <a:gd name="connsiteX29" fmla="*/ 91202 w 201571"/>
                <a:gd name="connsiteY29" fmla="*/ 17637 h 50392"/>
                <a:gd name="connsiteX30" fmla="*/ 84903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3 h 50392"/>
                <a:gd name="connsiteX37" fmla="*/ 5533 w 201571"/>
                <a:gd name="connsiteY37" fmla="*/ 52912 h 50392"/>
                <a:gd name="connsiteX38" fmla="*/ 494 w 201571"/>
                <a:gd name="connsiteY38" fmla="*/ 50393 h 50392"/>
                <a:gd name="connsiteX39" fmla="*/ 3014 w 201571"/>
                <a:gd name="connsiteY39" fmla="*/ 45353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8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79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5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8 w 201571"/>
                <a:gd name="connsiteY61" fmla="*/ 2519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8" y="2519"/>
                  </a:moveTo>
                  <a:cubicBezTo>
                    <a:pt x="194507" y="2519"/>
                    <a:pt x="195767" y="2519"/>
                    <a:pt x="198287" y="3779"/>
                  </a:cubicBezTo>
                  <a:cubicBezTo>
                    <a:pt x="200806" y="3779"/>
                    <a:pt x="203326" y="3779"/>
                    <a:pt x="204586" y="5039"/>
                  </a:cubicBezTo>
                  <a:cubicBezTo>
                    <a:pt x="205846" y="5039"/>
                    <a:pt x="207105" y="503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8"/>
                  </a:cubicBezTo>
                  <a:cubicBezTo>
                    <a:pt x="210885" y="11338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6" y="37795"/>
                  </a:cubicBezTo>
                  <a:cubicBezTo>
                    <a:pt x="204586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7" y="13858"/>
                    <a:pt x="197027" y="12598"/>
                    <a:pt x="194507" y="12598"/>
                  </a:cubicBezTo>
                  <a:cubicBezTo>
                    <a:pt x="191988" y="12598"/>
                    <a:pt x="189468" y="11338"/>
                    <a:pt x="186948" y="11338"/>
                  </a:cubicBezTo>
                  <a:cubicBezTo>
                    <a:pt x="184429" y="11338"/>
                    <a:pt x="181909" y="11338"/>
                    <a:pt x="179389" y="11338"/>
                  </a:cubicBezTo>
                  <a:cubicBezTo>
                    <a:pt x="176870" y="11338"/>
                    <a:pt x="174350" y="11338"/>
                    <a:pt x="171830" y="11338"/>
                  </a:cubicBezTo>
                  <a:cubicBezTo>
                    <a:pt x="166791" y="11338"/>
                    <a:pt x="163011" y="11338"/>
                    <a:pt x="157972" y="11338"/>
                  </a:cubicBezTo>
                  <a:cubicBezTo>
                    <a:pt x="154193" y="11338"/>
                    <a:pt x="149154" y="11338"/>
                    <a:pt x="145374" y="11338"/>
                  </a:cubicBezTo>
                  <a:cubicBezTo>
                    <a:pt x="144114" y="11338"/>
                    <a:pt x="144114" y="11338"/>
                    <a:pt x="142855" y="11338"/>
                  </a:cubicBezTo>
                  <a:cubicBezTo>
                    <a:pt x="137815" y="11338"/>
                    <a:pt x="132776" y="11338"/>
                    <a:pt x="127736" y="11338"/>
                  </a:cubicBezTo>
                  <a:cubicBezTo>
                    <a:pt x="125217" y="11338"/>
                    <a:pt x="121437" y="11338"/>
                    <a:pt x="118918" y="11338"/>
                  </a:cubicBezTo>
                  <a:cubicBezTo>
                    <a:pt x="116398" y="11338"/>
                    <a:pt x="113878" y="11338"/>
                    <a:pt x="112618" y="11338"/>
                  </a:cubicBezTo>
                  <a:cubicBezTo>
                    <a:pt x="111359" y="11338"/>
                    <a:pt x="110099" y="11338"/>
                    <a:pt x="108839" y="11338"/>
                  </a:cubicBezTo>
                  <a:cubicBezTo>
                    <a:pt x="105060" y="12598"/>
                    <a:pt x="101280" y="13858"/>
                    <a:pt x="97501" y="15118"/>
                  </a:cubicBezTo>
                  <a:cubicBezTo>
                    <a:pt x="94981" y="16378"/>
                    <a:pt x="92462" y="16378"/>
                    <a:pt x="91202" y="17637"/>
                  </a:cubicBezTo>
                  <a:cubicBezTo>
                    <a:pt x="88682" y="18897"/>
                    <a:pt x="87422" y="18897"/>
                    <a:pt x="84903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9" y="36535"/>
                    <a:pt x="31990" y="41574"/>
                  </a:cubicBezTo>
                  <a:cubicBezTo>
                    <a:pt x="28211" y="42834"/>
                    <a:pt x="24431" y="45353"/>
                    <a:pt x="19392" y="46613"/>
                  </a:cubicBezTo>
                  <a:cubicBezTo>
                    <a:pt x="14352" y="49133"/>
                    <a:pt x="9313" y="51652"/>
                    <a:pt x="5533" y="52912"/>
                  </a:cubicBezTo>
                  <a:cubicBezTo>
                    <a:pt x="3014" y="54172"/>
                    <a:pt x="494" y="52912"/>
                    <a:pt x="494" y="50393"/>
                  </a:cubicBezTo>
                  <a:cubicBezTo>
                    <a:pt x="-766" y="47873"/>
                    <a:pt x="494" y="46613"/>
                    <a:pt x="3014" y="45353"/>
                  </a:cubicBezTo>
                  <a:cubicBezTo>
                    <a:pt x="8053" y="42834"/>
                    <a:pt x="13092" y="40314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10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7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8"/>
                  </a:cubicBezTo>
                  <a:cubicBezTo>
                    <a:pt x="79863" y="10078"/>
                    <a:pt x="81123" y="10078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2" y="5039"/>
                    <a:pt x="94981" y="5039"/>
                    <a:pt x="96241" y="3779"/>
                  </a:cubicBezTo>
                  <a:cubicBezTo>
                    <a:pt x="98761" y="2519"/>
                    <a:pt x="100020" y="2519"/>
                    <a:pt x="102540" y="1260"/>
                  </a:cubicBezTo>
                  <a:cubicBezTo>
                    <a:pt x="105060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6" y="0"/>
                    <a:pt x="137815" y="0"/>
                    <a:pt x="141595" y="0"/>
                  </a:cubicBezTo>
                  <a:cubicBezTo>
                    <a:pt x="149154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19"/>
                    <a:pt x="190728" y="2519"/>
                    <a:pt x="191988" y="2519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6" name="任意多边形: 形状 10225"/>
            <p:cNvSpPr/>
            <p:nvPr/>
          </p:nvSpPr>
          <p:spPr>
            <a:xfrm>
              <a:off x="4691470" y="4662366"/>
              <a:ext cx="251965" cy="75589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3 w 251964"/>
                <a:gd name="connsiteY2" fmla="*/ 2520 h 75589"/>
                <a:gd name="connsiteX3" fmla="*/ 249013 w 251964"/>
                <a:gd name="connsiteY3" fmla="*/ 5039 h 75589"/>
                <a:gd name="connsiteX4" fmla="*/ 249013 w 251964"/>
                <a:gd name="connsiteY4" fmla="*/ 5039 h 75589"/>
                <a:gd name="connsiteX5" fmla="*/ 249013 w 251964"/>
                <a:gd name="connsiteY5" fmla="*/ 5039 h 75589"/>
                <a:gd name="connsiteX6" fmla="*/ 249013 w 251964"/>
                <a:gd name="connsiteY6" fmla="*/ 5039 h 75589"/>
                <a:gd name="connsiteX7" fmla="*/ 242714 w 251964"/>
                <a:gd name="connsiteY7" fmla="*/ 3780 h 75589"/>
                <a:gd name="connsiteX8" fmla="*/ 235154 w 251964"/>
                <a:gd name="connsiteY8" fmla="*/ 2520 h 75589"/>
                <a:gd name="connsiteX9" fmla="*/ 235154 w 251964"/>
                <a:gd name="connsiteY9" fmla="*/ 2520 h 75589"/>
                <a:gd name="connsiteX10" fmla="*/ 228855 w 251964"/>
                <a:gd name="connsiteY10" fmla="*/ 2520 h 75589"/>
                <a:gd name="connsiteX11" fmla="*/ 228855 w 251964"/>
                <a:gd name="connsiteY11" fmla="*/ 2520 h 75589"/>
                <a:gd name="connsiteX12" fmla="*/ 214997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3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9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31849 w 251964"/>
                <a:gd name="connsiteY40" fmla="*/ 10079 h 75589"/>
                <a:gd name="connsiteX41" fmla="*/ 124290 w 251964"/>
                <a:gd name="connsiteY41" fmla="*/ 12598 h 75589"/>
                <a:gd name="connsiteX42" fmla="*/ 120511 w 251964"/>
                <a:gd name="connsiteY42" fmla="*/ 13858 h 75589"/>
                <a:gd name="connsiteX43" fmla="*/ 117991 w 251964"/>
                <a:gd name="connsiteY43" fmla="*/ 15118 h 75589"/>
                <a:gd name="connsiteX44" fmla="*/ 116731 w 251964"/>
                <a:gd name="connsiteY44" fmla="*/ 15118 h 75589"/>
                <a:gd name="connsiteX45" fmla="*/ 110432 w 251964"/>
                <a:gd name="connsiteY45" fmla="*/ 16378 h 75589"/>
                <a:gd name="connsiteX46" fmla="*/ 109172 w 251964"/>
                <a:gd name="connsiteY46" fmla="*/ 16378 h 75589"/>
                <a:gd name="connsiteX47" fmla="*/ 97834 w 251964"/>
                <a:gd name="connsiteY47" fmla="*/ 20157 h 75589"/>
                <a:gd name="connsiteX48" fmla="*/ 94055 w 251964"/>
                <a:gd name="connsiteY48" fmla="*/ 21417 h 75589"/>
                <a:gd name="connsiteX49" fmla="*/ 91535 w 251964"/>
                <a:gd name="connsiteY49" fmla="*/ 22677 h 75589"/>
                <a:gd name="connsiteX50" fmla="*/ 83976 w 251964"/>
                <a:gd name="connsiteY50" fmla="*/ 25196 h 75589"/>
                <a:gd name="connsiteX51" fmla="*/ 75157 w 251964"/>
                <a:gd name="connsiteY51" fmla="*/ 27716 h 75589"/>
                <a:gd name="connsiteX52" fmla="*/ 71377 w 251964"/>
                <a:gd name="connsiteY52" fmla="*/ 28976 h 75589"/>
                <a:gd name="connsiteX53" fmla="*/ 58779 w 251964"/>
                <a:gd name="connsiteY53" fmla="*/ 34015 h 75589"/>
                <a:gd name="connsiteX54" fmla="*/ 46181 w 251964"/>
                <a:gd name="connsiteY54" fmla="*/ 39055 h 75589"/>
                <a:gd name="connsiteX55" fmla="*/ 33583 w 251964"/>
                <a:gd name="connsiteY55" fmla="*/ 44094 h 75589"/>
                <a:gd name="connsiteX56" fmla="*/ 32323 w 251964"/>
                <a:gd name="connsiteY56" fmla="*/ 44094 h 75589"/>
                <a:gd name="connsiteX57" fmla="*/ 26024 w 251964"/>
                <a:gd name="connsiteY57" fmla="*/ 46614 h 75589"/>
                <a:gd name="connsiteX58" fmla="*/ 20985 w 251964"/>
                <a:gd name="connsiteY58" fmla="*/ 49133 h 75589"/>
                <a:gd name="connsiteX59" fmla="*/ 17205 w 251964"/>
                <a:gd name="connsiteY59" fmla="*/ 51653 h 75589"/>
                <a:gd name="connsiteX60" fmla="*/ 15945 w 251964"/>
                <a:gd name="connsiteY60" fmla="*/ 52913 h 75589"/>
                <a:gd name="connsiteX61" fmla="*/ 14685 w 251964"/>
                <a:gd name="connsiteY61" fmla="*/ 52913 h 75589"/>
                <a:gd name="connsiteX62" fmla="*/ 9646 w 251964"/>
                <a:gd name="connsiteY62" fmla="*/ 55432 h 75589"/>
                <a:gd name="connsiteX63" fmla="*/ 3347 w 251964"/>
                <a:gd name="connsiteY63" fmla="*/ 60472 h 75589"/>
                <a:gd name="connsiteX64" fmla="*/ 827 w 251964"/>
                <a:gd name="connsiteY64" fmla="*/ 64251 h 75589"/>
                <a:gd name="connsiteX65" fmla="*/ 2087 w 251964"/>
                <a:gd name="connsiteY65" fmla="*/ 71810 h 75589"/>
                <a:gd name="connsiteX66" fmla="*/ 8386 w 251964"/>
                <a:gd name="connsiteY66" fmla="*/ 76849 h 75589"/>
                <a:gd name="connsiteX67" fmla="*/ 14685 w 251964"/>
                <a:gd name="connsiteY67" fmla="*/ 79369 h 75589"/>
                <a:gd name="connsiteX68" fmla="*/ 27284 w 251964"/>
                <a:gd name="connsiteY68" fmla="*/ 80629 h 75589"/>
                <a:gd name="connsiteX69" fmla="*/ 28544 w 251964"/>
                <a:gd name="connsiteY69" fmla="*/ 80629 h 75589"/>
                <a:gd name="connsiteX70" fmla="*/ 33583 w 251964"/>
                <a:gd name="connsiteY70" fmla="*/ 80629 h 75589"/>
                <a:gd name="connsiteX71" fmla="*/ 34843 w 251964"/>
                <a:gd name="connsiteY71" fmla="*/ 80629 h 75589"/>
                <a:gd name="connsiteX72" fmla="*/ 41142 w 251964"/>
                <a:gd name="connsiteY72" fmla="*/ 80629 h 75589"/>
                <a:gd name="connsiteX73" fmla="*/ 41142 w 251964"/>
                <a:gd name="connsiteY73" fmla="*/ 80629 h 75589"/>
                <a:gd name="connsiteX74" fmla="*/ 55000 w 251964"/>
                <a:gd name="connsiteY74" fmla="*/ 80629 h 75589"/>
                <a:gd name="connsiteX75" fmla="*/ 68858 w 251964"/>
                <a:gd name="connsiteY75" fmla="*/ 79369 h 75589"/>
                <a:gd name="connsiteX76" fmla="*/ 68858 w 251964"/>
                <a:gd name="connsiteY76" fmla="*/ 79369 h 75589"/>
                <a:gd name="connsiteX77" fmla="*/ 78936 w 251964"/>
                <a:gd name="connsiteY77" fmla="*/ 78109 h 75589"/>
                <a:gd name="connsiteX78" fmla="*/ 81456 w 251964"/>
                <a:gd name="connsiteY78" fmla="*/ 78109 h 75589"/>
                <a:gd name="connsiteX79" fmla="*/ 100354 w 251964"/>
                <a:gd name="connsiteY79" fmla="*/ 76849 h 75589"/>
                <a:gd name="connsiteX80" fmla="*/ 106653 w 251964"/>
                <a:gd name="connsiteY80" fmla="*/ 76849 h 75589"/>
                <a:gd name="connsiteX81" fmla="*/ 155786 w 251964"/>
                <a:gd name="connsiteY81" fmla="*/ 78109 h 75589"/>
                <a:gd name="connsiteX82" fmla="*/ 162085 w 251964"/>
                <a:gd name="connsiteY82" fmla="*/ 78109 h 75589"/>
                <a:gd name="connsiteX83" fmla="*/ 169644 w 251964"/>
                <a:gd name="connsiteY83" fmla="*/ 78109 h 75589"/>
                <a:gd name="connsiteX84" fmla="*/ 184762 w 251964"/>
                <a:gd name="connsiteY84" fmla="*/ 78109 h 75589"/>
                <a:gd name="connsiteX85" fmla="*/ 198620 w 251964"/>
                <a:gd name="connsiteY85" fmla="*/ 76849 h 75589"/>
                <a:gd name="connsiteX86" fmla="*/ 204919 w 251964"/>
                <a:gd name="connsiteY86" fmla="*/ 75589 h 75589"/>
                <a:gd name="connsiteX87" fmla="*/ 207439 w 251964"/>
                <a:gd name="connsiteY87" fmla="*/ 75589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1218 w 251964"/>
                <a:gd name="connsiteY90" fmla="*/ 74330 h 75589"/>
                <a:gd name="connsiteX91" fmla="*/ 212478 w 251964"/>
                <a:gd name="connsiteY91" fmla="*/ 75589 h 75589"/>
                <a:gd name="connsiteX92" fmla="*/ 212478 w 251964"/>
                <a:gd name="connsiteY92" fmla="*/ 75589 h 75589"/>
                <a:gd name="connsiteX93" fmla="*/ 217517 w 251964"/>
                <a:gd name="connsiteY93" fmla="*/ 79369 h 75589"/>
                <a:gd name="connsiteX94" fmla="*/ 222556 w 251964"/>
                <a:gd name="connsiteY94" fmla="*/ 81889 h 75589"/>
                <a:gd name="connsiteX95" fmla="*/ 226336 w 251964"/>
                <a:gd name="connsiteY95" fmla="*/ 83148 h 75589"/>
                <a:gd name="connsiteX96" fmla="*/ 227595 w 251964"/>
                <a:gd name="connsiteY96" fmla="*/ 83148 h 75589"/>
                <a:gd name="connsiteX97" fmla="*/ 241454 w 251964"/>
                <a:gd name="connsiteY97" fmla="*/ 81889 h 75589"/>
                <a:gd name="connsiteX98" fmla="*/ 242714 w 251964"/>
                <a:gd name="connsiteY98" fmla="*/ 81889 h 75589"/>
                <a:gd name="connsiteX99" fmla="*/ 247753 w 251964"/>
                <a:gd name="connsiteY99" fmla="*/ 80629 h 75589"/>
                <a:gd name="connsiteX100" fmla="*/ 254052 w 251964"/>
                <a:gd name="connsiteY100" fmla="*/ 76849 h 75589"/>
                <a:gd name="connsiteX101" fmla="*/ 255312 w 251964"/>
                <a:gd name="connsiteY101" fmla="*/ 74330 h 75589"/>
                <a:gd name="connsiteX102" fmla="*/ 257832 w 251964"/>
                <a:gd name="connsiteY102" fmla="*/ 70550 h 75589"/>
                <a:gd name="connsiteX103" fmla="*/ 257832 w 251964"/>
                <a:gd name="connsiteY103" fmla="*/ 60472 h 75589"/>
                <a:gd name="connsiteX104" fmla="*/ 257832 w 251964"/>
                <a:gd name="connsiteY104" fmla="*/ 55432 h 75589"/>
                <a:gd name="connsiteX105" fmla="*/ 257832 w 251964"/>
                <a:gd name="connsiteY105" fmla="*/ 52913 h 75589"/>
                <a:gd name="connsiteX106" fmla="*/ 257832 w 251964"/>
                <a:gd name="connsiteY106" fmla="*/ 42834 h 75589"/>
                <a:gd name="connsiteX107" fmla="*/ 257832 w 251964"/>
                <a:gd name="connsiteY107" fmla="*/ 40315 h 75589"/>
                <a:gd name="connsiteX108" fmla="*/ 257832 w 251964"/>
                <a:gd name="connsiteY108" fmla="*/ 36535 h 75589"/>
                <a:gd name="connsiteX109" fmla="*/ 257832 w 251964"/>
                <a:gd name="connsiteY109" fmla="*/ 27716 h 75589"/>
                <a:gd name="connsiteX110" fmla="*/ 257832 w 251964"/>
                <a:gd name="connsiteY110" fmla="*/ 21417 h 75589"/>
                <a:gd name="connsiteX111" fmla="*/ 257832 w 251964"/>
                <a:gd name="connsiteY111" fmla="*/ 15118 h 75589"/>
                <a:gd name="connsiteX112" fmla="*/ 256572 w 251964"/>
                <a:gd name="connsiteY112" fmla="*/ 11338 h 75589"/>
                <a:gd name="connsiteX113" fmla="*/ 255312 w 251964"/>
                <a:gd name="connsiteY113" fmla="*/ 8819 h 75589"/>
                <a:gd name="connsiteX114" fmla="*/ 255312 w 251964"/>
                <a:gd name="connsiteY114" fmla="*/ 5039 h 75589"/>
                <a:gd name="connsiteX115" fmla="*/ 252792 w 251964"/>
                <a:gd name="connsiteY115" fmla="*/ 1260 h 75589"/>
                <a:gd name="connsiteX116" fmla="*/ 8386 w 251964"/>
                <a:gd name="connsiteY116" fmla="*/ 65511 h 75589"/>
                <a:gd name="connsiteX117" fmla="*/ 12166 w 251964"/>
                <a:gd name="connsiteY117" fmla="*/ 62991 h 75589"/>
                <a:gd name="connsiteX118" fmla="*/ 15945 w 251964"/>
                <a:gd name="connsiteY118" fmla="*/ 60472 h 75589"/>
                <a:gd name="connsiteX119" fmla="*/ 17205 w 251964"/>
                <a:gd name="connsiteY119" fmla="*/ 60472 h 75589"/>
                <a:gd name="connsiteX120" fmla="*/ 20985 w 251964"/>
                <a:gd name="connsiteY120" fmla="*/ 59212 h 75589"/>
                <a:gd name="connsiteX121" fmla="*/ 22244 w 251964"/>
                <a:gd name="connsiteY121" fmla="*/ 57952 h 75589"/>
                <a:gd name="connsiteX122" fmla="*/ 28544 w 251964"/>
                <a:gd name="connsiteY122" fmla="*/ 55432 h 75589"/>
                <a:gd name="connsiteX123" fmla="*/ 34843 w 251964"/>
                <a:gd name="connsiteY123" fmla="*/ 52913 h 75589"/>
                <a:gd name="connsiteX124" fmla="*/ 26024 w 251964"/>
                <a:gd name="connsiteY124" fmla="*/ 57952 h 75589"/>
                <a:gd name="connsiteX125" fmla="*/ 26024 w 251964"/>
                <a:gd name="connsiteY125" fmla="*/ 57952 h 75589"/>
                <a:gd name="connsiteX126" fmla="*/ 15945 w 251964"/>
                <a:gd name="connsiteY126" fmla="*/ 64251 h 75589"/>
                <a:gd name="connsiteX127" fmla="*/ 12166 w 251964"/>
                <a:gd name="connsiteY127" fmla="*/ 65511 h 75589"/>
                <a:gd name="connsiteX128" fmla="*/ 8386 w 251964"/>
                <a:gd name="connsiteY128" fmla="*/ 6551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3" y="2520"/>
                  </a:cubicBezTo>
                  <a:cubicBezTo>
                    <a:pt x="250273" y="2520"/>
                    <a:pt x="249013" y="3780"/>
                    <a:pt x="249013" y="5039"/>
                  </a:cubicBezTo>
                  <a:lnTo>
                    <a:pt x="249013" y="5039"/>
                  </a:lnTo>
                  <a:lnTo>
                    <a:pt x="249013" y="5039"/>
                  </a:lnTo>
                  <a:lnTo>
                    <a:pt x="249013" y="5039"/>
                  </a:lnTo>
                  <a:cubicBezTo>
                    <a:pt x="247753" y="5039"/>
                    <a:pt x="245233" y="3780"/>
                    <a:pt x="242714" y="3780"/>
                  </a:cubicBezTo>
                  <a:cubicBezTo>
                    <a:pt x="240194" y="3780"/>
                    <a:pt x="237674" y="2520"/>
                    <a:pt x="235154" y="2520"/>
                  </a:cubicBezTo>
                  <a:lnTo>
                    <a:pt x="235154" y="2520"/>
                  </a:lnTo>
                  <a:cubicBezTo>
                    <a:pt x="232635" y="2520"/>
                    <a:pt x="231375" y="2520"/>
                    <a:pt x="228855" y="2520"/>
                  </a:cubicBezTo>
                  <a:lnTo>
                    <a:pt x="228855" y="2520"/>
                  </a:lnTo>
                  <a:cubicBezTo>
                    <a:pt x="223816" y="2520"/>
                    <a:pt x="220037" y="1260"/>
                    <a:pt x="214997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3" y="0"/>
                  </a:lnTo>
                  <a:cubicBezTo>
                    <a:pt x="170903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4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7" y="1260"/>
                    <a:pt x="148227" y="2520"/>
                    <a:pt x="146967" y="3780"/>
                  </a:cubicBezTo>
                  <a:cubicBezTo>
                    <a:pt x="143188" y="5039"/>
                    <a:pt x="139408" y="6299"/>
                    <a:pt x="135629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8"/>
                    <a:pt x="126810" y="12598"/>
                    <a:pt x="124290" y="12598"/>
                  </a:cubicBezTo>
                  <a:cubicBezTo>
                    <a:pt x="123030" y="12598"/>
                    <a:pt x="121770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1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7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5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6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7" y="28976"/>
                  </a:cubicBezTo>
                  <a:cubicBezTo>
                    <a:pt x="67598" y="30236"/>
                    <a:pt x="62559" y="31496"/>
                    <a:pt x="58779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4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5" y="52913"/>
                  </a:lnTo>
                  <a:cubicBezTo>
                    <a:pt x="13426" y="54173"/>
                    <a:pt x="10906" y="54173"/>
                    <a:pt x="9646" y="55432"/>
                  </a:cubicBezTo>
                  <a:cubicBezTo>
                    <a:pt x="7126" y="56692"/>
                    <a:pt x="5867" y="57952"/>
                    <a:pt x="3347" y="60472"/>
                  </a:cubicBezTo>
                  <a:cubicBezTo>
                    <a:pt x="2087" y="61731"/>
                    <a:pt x="827" y="62991"/>
                    <a:pt x="827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6" y="76849"/>
                  </a:cubicBezTo>
                  <a:cubicBezTo>
                    <a:pt x="10906" y="78109"/>
                    <a:pt x="12166" y="79369"/>
                    <a:pt x="14685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4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8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5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4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40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7" y="78109"/>
                    <a:pt x="217517" y="79369"/>
                  </a:cubicBezTo>
                  <a:cubicBezTo>
                    <a:pt x="218777" y="80629"/>
                    <a:pt x="220037" y="81889"/>
                    <a:pt x="222556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5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4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3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2" y="71810"/>
                    <a:pt x="257832" y="70550"/>
                  </a:cubicBezTo>
                  <a:cubicBezTo>
                    <a:pt x="257832" y="66771"/>
                    <a:pt x="257832" y="62991"/>
                    <a:pt x="257832" y="60472"/>
                  </a:cubicBezTo>
                  <a:cubicBezTo>
                    <a:pt x="257832" y="59212"/>
                    <a:pt x="257832" y="56692"/>
                    <a:pt x="257832" y="55432"/>
                  </a:cubicBezTo>
                  <a:cubicBezTo>
                    <a:pt x="257832" y="54173"/>
                    <a:pt x="257832" y="54173"/>
                    <a:pt x="257832" y="52913"/>
                  </a:cubicBezTo>
                  <a:cubicBezTo>
                    <a:pt x="257832" y="49133"/>
                    <a:pt x="257832" y="46614"/>
                    <a:pt x="257832" y="42834"/>
                  </a:cubicBezTo>
                  <a:lnTo>
                    <a:pt x="257832" y="40315"/>
                  </a:lnTo>
                  <a:lnTo>
                    <a:pt x="257832" y="36535"/>
                  </a:lnTo>
                  <a:cubicBezTo>
                    <a:pt x="257832" y="34015"/>
                    <a:pt x="257832" y="31496"/>
                    <a:pt x="257832" y="27716"/>
                  </a:cubicBezTo>
                  <a:cubicBezTo>
                    <a:pt x="257832" y="25196"/>
                    <a:pt x="257832" y="23937"/>
                    <a:pt x="257832" y="21417"/>
                  </a:cubicBezTo>
                  <a:cubicBezTo>
                    <a:pt x="257832" y="18897"/>
                    <a:pt x="257832" y="17637"/>
                    <a:pt x="257832" y="15118"/>
                  </a:cubicBezTo>
                  <a:cubicBezTo>
                    <a:pt x="257832" y="13858"/>
                    <a:pt x="257832" y="12598"/>
                    <a:pt x="256572" y="11338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39"/>
                  </a:cubicBezTo>
                  <a:cubicBezTo>
                    <a:pt x="256572" y="2520"/>
                    <a:pt x="255312" y="1260"/>
                    <a:pt x="252792" y="1260"/>
                  </a:cubicBezTo>
                  <a:moveTo>
                    <a:pt x="8386" y="65511"/>
                  </a:moveTo>
                  <a:cubicBezTo>
                    <a:pt x="9646" y="64251"/>
                    <a:pt x="10906" y="64251"/>
                    <a:pt x="12166" y="62991"/>
                  </a:cubicBezTo>
                  <a:cubicBezTo>
                    <a:pt x="13426" y="61731"/>
                    <a:pt x="14685" y="61731"/>
                    <a:pt x="15945" y="60472"/>
                  </a:cubicBezTo>
                  <a:lnTo>
                    <a:pt x="17205" y="60472"/>
                  </a:lnTo>
                  <a:cubicBezTo>
                    <a:pt x="18465" y="59212"/>
                    <a:pt x="19725" y="59212"/>
                    <a:pt x="20985" y="59212"/>
                  </a:cubicBezTo>
                  <a:lnTo>
                    <a:pt x="22244" y="57952"/>
                  </a:lnTo>
                  <a:cubicBezTo>
                    <a:pt x="23504" y="56692"/>
                    <a:pt x="26024" y="56692"/>
                    <a:pt x="28544" y="55432"/>
                  </a:cubicBezTo>
                  <a:cubicBezTo>
                    <a:pt x="31063" y="54173"/>
                    <a:pt x="33583" y="54173"/>
                    <a:pt x="34843" y="52913"/>
                  </a:cubicBezTo>
                  <a:cubicBezTo>
                    <a:pt x="32323" y="54173"/>
                    <a:pt x="28544" y="56692"/>
                    <a:pt x="26024" y="57952"/>
                  </a:cubicBezTo>
                  <a:lnTo>
                    <a:pt x="26024" y="57952"/>
                  </a:lnTo>
                  <a:cubicBezTo>
                    <a:pt x="22244" y="60472"/>
                    <a:pt x="19725" y="61731"/>
                    <a:pt x="15945" y="64251"/>
                  </a:cubicBezTo>
                  <a:cubicBezTo>
                    <a:pt x="14685" y="64251"/>
                    <a:pt x="13426" y="65511"/>
                    <a:pt x="12166" y="65511"/>
                  </a:cubicBezTo>
                  <a:cubicBezTo>
                    <a:pt x="10906" y="65511"/>
                    <a:pt x="9646" y="65511"/>
                    <a:pt x="8386" y="6551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7" name="任意多边形: 形状 10226"/>
            <p:cNvSpPr/>
            <p:nvPr/>
          </p:nvSpPr>
          <p:spPr>
            <a:xfrm>
              <a:off x="4685998" y="4702338"/>
              <a:ext cx="62991" cy="37795"/>
            </a:xfrm>
            <a:custGeom>
              <a:avLst/>
              <a:gdLst>
                <a:gd name="connsiteX0" fmla="*/ 73070 w 62991"/>
                <a:gd name="connsiteY0" fmla="*/ 2863 h 37794"/>
                <a:gd name="connsiteX1" fmla="*/ 74330 w 62991"/>
                <a:gd name="connsiteY1" fmla="*/ 6642 h 37794"/>
                <a:gd name="connsiteX2" fmla="*/ 71810 w 62991"/>
                <a:gd name="connsiteY2" fmla="*/ 11682 h 37794"/>
                <a:gd name="connsiteX3" fmla="*/ 66771 w 62991"/>
                <a:gd name="connsiteY3" fmla="*/ 14202 h 37794"/>
                <a:gd name="connsiteX4" fmla="*/ 64251 w 62991"/>
                <a:gd name="connsiteY4" fmla="*/ 15461 h 37794"/>
                <a:gd name="connsiteX5" fmla="*/ 57952 w 62991"/>
                <a:gd name="connsiteY5" fmla="*/ 17981 h 37794"/>
                <a:gd name="connsiteX6" fmla="*/ 45354 w 62991"/>
                <a:gd name="connsiteY6" fmla="*/ 23020 h 37794"/>
                <a:gd name="connsiteX7" fmla="*/ 13858 w 62991"/>
                <a:gd name="connsiteY7" fmla="*/ 36878 h 37794"/>
                <a:gd name="connsiteX8" fmla="*/ 11339 w 62991"/>
                <a:gd name="connsiteY8" fmla="*/ 38138 h 37794"/>
                <a:gd name="connsiteX9" fmla="*/ 6299 w 62991"/>
                <a:gd name="connsiteY9" fmla="*/ 38138 h 37794"/>
                <a:gd name="connsiteX10" fmla="*/ 1260 w 62991"/>
                <a:gd name="connsiteY10" fmla="*/ 34358 h 37794"/>
                <a:gd name="connsiteX11" fmla="*/ 0 w 62991"/>
                <a:gd name="connsiteY11" fmla="*/ 28059 h 37794"/>
                <a:gd name="connsiteX12" fmla="*/ 3780 w 62991"/>
                <a:gd name="connsiteY12" fmla="*/ 23020 h 37794"/>
                <a:gd name="connsiteX13" fmla="*/ 35275 w 62991"/>
                <a:gd name="connsiteY13" fmla="*/ 10422 h 37794"/>
                <a:gd name="connsiteX14" fmla="*/ 62991 w 62991"/>
                <a:gd name="connsiteY14" fmla="*/ 343 h 37794"/>
                <a:gd name="connsiteX15" fmla="*/ 65511 w 62991"/>
                <a:gd name="connsiteY15" fmla="*/ 343 h 37794"/>
                <a:gd name="connsiteX16" fmla="*/ 73070 w 62991"/>
                <a:gd name="connsiteY16" fmla="*/ 28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863"/>
                  </a:moveTo>
                  <a:cubicBezTo>
                    <a:pt x="73070" y="4123"/>
                    <a:pt x="74330" y="5383"/>
                    <a:pt x="74330" y="6642"/>
                  </a:cubicBezTo>
                  <a:cubicBezTo>
                    <a:pt x="74330" y="7902"/>
                    <a:pt x="73070" y="10422"/>
                    <a:pt x="71810" y="11682"/>
                  </a:cubicBezTo>
                  <a:cubicBezTo>
                    <a:pt x="70550" y="12942"/>
                    <a:pt x="69290" y="14202"/>
                    <a:pt x="66771" y="14202"/>
                  </a:cubicBezTo>
                  <a:cubicBezTo>
                    <a:pt x="65511" y="14202"/>
                    <a:pt x="64251" y="15461"/>
                    <a:pt x="64251" y="15461"/>
                  </a:cubicBezTo>
                  <a:cubicBezTo>
                    <a:pt x="61732" y="16721"/>
                    <a:pt x="60472" y="17981"/>
                    <a:pt x="57952" y="17981"/>
                  </a:cubicBezTo>
                  <a:cubicBezTo>
                    <a:pt x="54173" y="20501"/>
                    <a:pt x="50393" y="21760"/>
                    <a:pt x="45354" y="23020"/>
                  </a:cubicBezTo>
                  <a:cubicBezTo>
                    <a:pt x="35275" y="28059"/>
                    <a:pt x="23937" y="31839"/>
                    <a:pt x="13858" y="36878"/>
                  </a:cubicBezTo>
                  <a:cubicBezTo>
                    <a:pt x="12598" y="36878"/>
                    <a:pt x="12598" y="36878"/>
                    <a:pt x="11339" y="38138"/>
                  </a:cubicBezTo>
                  <a:cubicBezTo>
                    <a:pt x="10079" y="38138"/>
                    <a:pt x="8819" y="38138"/>
                    <a:pt x="6299" y="38138"/>
                  </a:cubicBezTo>
                  <a:cubicBezTo>
                    <a:pt x="3780" y="38138"/>
                    <a:pt x="2520" y="35618"/>
                    <a:pt x="1260" y="34358"/>
                  </a:cubicBezTo>
                  <a:cubicBezTo>
                    <a:pt x="0" y="31839"/>
                    <a:pt x="0" y="30579"/>
                    <a:pt x="0" y="28059"/>
                  </a:cubicBezTo>
                  <a:cubicBezTo>
                    <a:pt x="0" y="26800"/>
                    <a:pt x="2520" y="24280"/>
                    <a:pt x="3780" y="23020"/>
                  </a:cubicBezTo>
                  <a:cubicBezTo>
                    <a:pt x="13858" y="19241"/>
                    <a:pt x="25196" y="14202"/>
                    <a:pt x="35275" y="10422"/>
                  </a:cubicBezTo>
                  <a:cubicBezTo>
                    <a:pt x="44094" y="6642"/>
                    <a:pt x="52913" y="2863"/>
                    <a:pt x="62991" y="343"/>
                  </a:cubicBezTo>
                  <a:cubicBezTo>
                    <a:pt x="64251" y="343"/>
                    <a:pt x="64251" y="343"/>
                    <a:pt x="65511" y="343"/>
                  </a:cubicBezTo>
                  <a:cubicBezTo>
                    <a:pt x="69290" y="-917"/>
                    <a:pt x="71810" y="1603"/>
                    <a:pt x="73070" y="286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8" name="任意多边形: 形状 10227"/>
            <p:cNvSpPr/>
            <p:nvPr/>
          </p:nvSpPr>
          <p:spPr>
            <a:xfrm>
              <a:off x="4673400" y="4688823"/>
              <a:ext cx="226768" cy="50393"/>
            </a:xfrm>
            <a:custGeom>
              <a:avLst/>
              <a:gdLst>
                <a:gd name="connsiteX0" fmla="*/ 99526 w 226768"/>
                <a:gd name="connsiteY0" fmla="*/ 0 h 50392"/>
                <a:gd name="connsiteX1" fmla="*/ 99526 w 226768"/>
                <a:gd name="connsiteY1" fmla="*/ 0 h 50392"/>
                <a:gd name="connsiteX2" fmla="*/ 95747 w 226768"/>
                <a:gd name="connsiteY2" fmla="*/ 0 h 50392"/>
                <a:gd name="connsiteX3" fmla="*/ 68031 w 226768"/>
                <a:gd name="connsiteY3" fmla="*/ 10078 h 50392"/>
                <a:gd name="connsiteX4" fmla="*/ 56692 w 226768"/>
                <a:gd name="connsiteY4" fmla="*/ 15118 h 50392"/>
                <a:gd name="connsiteX5" fmla="*/ 46614 w 226768"/>
                <a:gd name="connsiteY5" fmla="*/ 18897 h 50392"/>
                <a:gd name="connsiteX6" fmla="*/ 23937 w 226768"/>
                <a:gd name="connsiteY6" fmla="*/ 28976 h 50392"/>
                <a:gd name="connsiteX7" fmla="*/ 12598 w 226768"/>
                <a:gd name="connsiteY7" fmla="*/ 35275 h 50392"/>
                <a:gd name="connsiteX8" fmla="*/ 7559 w 226768"/>
                <a:gd name="connsiteY8" fmla="*/ 39055 h 50392"/>
                <a:gd name="connsiteX9" fmla="*/ 2520 w 226768"/>
                <a:gd name="connsiteY9" fmla="*/ 42834 h 50392"/>
                <a:gd name="connsiteX10" fmla="*/ 0 w 226768"/>
                <a:gd name="connsiteY10" fmla="*/ 46614 h 50392"/>
                <a:gd name="connsiteX11" fmla="*/ 0 w 226768"/>
                <a:gd name="connsiteY11" fmla="*/ 49133 h 50392"/>
                <a:gd name="connsiteX12" fmla="*/ 0 w 226768"/>
                <a:gd name="connsiteY12" fmla="*/ 50393 h 50392"/>
                <a:gd name="connsiteX13" fmla="*/ 5040 w 226768"/>
                <a:gd name="connsiteY13" fmla="*/ 54172 h 50392"/>
                <a:gd name="connsiteX14" fmla="*/ 11339 w 226768"/>
                <a:gd name="connsiteY14" fmla="*/ 55432 h 50392"/>
                <a:gd name="connsiteX15" fmla="*/ 23937 w 226768"/>
                <a:gd name="connsiteY15" fmla="*/ 55432 h 50392"/>
                <a:gd name="connsiteX16" fmla="*/ 22677 w 226768"/>
                <a:gd name="connsiteY16" fmla="*/ 55432 h 50392"/>
                <a:gd name="connsiteX17" fmla="*/ 31496 w 226768"/>
                <a:gd name="connsiteY17" fmla="*/ 55432 h 50392"/>
                <a:gd name="connsiteX18" fmla="*/ 41574 w 226768"/>
                <a:gd name="connsiteY18" fmla="*/ 55432 h 50392"/>
                <a:gd name="connsiteX19" fmla="*/ 57952 w 226768"/>
                <a:gd name="connsiteY19" fmla="*/ 55432 h 50392"/>
                <a:gd name="connsiteX20" fmla="*/ 75589 w 226768"/>
                <a:gd name="connsiteY20" fmla="*/ 55432 h 50392"/>
                <a:gd name="connsiteX21" fmla="*/ 74330 w 226768"/>
                <a:gd name="connsiteY21" fmla="*/ 55432 h 50392"/>
                <a:gd name="connsiteX22" fmla="*/ 84408 w 226768"/>
                <a:gd name="connsiteY22" fmla="*/ 55432 h 50392"/>
                <a:gd name="connsiteX23" fmla="*/ 94487 w 226768"/>
                <a:gd name="connsiteY23" fmla="*/ 55432 h 50392"/>
                <a:gd name="connsiteX24" fmla="*/ 105825 w 226768"/>
                <a:gd name="connsiteY24" fmla="*/ 55432 h 50392"/>
                <a:gd name="connsiteX25" fmla="*/ 104566 w 226768"/>
                <a:gd name="connsiteY25" fmla="*/ 55432 h 50392"/>
                <a:gd name="connsiteX26" fmla="*/ 114644 w 226768"/>
                <a:gd name="connsiteY26" fmla="*/ 55432 h 50392"/>
                <a:gd name="connsiteX27" fmla="*/ 124723 w 226768"/>
                <a:gd name="connsiteY27" fmla="*/ 55432 h 50392"/>
                <a:gd name="connsiteX28" fmla="*/ 134801 w 226768"/>
                <a:gd name="connsiteY28" fmla="*/ 54172 h 50392"/>
                <a:gd name="connsiteX29" fmla="*/ 144880 w 226768"/>
                <a:gd name="connsiteY29" fmla="*/ 54172 h 50392"/>
                <a:gd name="connsiteX30" fmla="*/ 156218 w 226768"/>
                <a:gd name="connsiteY30" fmla="*/ 54172 h 50392"/>
                <a:gd name="connsiteX31" fmla="*/ 162518 w 226768"/>
                <a:gd name="connsiteY31" fmla="*/ 54172 h 50392"/>
                <a:gd name="connsiteX32" fmla="*/ 167557 w 226768"/>
                <a:gd name="connsiteY32" fmla="*/ 54172 h 50392"/>
                <a:gd name="connsiteX33" fmla="*/ 190233 w 226768"/>
                <a:gd name="connsiteY33" fmla="*/ 55432 h 50392"/>
                <a:gd name="connsiteX34" fmla="*/ 201572 w 226768"/>
                <a:gd name="connsiteY34" fmla="*/ 55432 h 50392"/>
                <a:gd name="connsiteX35" fmla="*/ 214170 w 226768"/>
                <a:gd name="connsiteY35" fmla="*/ 54172 h 50392"/>
                <a:gd name="connsiteX36" fmla="*/ 219210 w 226768"/>
                <a:gd name="connsiteY36" fmla="*/ 54172 h 50392"/>
                <a:gd name="connsiteX37" fmla="*/ 221729 w 226768"/>
                <a:gd name="connsiteY37" fmla="*/ 54172 h 50392"/>
                <a:gd name="connsiteX38" fmla="*/ 225509 w 226768"/>
                <a:gd name="connsiteY38" fmla="*/ 52913 h 50392"/>
                <a:gd name="connsiteX39" fmla="*/ 228028 w 226768"/>
                <a:gd name="connsiteY39" fmla="*/ 51653 h 50392"/>
                <a:gd name="connsiteX40" fmla="*/ 230548 w 226768"/>
                <a:gd name="connsiteY40" fmla="*/ 49133 h 50392"/>
                <a:gd name="connsiteX41" fmla="*/ 233067 w 226768"/>
                <a:gd name="connsiteY41" fmla="*/ 46614 h 50392"/>
                <a:gd name="connsiteX42" fmla="*/ 236847 w 226768"/>
                <a:gd name="connsiteY42" fmla="*/ 41574 h 50392"/>
                <a:gd name="connsiteX43" fmla="*/ 238107 w 226768"/>
                <a:gd name="connsiteY43" fmla="*/ 39055 h 50392"/>
                <a:gd name="connsiteX44" fmla="*/ 236847 w 226768"/>
                <a:gd name="connsiteY44" fmla="*/ 36535 h 50392"/>
                <a:gd name="connsiteX45" fmla="*/ 234327 w 226768"/>
                <a:gd name="connsiteY45" fmla="*/ 35275 h 50392"/>
                <a:gd name="connsiteX46" fmla="*/ 231808 w 226768"/>
                <a:gd name="connsiteY46" fmla="*/ 36535 h 50392"/>
                <a:gd name="connsiteX47" fmla="*/ 228028 w 226768"/>
                <a:gd name="connsiteY47" fmla="*/ 41574 h 50392"/>
                <a:gd name="connsiteX48" fmla="*/ 226768 w 226768"/>
                <a:gd name="connsiteY48" fmla="*/ 44094 h 50392"/>
                <a:gd name="connsiteX49" fmla="*/ 225509 w 226768"/>
                <a:gd name="connsiteY49" fmla="*/ 46614 h 50392"/>
                <a:gd name="connsiteX50" fmla="*/ 224249 w 226768"/>
                <a:gd name="connsiteY50" fmla="*/ 46614 h 50392"/>
                <a:gd name="connsiteX51" fmla="*/ 222989 w 226768"/>
                <a:gd name="connsiteY51" fmla="*/ 46614 h 50392"/>
                <a:gd name="connsiteX52" fmla="*/ 214170 w 226768"/>
                <a:gd name="connsiteY52" fmla="*/ 47873 h 50392"/>
                <a:gd name="connsiteX53" fmla="*/ 204092 w 226768"/>
                <a:gd name="connsiteY53" fmla="*/ 47873 h 50392"/>
                <a:gd name="connsiteX54" fmla="*/ 183934 w 226768"/>
                <a:gd name="connsiteY54" fmla="*/ 47873 h 50392"/>
                <a:gd name="connsiteX55" fmla="*/ 168817 w 226768"/>
                <a:gd name="connsiteY55" fmla="*/ 47873 h 50392"/>
                <a:gd name="connsiteX56" fmla="*/ 152439 w 226768"/>
                <a:gd name="connsiteY56" fmla="*/ 47873 h 50392"/>
                <a:gd name="connsiteX57" fmla="*/ 153699 w 226768"/>
                <a:gd name="connsiteY57" fmla="*/ 47873 h 50392"/>
                <a:gd name="connsiteX58" fmla="*/ 151179 w 226768"/>
                <a:gd name="connsiteY58" fmla="*/ 47873 h 50392"/>
                <a:gd name="connsiteX59" fmla="*/ 138581 w 226768"/>
                <a:gd name="connsiteY59" fmla="*/ 47873 h 50392"/>
                <a:gd name="connsiteX60" fmla="*/ 125982 w 226768"/>
                <a:gd name="connsiteY60" fmla="*/ 49133 h 50392"/>
                <a:gd name="connsiteX61" fmla="*/ 113384 w 226768"/>
                <a:gd name="connsiteY61" fmla="*/ 49133 h 50392"/>
                <a:gd name="connsiteX62" fmla="*/ 102046 w 226768"/>
                <a:gd name="connsiteY62" fmla="*/ 49133 h 50392"/>
                <a:gd name="connsiteX63" fmla="*/ 91967 w 226768"/>
                <a:gd name="connsiteY63" fmla="*/ 49133 h 50392"/>
                <a:gd name="connsiteX64" fmla="*/ 80629 w 226768"/>
                <a:gd name="connsiteY64" fmla="*/ 49133 h 50392"/>
                <a:gd name="connsiteX65" fmla="*/ 81889 w 226768"/>
                <a:gd name="connsiteY65" fmla="*/ 49133 h 50392"/>
                <a:gd name="connsiteX66" fmla="*/ 66771 w 226768"/>
                <a:gd name="connsiteY66" fmla="*/ 49133 h 50392"/>
                <a:gd name="connsiteX67" fmla="*/ 59212 w 226768"/>
                <a:gd name="connsiteY67" fmla="*/ 49133 h 50392"/>
                <a:gd name="connsiteX68" fmla="*/ 52913 w 226768"/>
                <a:gd name="connsiteY68" fmla="*/ 49133 h 50392"/>
                <a:gd name="connsiteX69" fmla="*/ 41574 w 226768"/>
                <a:gd name="connsiteY69" fmla="*/ 49133 h 50392"/>
                <a:gd name="connsiteX70" fmla="*/ 35275 w 226768"/>
                <a:gd name="connsiteY70" fmla="*/ 49133 h 50392"/>
                <a:gd name="connsiteX71" fmla="*/ 30236 w 226768"/>
                <a:gd name="connsiteY71" fmla="*/ 49133 h 50392"/>
                <a:gd name="connsiteX72" fmla="*/ 25196 w 226768"/>
                <a:gd name="connsiteY72" fmla="*/ 49133 h 50392"/>
                <a:gd name="connsiteX73" fmla="*/ 18897 w 226768"/>
                <a:gd name="connsiteY73" fmla="*/ 49133 h 50392"/>
                <a:gd name="connsiteX74" fmla="*/ 16378 w 226768"/>
                <a:gd name="connsiteY74" fmla="*/ 49133 h 50392"/>
                <a:gd name="connsiteX75" fmla="*/ 18897 w 226768"/>
                <a:gd name="connsiteY75" fmla="*/ 47873 h 50392"/>
                <a:gd name="connsiteX76" fmla="*/ 26456 w 226768"/>
                <a:gd name="connsiteY76" fmla="*/ 42834 h 50392"/>
                <a:gd name="connsiteX77" fmla="*/ 35275 w 226768"/>
                <a:gd name="connsiteY77" fmla="*/ 39055 h 50392"/>
                <a:gd name="connsiteX78" fmla="*/ 54173 w 226768"/>
                <a:gd name="connsiteY78" fmla="*/ 31496 h 50392"/>
                <a:gd name="connsiteX79" fmla="*/ 78109 w 226768"/>
                <a:gd name="connsiteY79" fmla="*/ 22677 h 50392"/>
                <a:gd name="connsiteX80" fmla="*/ 100786 w 226768"/>
                <a:gd name="connsiteY80" fmla="*/ 12598 h 50392"/>
                <a:gd name="connsiteX81" fmla="*/ 103306 w 226768"/>
                <a:gd name="connsiteY81" fmla="*/ 7559 h 50392"/>
                <a:gd name="connsiteX82" fmla="*/ 99526 w 226768"/>
                <a:gd name="connsiteY82" fmla="*/ 0 h 50392"/>
                <a:gd name="connsiteX83" fmla="*/ 17638 w 226768"/>
                <a:gd name="connsiteY83" fmla="*/ 44094 h 50392"/>
                <a:gd name="connsiteX84" fmla="*/ 17638 w 226768"/>
                <a:gd name="connsiteY84" fmla="*/ 44094 h 50392"/>
                <a:gd name="connsiteX85" fmla="*/ 17638 w 226768"/>
                <a:gd name="connsiteY85" fmla="*/ 44094 h 50392"/>
                <a:gd name="connsiteX86" fmla="*/ 7559 w 226768"/>
                <a:gd name="connsiteY86" fmla="*/ 44094 h 50392"/>
                <a:gd name="connsiteX87" fmla="*/ 7559 w 226768"/>
                <a:gd name="connsiteY87" fmla="*/ 44094 h 50392"/>
                <a:gd name="connsiteX88" fmla="*/ 7559 w 226768"/>
                <a:gd name="connsiteY88" fmla="*/ 44094 h 50392"/>
                <a:gd name="connsiteX89" fmla="*/ 85668 w 226768"/>
                <a:gd name="connsiteY89" fmla="*/ 54172 h 50392"/>
                <a:gd name="connsiteX90" fmla="*/ 85668 w 226768"/>
                <a:gd name="connsiteY90" fmla="*/ 54172 h 50392"/>
                <a:gd name="connsiteX91" fmla="*/ 85668 w 226768"/>
                <a:gd name="connsiteY91" fmla="*/ 54172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0"/>
                  </a:moveTo>
                  <a:cubicBezTo>
                    <a:pt x="99526" y="0"/>
                    <a:pt x="98266" y="0"/>
                    <a:pt x="99526" y="0"/>
                  </a:cubicBezTo>
                  <a:cubicBezTo>
                    <a:pt x="98266" y="0"/>
                    <a:pt x="97007" y="0"/>
                    <a:pt x="95747" y="0"/>
                  </a:cubicBezTo>
                  <a:cubicBezTo>
                    <a:pt x="86928" y="2520"/>
                    <a:pt x="78109" y="6299"/>
                    <a:pt x="68031" y="10078"/>
                  </a:cubicBezTo>
                  <a:cubicBezTo>
                    <a:pt x="64251" y="11338"/>
                    <a:pt x="60472" y="12598"/>
                    <a:pt x="56692" y="15118"/>
                  </a:cubicBezTo>
                  <a:cubicBezTo>
                    <a:pt x="52913" y="16378"/>
                    <a:pt x="49133" y="17637"/>
                    <a:pt x="46614" y="18897"/>
                  </a:cubicBezTo>
                  <a:cubicBezTo>
                    <a:pt x="39055" y="22677"/>
                    <a:pt x="31496" y="25196"/>
                    <a:pt x="23937" y="28976"/>
                  </a:cubicBezTo>
                  <a:cubicBezTo>
                    <a:pt x="20157" y="31496"/>
                    <a:pt x="16378" y="32755"/>
                    <a:pt x="12598" y="35275"/>
                  </a:cubicBezTo>
                  <a:cubicBezTo>
                    <a:pt x="11339" y="36535"/>
                    <a:pt x="8819" y="37795"/>
                    <a:pt x="7559" y="39055"/>
                  </a:cubicBezTo>
                  <a:cubicBezTo>
                    <a:pt x="6299" y="40315"/>
                    <a:pt x="3780" y="41574"/>
                    <a:pt x="2520" y="4283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7873"/>
                    <a:pt x="0" y="47873"/>
                    <a:pt x="0" y="49133"/>
                  </a:cubicBezTo>
                  <a:cubicBezTo>
                    <a:pt x="0" y="49133"/>
                    <a:pt x="0" y="50393"/>
                    <a:pt x="0" y="50393"/>
                  </a:cubicBezTo>
                  <a:cubicBezTo>
                    <a:pt x="1260" y="51653"/>
                    <a:pt x="2520" y="52913"/>
                    <a:pt x="5040" y="54172"/>
                  </a:cubicBezTo>
                  <a:cubicBezTo>
                    <a:pt x="6299" y="54172"/>
                    <a:pt x="8819" y="55432"/>
                    <a:pt x="11339" y="55432"/>
                  </a:cubicBezTo>
                  <a:cubicBezTo>
                    <a:pt x="15118" y="55432"/>
                    <a:pt x="18897" y="55432"/>
                    <a:pt x="23937" y="55432"/>
                  </a:cubicBezTo>
                  <a:cubicBezTo>
                    <a:pt x="23937" y="55432"/>
                    <a:pt x="22677" y="55432"/>
                    <a:pt x="22677" y="55432"/>
                  </a:cubicBezTo>
                  <a:cubicBezTo>
                    <a:pt x="25196" y="55432"/>
                    <a:pt x="28976" y="55432"/>
                    <a:pt x="31496" y="55432"/>
                  </a:cubicBezTo>
                  <a:cubicBezTo>
                    <a:pt x="35275" y="55432"/>
                    <a:pt x="37795" y="55432"/>
                    <a:pt x="41574" y="55432"/>
                  </a:cubicBezTo>
                  <a:cubicBezTo>
                    <a:pt x="46614" y="55432"/>
                    <a:pt x="52913" y="55432"/>
                    <a:pt x="57952" y="55432"/>
                  </a:cubicBezTo>
                  <a:cubicBezTo>
                    <a:pt x="64251" y="55432"/>
                    <a:pt x="70550" y="55432"/>
                    <a:pt x="75589" y="55432"/>
                  </a:cubicBezTo>
                  <a:cubicBezTo>
                    <a:pt x="75589" y="55432"/>
                    <a:pt x="75589" y="55432"/>
                    <a:pt x="74330" y="55432"/>
                  </a:cubicBezTo>
                  <a:cubicBezTo>
                    <a:pt x="78109" y="55432"/>
                    <a:pt x="80629" y="55432"/>
                    <a:pt x="84408" y="55432"/>
                  </a:cubicBezTo>
                  <a:cubicBezTo>
                    <a:pt x="88188" y="55432"/>
                    <a:pt x="90707" y="55432"/>
                    <a:pt x="94487" y="55432"/>
                  </a:cubicBezTo>
                  <a:cubicBezTo>
                    <a:pt x="98266" y="55432"/>
                    <a:pt x="102046" y="55432"/>
                    <a:pt x="105825" y="55432"/>
                  </a:cubicBezTo>
                  <a:lnTo>
                    <a:pt x="104566" y="55432"/>
                  </a:lnTo>
                  <a:cubicBezTo>
                    <a:pt x="108345" y="55432"/>
                    <a:pt x="110865" y="55432"/>
                    <a:pt x="114644" y="55432"/>
                  </a:cubicBezTo>
                  <a:cubicBezTo>
                    <a:pt x="118424" y="55432"/>
                    <a:pt x="122203" y="55432"/>
                    <a:pt x="124723" y="55432"/>
                  </a:cubicBezTo>
                  <a:cubicBezTo>
                    <a:pt x="128502" y="55432"/>
                    <a:pt x="131022" y="55432"/>
                    <a:pt x="134801" y="54172"/>
                  </a:cubicBezTo>
                  <a:cubicBezTo>
                    <a:pt x="138581" y="54172"/>
                    <a:pt x="141100" y="54172"/>
                    <a:pt x="144880" y="54172"/>
                  </a:cubicBezTo>
                  <a:cubicBezTo>
                    <a:pt x="148659" y="54172"/>
                    <a:pt x="152439" y="54172"/>
                    <a:pt x="156218" y="54172"/>
                  </a:cubicBezTo>
                  <a:cubicBezTo>
                    <a:pt x="158738" y="54172"/>
                    <a:pt x="159998" y="54172"/>
                    <a:pt x="162518" y="54172"/>
                  </a:cubicBezTo>
                  <a:cubicBezTo>
                    <a:pt x="163777" y="54172"/>
                    <a:pt x="166297" y="54172"/>
                    <a:pt x="167557" y="54172"/>
                  </a:cubicBezTo>
                  <a:cubicBezTo>
                    <a:pt x="175116" y="54172"/>
                    <a:pt x="182674" y="55432"/>
                    <a:pt x="190233" y="55432"/>
                  </a:cubicBezTo>
                  <a:cubicBezTo>
                    <a:pt x="194013" y="55432"/>
                    <a:pt x="197792" y="55432"/>
                    <a:pt x="201572" y="55432"/>
                  </a:cubicBezTo>
                  <a:cubicBezTo>
                    <a:pt x="205351" y="55432"/>
                    <a:pt x="210391" y="55432"/>
                    <a:pt x="214170" y="54172"/>
                  </a:cubicBezTo>
                  <a:cubicBezTo>
                    <a:pt x="215430" y="54172"/>
                    <a:pt x="217950" y="54172"/>
                    <a:pt x="219210" y="54172"/>
                  </a:cubicBezTo>
                  <a:cubicBezTo>
                    <a:pt x="220469" y="54172"/>
                    <a:pt x="220469" y="54172"/>
                    <a:pt x="221729" y="54172"/>
                  </a:cubicBezTo>
                  <a:cubicBezTo>
                    <a:pt x="222989" y="54172"/>
                    <a:pt x="224249" y="54172"/>
                    <a:pt x="225509" y="52913"/>
                  </a:cubicBezTo>
                  <a:cubicBezTo>
                    <a:pt x="226768" y="52913"/>
                    <a:pt x="226768" y="51653"/>
                    <a:pt x="228028" y="51653"/>
                  </a:cubicBezTo>
                  <a:cubicBezTo>
                    <a:pt x="229288" y="50393"/>
                    <a:pt x="229288" y="50393"/>
                    <a:pt x="230548" y="49133"/>
                  </a:cubicBezTo>
                  <a:cubicBezTo>
                    <a:pt x="230548" y="47873"/>
                    <a:pt x="231808" y="47873"/>
                    <a:pt x="233067" y="46614"/>
                  </a:cubicBezTo>
                  <a:cubicBezTo>
                    <a:pt x="234327" y="45354"/>
                    <a:pt x="235587" y="42834"/>
                    <a:pt x="236847" y="41574"/>
                  </a:cubicBezTo>
                  <a:cubicBezTo>
                    <a:pt x="238107" y="40315"/>
                    <a:pt x="238107" y="39055"/>
                    <a:pt x="238107" y="39055"/>
                  </a:cubicBezTo>
                  <a:cubicBezTo>
                    <a:pt x="238107" y="37795"/>
                    <a:pt x="236847" y="36535"/>
                    <a:pt x="236847" y="36535"/>
                  </a:cubicBezTo>
                  <a:cubicBezTo>
                    <a:pt x="235587" y="36535"/>
                    <a:pt x="234327" y="35275"/>
                    <a:pt x="234327" y="35275"/>
                  </a:cubicBezTo>
                  <a:cubicBezTo>
                    <a:pt x="233067" y="35275"/>
                    <a:pt x="231808" y="36535"/>
                    <a:pt x="231808" y="36535"/>
                  </a:cubicBezTo>
                  <a:cubicBezTo>
                    <a:pt x="230548" y="37795"/>
                    <a:pt x="229288" y="40315"/>
                    <a:pt x="228028" y="41574"/>
                  </a:cubicBezTo>
                  <a:cubicBezTo>
                    <a:pt x="226768" y="42834"/>
                    <a:pt x="226768" y="42834"/>
                    <a:pt x="226768" y="44094"/>
                  </a:cubicBezTo>
                  <a:cubicBezTo>
                    <a:pt x="226768" y="45354"/>
                    <a:pt x="225509" y="45354"/>
                    <a:pt x="225509" y="46614"/>
                  </a:cubicBezTo>
                  <a:cubicBezTo>
                    <a:pt x="225509" y="46614"/>
                    <a:pt x="225509" y="46614"/>
                    <a:pt x="224249" y="46614"/>
                  </a:cubicBezTo>
                  <a:cubicBezTo>
                    <a:pt x="224249" y="46614"/>
                    <a:pt x="222989" y="46614"/>
                    <a:pt x="222989" y="46614"/>
                  </a:cubicBezTo>
                  <a:cubicBezTo>
                    <a:pt x="220469" y="47873"/>
                    <a:pt x="216690" y="47873"/>
                    <a:pt x="214170" y="47873"/>
                  </a:cubicBezTo>
                  <a:cubicBezTo>
                    <a:pt x="210391" y="47873"/>
                    <a:pt x="206611" y="47873"/>
                    <a:pt x="204092" y="47873"/>
                  </a:cubicBezTo>
                  <a:cubicBezTo>
                    <a:pt x="197792" y="47873"/>
                    <a:pt x="190233" y="47873"/>
                    <a:pt x="183934" y="47873"/>
                  </a:cubicBezTo>
                  <a:cubicBezTo>
                    <a:pt x="178895" y="47873"/>
                    <a:pt x="173856" y="47873"/>
                    <a:pt x="168817" y="47873"/>
                  </a:cubicBezTo>
                  <a:cubicBezTo>
                    <a:pt x="163777" y="47873"/>
                    <a:pt x="157478" y="47873"/>
                    <a:pt x="152439" y="47873"/>
                  </a:cubicBezTo>
                  <a:lnTo>
                    <a:pt x="153699" y="47873"/>
                  </a:lnTo>
                  <a:cubicBezTo>
                    <a:pt x="152439" y="47873"/>
                    <a:pt x="152439" y="47873"/>
                    <a:pt x="151179" y="47873"/>
                  </a:cubicBezTo>
                  <a:cubicBezTo>
                    <a:pt x="147399" y="47873"/>
                    <a:pt x="142360" y="47873"/>
                    <a:pt x="138581" y="47873"/>
                  </a:cubicBezTo>
                  <a:cubicBezTo>
                    <a:pt x="134801" y="47873"/>
                    <a:pt x="131022" y="47873"/>
                    <a:pt x="125982" y="49133"/>
                  </a:cubicBezTo>
                  <a:cubicBezTo>
                    <a:pt x="122203" y="49133"/>
                    <a:pt x="118424" y="49133"/>
                    <a:pt x="113384" y="49133"/>
                  </a:cubicBezTo>
                  <a:cubicBezTo>
                    <a:pt x="109605" y="49133"/>
                    <a:pt x="105825" y="49133"/>
                    <a:pt x="102046" y="49133"/>
                  </a:cubicBezTo>
                  <a:cubicBezTo>
                    <a:pt x="98266" y="49133"/>
                    <a:pt x="94487" y="49133"/>
                    <a:pt x="91967" y="49133"/>
                  </a:cubicBezTo>
                  <a:cubicBezTo>
                    <a:pt x="88188" y="49133"/>
                    <a:pt x="84408" y="49133"/>
                    <a:pt x="80629" y="49133"/>
                  </a:cubicBezTo>
                  <a:cubicBezTo>
                    <a:pt x="80629" y="49133"/>
                    <a:pt x="80629" y="49133"/>
                    <a:pt x="81889" y="49133"/>
                  </a:cubicBezTo>
                  <a:cubicBezTo>
                    <a:pt x="76849" y="49133"/>
                    <a:pt x="71810" y="49133"/>
                    <a:pt x="66771" y="49133"/>
                  </a:cubicBezTo>
                  <a:cubicBezTo>
                    <a:pt x="64251" y="49133"/>
                    <a:pt x="61732" y="49133"/>
                    <a:pt x="59212" y="49133"/>
                  </a:cubicBezTo>
                  <a:cubicBezTo>
                    <a:pt x="56692" y="49133"/>
                    <a:pt x="55433" y="49133"/>
                    <a:pt x="52913" y="49133"/>
                  </a:cubicBezTo>
                  <a:cubicBezTo>
                    <a:pt x="49133" y="49133"/>
                    <a:pt x="45354" y="49133"/>
                    <a:pt x="41574" y="49133"/>
                  </a:cubicBezTo>
                  <a:cubicBezTo>
                    <a:pt x="39055" y="49133"/>
                    <a:pt x="37795" y="49133"/>
                    <a:pt x="35275" y="49133"/>
                  </a:cubicBezTo>
                  <a:cubicBezTo>
                    <a:pt x="34015" y="49133"/>
                    <a:pt x="31496" y="49133"/>
                    <a:pt x="30236" y="49133"/>
                  </a:cubicBezTo>
                  <a:cubicBezTo>
                    <a:pt x="28976" y="49133"/>
                    <a:pt x="26456" y="49133"/>
                    <a:pt x="25196" y="49133"/>
                  </a:cubicBezTo>
                  <a:cubicBezTo>
                    <a:pt x="22677" y="49133"/>
                    <a:pt x="21417" y="49133"/>
                    <a:pt x="18897" y="49133"/>
                  </a:cubicBezTo>
                  <a:cubicBezTo>
                    <a:pt x="17638" y="49133"/>
                    <a:pt x="17638" y="49133"/>
                    <a:pt x="16378" y="49133"/>
                  </a:cubicBezTo>
                  <a:cubicBezTo>
                    <a:pt x="17638" y="49133"/>
                    <a:pt x="17638" y="47873"/>
                    <a:pt x="18897" y="47873"/>
                  </a:cubicBezTo>
                  <a:cubicBezTo>
                    <a:pt x="21417" y="46614"/>
                    <a:pt x="23937" y="45354"/>
                    <a:pt x="26456" y="42834"/>
                  </a:cubicBezTo>
                  <a:cubicBezTo>
                    <a:pt x="28976" y="41574"/>
                    <a:pt x="32755" y="40315"/>
                    <a:pt x="35275" y="39055"/>
                  </a:cubicBezTo>
                  <a:cubicBezTo>
                    <a:pt x="41574" y="36535"/>
                    <a:pt x="47874" y="34015"/>
                    <a:pt x="54173" y="31496"/>
                  </a:cubicBezTo>
                  <a:cubicBezTo>
                    <a:pt x="61732" y="27716"/>
                    <a:pt x="69290" y="25196"/>
                    <a:pt x="78109" y="22677"/>
                  </a:cubicBezTo>
                  <a:cubicBezTo>
                    <a:pt x="85668" y="20157"/>
                    <a:pt x="93227" y="16378"/>
                    <a:pt x="100786" y="12598"/>
                  </a:cubicBezTo>
                  <a:cubicBezTo>
                    <a:pt x="103306" y="11338"/>
                    <a:pt x="103306" y="8819"/>
                    <a:pt x="103306" y="7559"/>
                  </a:cubicBezTo>
                  <a:cubicBezTo>
                    <a:pt x="100786" y="1260"/>
                    <a:pt x="100786" y="1260"/>
                    <a:pt x="99526" y="0"/>
                  </a:cubicBezTo>
                  <a:moveTo>
                    <a:pt x="17638" y="44094"/>
                  </a:moveTo>
                  <a:cubicBezTo>
                    <a:pt x="16378" y="44094"/>
                    <a:pt x="16378" y="44094"/>
                    <a:pt x="17638" y="44094"/>
                  </a:cubicBezTo>
                  <a:cubicBezTo>
                    <a:pt x="16378" y="44094"/>
                    <a:pt x="16378" y="44094"/>
                    <a:pt x="17638" y="44094"/>
                  </a:cubicBezTo>
                  <a:moveTo>
                    <a:pt x="7559" y="44094"/>
                  </a:moveTo>
                  <a:cubicBezTo>
                    <a:pt x="7559" y="44094"/>
                    <a:pt x="7559" y="44094"/>
                    <a:pt x="7559" y="44094"/>
                  </a:cubicBezTo>
                  <a:cubicBezTo>
                    <a:pt x="7559" y="44094"/>
                    <a:pt x="7559" y="44094"/>
                    <a:pt x="7559" y="44094"/>
                  </a:cubicBezTo>
                  <a:moveTo>
                    <a:pt x="85668" y="54172"/>
                  </a:moveTo>
                  <a:cubicBezTo>
                    <a:pt x="85668" y="54172"/>
                    <a:pt x="85668" y="54172"/>
                    <a:pt x="85668" y="54172"/>
                  </a:cubicBezTo>
                  <a:cubicBezTo>
                    <a:pt x="85668" y="54172"/>
                    <a:pt x="85668" y="54172"/>
                    <a:pt x="85668" y="54172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9" name="任意多边形: 形状 10228"/>
            <p:cNvSpPr/>
            <p:nvPr/>
          </p:nvSpPr>
          <p:spPr>
            <a:xfrm>
              <a:off x="4739676" y="4654807"/>
              <a:ext cx="201572" cy="50393"/>
            </a:xfrm>
            <a:custGeom>
              <a:avLst/>
              <a:gdLst>
                <a:gd name="connsiteX0" fmla="*/ 191987 w 201571"/>
                <a:gd name="connsiteY0" fmla="*/ 2520 h 50392"/>
                <a:gd name="connsiteX1" fmla="*/ 198286 w 201571"/>
                <a:gd name="connsiteY1" fmla="*/ 3780 h 50392"/>
                <a:gd name="connsiteX2" fmla="*/ 204585 w 201571"/>
                <a:gd name="connsiteY2" fmla="*/ 5040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9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5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9 h 50392"/>
                <a:gd name="connsiteX19" fmla="*/ 179389 w 201571"/>
                <a:gd name="connsiteY19" fmla="*/ 11339 h 50392"/>
                <a:gd name="connsiteX20" fmla="*/ 171830 w 201571"/>
                <a:gd name="connsiteY20" fmla="*/ 11339 h 50392"/>
                <a:gd name="connsiteX21" fmla="*/ 157972 w 201571"/>
                <a:gd name="connsiteY21" fmla="*/ 11339 h 50392"/>
                <a:gd name="connsiteX22" fmla="*/ 145374 w 201571"/>
                <a:gd name="connsiteY22" fmla="*/ 11339 h 50392"/>
                <a:gd name="connsiteX23" fmla="*/ 142854 w 201571"/>
                <a:gd name="connsiteY23" fmla="*/ 11339 h 50392"/>
                <a:gd name="connsiteX24" fmla="*/ 127736 w 201571"/>
                <a:gd name="connsiteY24" fmla="*/ 11339 h 50392"/>
                <a:gd name="connsiteX25" fmla="*/ 118918 w 201571"/>
                <a:gd name="connsiteY25" fmla="*/ 11339 h 50392"/>
                <a:gd name="connsiteX26" fmla="*/ 112618 w 201571"/>
                <a:gd name="connsiteY26" fmla="*/ 11339 h 50392"/>
                <a:gd name="connsiteX27" fmla="*/ 108839 w 201571"/>
                <a:gd name="connsiteY27" fmla="*/ 11339 h 50392"/>
                <a:gd name="connsiteX28" fmla="*/ 97500 w 201571"/>
                <a:gd name="connsiteY28" fmla="*/ 15118 h 50392"/>
                <a:gd name="connsiteX29" fmla="*/ 91201 w 201571"/>
                <a:gd name="connsiteY29" fmla="*/ 17638 h 50392"/>
                <a:gd name="connsiteX30" fmla="*/ 84902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4 h 50392"/>
                <a:gd name="connsiteX37" fmla="*/ 5533 w 201571"/>
                <a:gd name="connsiteY37" fmla="*/ 52913 h 50392"/>
                <a:gd name="connsiteX38" fmla="*/ 494 w 201571"/>
                <a:gd name="connsiteY38" fmla="*/ 50393 h 50392"/>
                <a:gd name="connsiteX39" fmla="*/ 3014 w 201571"/>
                <a:gd name="connsiteY39" fmla="*/ 45354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9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80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4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7 w 201571"/>
                <a:gd name="connsiteY61" fmla="*/ 252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7" y="2520"/>
                  </a:moveTo>
                  <a:cubicBezTo>
                    <a:pt x="194507" y="2520"/>
                    <a:pt x="195767" y="2520"/>
                    <a:pt x="198286" y="3780"/>
                  </a:cubicBezTo>
                  <a:cubicBezTo>
                    <a:pt x="200806" y="3780"/>
                    <a:pt x="203326" y="3780"/>
                    <a:pt x="204585" y="5040"/>
                  </a:cubicBezTo>
                  <a:cubicBezTo>
                    <a:pt x="205845" y="5040"/>
                    <a:pt x="207105" y="629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9"/>
                  </a:cubicBezTo>
                  <a:cubicBezTo>
                    <a:pt x="210885" y="11339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5" y="37795"/>
                  </a:cubicBezTo>
                  <a:cubicBezTo>
                    <a:pt x="204585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6" y="13858"/>
                    <a:pt x="197027" y="12598"/>
                    <a:pt x="194507" y="12598"/>
                  </a:cubicBezTo>
                  <a:cubicBezTo>
                    <a:pt x="191987" y="12598"/>
                    <a:pt x="189468" y="11339"/>
                    <a:pt x="186948" y="11339"/>
                  </a:cubicBezTo>
                  <a:cubicBezTo>
                    <a:pt x="184429" y="11339"/>
                    <a:pt x="181909" y="11339"/>
                    <a:pt x="179389" y="11339"/>
                  </a:cubicBezTo>
                  <a:cubicBezTo>
                    <a:pt x="176870" y="11339"/>
                    <a:pt x="174350" y="11339"/>
                    <a:pt x="171830" y="11339"/>
                  </a:cubicBezTo>
                  <a:cubicBezTo>
                    <a:pt x="166791" y="11339"/>
                    <a:pt x="163011" y="11339"/>
                    <a:pt x="157972" y="11339"/>
                  </a:cubicBezTo>
                  <a:cubicBezTo>
                    <a:pt x="154192" y="11339"/>
                    <a:pt x="149153" y="11339"/>
                    <a:pt x="145374" y="11339"/>
                  </a:cubicBezTo>
                  <a:cubicBezTo>
                    <a:pt x="144114" y="11339"/>
                    <a:pt x="144114" y="11339"/>
                    <a:pt x="142854" y="11339"/>
                  </a:cubicBezTo>
                  <a:cubicBezTo>
                    <a:pt x="137815" y="11339"/>
                    <a:pt x="132776" y="11339"/>
                    <a:pt x="127736" y="11339"/>
                  </a:cubicBezTo>
                  <a:cubicBezTo>
                    <a:pt x="125217" y="11339"/>
                    <a:pt x="121437" y="11339"/>
                    <a:pt x="118918" y="11339"/>
                  </a:cubicBezTo>
                  <a:cubicBezTo>
                    <a:pt x="116398" y="11339"/>
                    <a:pt x="113878" y="11339"/>
                    <a:pt x="112618" y="11339"/>
                  </a:cubicBezTo>
                  <a:cubicBezTo>
                    <a:pt x="111359" y="11339"/>
                    <a:pt x="110099" y="11339"/>
                    <a:pt x="108839" y="11339"/>
                  </a:cubicBezTo>
                  <a:cubicBezTo>
                    <a:pt x="105059" y="12598"/>
                    <a:pt x="101280" y="13858"/>
                    <a:pt x="97500" y="15118"/>
                  </a:cubicBezTo>
                  <a:cubicBezTo>
                    <a:pt x="94981" y="16378"/>
                    <a:pt x="92461" y="16378"/>
                    <a:pt x="91201" y="17638"/>
                  </a:cubicBezTo>
                  <a:cubicBezTo>
                    <a:pt x="88682" y="18897"/>
                    <a:pt x="87422" y="18897"/>
                    <a:pt x="84902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8" y="36535"/>
                    <a:pt x="31990" y="41574"/>
                  </a:cubicBezTo>
                  <a:cubicBezTo>
                    <a:pt x="28210" y="42834"/>
                    <a:pt x="24431" y="45354"/>
                    <a:pt x="19392" y="46614"/>
                  </a:cubicBezTo>
                  <a:cubicBezTo>
                    <a:pt x="14352" y="49133"/>
                    <a:pt x="9313" y="51653"/>
                    <a:pt x="5533" y="52913"/>
                  </a:cubicBezTo>
                  <a:cubicBezTo>
                    <a:pt x="3014" y="54173"/>
                    <a:pt x="494" y="52913"/>
                    <a:pt x="494" y="50393"/>
                  </a:cubicBezTo>
                  <a:cubicBezTo>
                    <a:pt x="-766" y="47874"/>
                    <a:pt x="494" y="46614"/>
                    <a:pt x="3014" y="45354"/>
                  </a:cubicBezTo>
                  <a:cubicBezTo>
                    <a:pt x="8053" y="42834"/>
                    <a:pt x="13093" y="40315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09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8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9"/>
                  </a:cubicBezTo>
                  <a:cubicBezTo>
                    <a:pt x="79863" y="10079"/>
                    <a:pt x="81123" y="10079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1" y="5040"/>
                    <a:pt x="94981" y="5040"/>
                    <a:pt x="96241" y="3780"/>
                  </a:cubicBezTo>
                  <a:cubicBezTo>
                    <a:pt x="98760" y="2520"/>
                    <a:pt x="100020" y="2520"/>
                    <a:pt x="102540" y="1260"/>
                  </a:cubicBezTo>
                  <a:cubicBezTo>
                    <a:pt x="105059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5" y="0"/>
                    <a:pt x="137815" y="0"/>
                    <a:pt x="141594" y="0"/>
                  </a:cubicBezTo>
                  <a:cubicBezTo>
                    <a:pt x="149153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20"/>
                    <a:pt x="190728" y="2520"/>
                    <a:pt x="191987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0" name="任意多边形: 形状 10229"/>
            <p:cNvSpPr/>
            <p:nvPr/>
          </p:nvSpPr>
          <p:spPr>
            <a:xfrm>
              <a:off x="4888830" y="2681924"/>
              <a:ext cx="163777" cy="138581"/>
            </a:xfrm>
            <a:custGeom>
              <a:avLst/>
              <a:gdLst>
                <a:gd name="connsiteX0" fmla="*/ 17637 w 163777"/>
                <a:gd name="connsiteY0" fmla="*/ 3780 h 138580"/>
                <a:gd name="connsiteX1" fmla="*/ 18897 w 163777"/>
                <a:gd name="connsiteY1" fmla="*/ 6299 h 138580"/>
                <a:gd name="connsiteX2" fmla="*/ 18897 w 163777"/>
                <a:gd name="connsiteY2" fmla="*/ 8819 h 138580"/>
                <a:gd name="connsiteX3" fmla="*/ 13858 w 163777"/>
                <a:gd name="connsiteY3" fmla="*/ 20157 h 138580"/>
                <a:gd name="connsiteX4" fmla="*/ 11338 w 163777"/>
                <a:gd name="connsiteY4" fmla="*/ 25196 h 138580"/>
                <a:gd name="connsiteX5" fmla="*/ 11338 w 163777"/>
                <a:gd name="connsiteY5" fmla="*/ 26456 h 138580"/>
                <a:gd name="connsiteX6" fmla="*/ 11338 w 163777"/>
                <a:gd name="connsiteY6" fmla="*/ 26456 h 138580"/>
                <a:gd name="connsiteX7" fmla="*/ 11338 w 163777"/>
                <a:gd name="connsiteY7" fmla="*/ 26456 h 138580"/>
                <a:gd name="connsiteX8" fmla="*/ 12598 w 163777"/>
                <a:gd name="connsiteY8" fmla="*/ 26456 h 138580"/>
                <a:gd name="connsiteX9" fmla="*/ 13858 w 163777"/>
                <a:gd name="connsiteY9" fmla="*/ 26456 h 138580"/>
                <a:gd name="connsiteX10" fmla="*/ 13858 w 163777"/>
                <a:gd name="connsiteY10" fmla="*/ 26456 h 138580"/>
                <a:gd name="connsiteX11" fmla="*/ 15118 w 163777"/>
                <a:gd name="connsiteY11" fmla="*/ 26456 h 138580"/>
                <a:gd name="connsiteX12" fmla="*/ 16378 w 163777"/>
                <a:gd name="connsiteY12" fmla="*/ 26456 h 138580"/>
                <a:gd name="connsiteX13" fmla="*/ 21417 w 163777"/>
                <a:gd name="connsiteY13" fmla="*/ 26456 h 138580"/>
                <a:gd name="connsiteX14" fmla="*/ 22677 w 163777"/>
                <a:gd name="connsiteY14" fmla="*/ 26456 h 138580"/>
                <a:gd name="connsiteX15" fmla="*/ 30236 w 163777"/>
                <a:gd name="connsiteY15" fmla="*/ 26456 h 138580"/>
                <a:gd name="connsiteX16" fmla="*/ 30236 w 163777"/>
                <a:gd name="connsiteY16" fmla="*/ 26456 h 138580"/>
                <a:gd name="connsiteX17" fmla="*/ 31496 w 163777"/>
                <a:gd name="connsiteY17" fmla="*/ 26456 h 138580"/>
                <a:gd name="connsiteX18" fmla="*/ 32755 w 163777"/>
                <a:gd name="connsiteY18" fmla="*/ 26456 h 138580"/>
                <a:gd name="connsiteX19" fmla="*/ 37795 w 163777"/>
                <a:gd name="connsiteY19" fmla="*/ 26456 h 138580"/>
                <a:gd name="connsiteX20" fmla="*/ 42834 w 163777"/>
                <a:gd name="connsiteY20" fmla="*/ 26456 h 138580"/>
                <a:gd name="connsiteX21" fmla="*/ 52913 w 163777"/>
                <a:gd name="connsiteY21" fmla="*/ 26456 h 138580"/>
                <a:gd name="connsiteX22" fmla="*/ 64251 w 163777"/>
                <a:gd name="connsiteY22" fmla="*/ 26456 h 138580"/>
                <a:gd name="connsiteX23" fmla="*/ 68030 w 163777"/>
                <a:gd name="connsiteY23" fmla="*/ 26456 h 138580"/>
                <a:gd name="connsiteX24" fmla="*/ 74329 w 163777"/>
                <a:gd name="connsiteY24" fmla="*/ 26456 h 138580"/>
                <a:gd name="connsiteX25" fmla="*/ 84408 w 163777"/>
                <a:gd name="connsiteY25" fmla="*/ 26456 h 138580"/>
                <a:gd name="connsiteX26" fmla="*/ 85668 w 163777"/>
                <a:gd name="connsiteY26" fmla="*/ 26456 h 138580"/>
                <a:gd name="connsiteX27" fmla="*/ 98266 w 163777"/>
                <a:gd name="connsiteY27" fmla="*/ 26456 h 138580"/>
                <a:gd name="connsiteX28" fmla="*/ 105825 w 163777"/>
                <a:gd name="connsiteY28" fmla="*/ 26456 h 138580"/>
                <a:gd name="connsiteX29" fmla="*/ 120943 w 163777"/>
                <a:gd name="connsiteY29" fmla="*/ 27716 h 138580"/>
                <a:gd name="connsiteX30" fmla="*/ 125982 w 163777"/>
                <a:gd name="connsiteY30" fmla="*/ 28976 h 138580"/>
                <a:gd name="connsiteX31" fmla="*/ 127242 w 163777"/>
                <a:gd name="connsiteY31" fmla="*/ 28976 h 138580"/>
                <a:gd name="connsiteX32" fmla="*/ 128502 w 163777"/>
                <a:gd name="connsiteY32" fmla="*/ 28976 h 138580"/>
                <a:gd name="connsiteX33" fmla="*/ 132281 w 163777"/>
                <a:gd name="connsiteY33" fmla="*/ 30236 h 138580"/>
                <a:gd name="connsiteX34" fmla="*/ 134801 w 163777"/>
                <a:gd name="connsiteY34" fmla="*/ 31496 h 138580"/>
                <a:gd name="connsiteX35" fmla="*/ 137321 w 163777"/>
                <a:gd name="connsiteY35" fmla="*/ 32755 h 138580"/>
                <a:gd name="connsiteX36" fmla="*/ 139840 w 163777"/>
                <a:gd name="connsiteY36" fmla="*/ 35275 h 138580"/>
                <a:gd name="connsiteX37" fmla="*/ 143620 w 163777"/>
                <a:gd name="connsiteY37" fmla="*/ 39055 h 138580"/>
                <a:gd name="connsiteX38" fmla="*/ 146140 w 163777"/>
                <a:gd name="connsiteY38" fmla="*/ 42834 h 138580"/>
                <a:gd name="connsiteX39" fmla="*/ 146140 w 163777"/>
                <a:gd name="connsiteY39" fmla="*/ 42834 h 138580"/>
                <a:gd name="connsiteX40" fmla="*/ 148659 w 163777"/>
                <a:gd name="connsiteY40" fmla="*/ 46613 h 138580"/>
                <a:gd name="connsiteX41" fmla="*/ 151179 w 163777"/>
                <a:gd name="connsiteY41" fmla="*/ 51653 h 138580"/>
                <a:gd name="connsiteX42" fmla="*/ 152439 w 163777"/>
                <a:gd name="connsiteY42" fmla="*/ 55432 h 138580"/>
                <a:gd name="connsiteX43" fmla="*/ 156218 w 163777"/>
                <a:gd name="connsiteY43" fmla="*/ 65511 h 138580"/>
                <a:gd name="connsiteX44" fmla="*/ 159998 w 163777"/>
                <a:gd name="connsiteY44" fmla="*/ 76849 h 138580"/>
                <a:gd name="connsiteX45" fmla="*/ 163777 w 163777"/>
                <a:gd name="connsiteY45" fmla="*/ 97006 h 138580"/>
                <a:gd name="connsiteX46" fmla="*/ 163777 w 163777"/>
                <a:gd name="connsiteY46" fmla="*/ 98266 h 138580"/>
                <a:gd name="connsiteX47" fmla="*/ 166297 w 163777"/>
                <a:gd name="connsiteY47" fmla="*/ 119683 h 138580"/>
                <a:gd name="connsiteX48" fmla="*/ 166297 w 163777"/>
                <a:gd name="connsiteY48" fmla="*/ 120943 h 138580"/>
                <a:gd name="connsiteX49" fmla="*/ 166297 w 163777"/>
                <a:gd name="connsiteY49" fmla="*/ 123463 h 138580"/>
                <a:gd name="connsiteX50" fmla="*/ 165037 w 163777"/>
                <a:gd name="connsiteY50" fmla="*/ 125982 h 138580"/>
                <a:gd name="connsiteX51" fmla="*/ 163777 w 163777"/>
                <a:gd name="connsiteY51" fmla="*/ 127242 h 138580"/>
                <a:gd name="connsiteX52" fmla="*/ 163777 w 163777"/>
                <a:gd name="connsiteY52" fmla="*/ 127242 h 138580"/>
                <a:gd name="connsiteX53" fmla="*/ 162517 w 163777"/>
                <a:gd name="connsiteY53" fmla="*/ 128502 h 138580"/>
                <a:gd name="connsiteX54" fmla="*/ 159998 w 163777"/>
                <a:gd name="connsiteY54" fmla="*/ 131022 h 138580"/>
                <a:gd name="connsiteX55" fmla="*/ 154958 w 163777"/>
                <a:gd name="connsiteY55" fmla="*/ 133541 h 138580"/>
                <a:gd name="connsiteX56" fmla="*/ 151179 w 163777"/>
                <a:gd name="connsiteY56" fmla="*/ 134801 h 138580"/>
                <a:gd name="connsiteX57" fmla="*/ 149919 w 163777"/>
                <a:gd name="connsiteY57" fmla="*/ 134801 h 138580"/>
                <a:gd name="connsiteX58" fmla="*/ 148659 w 163777"/>
                <a:gd name="connsiteY58" fmla="*/ 134801 h 138580"/>
                <a:gd name="connsiteX59" fmla="*/ 144880 w 163777"/>
                <a:gd name="connsiteY59" fmla="*/ 136061 h 138580"/>
                <a:gd name="connsiteX60" fmla="*/ 141100 w 163777"/>
                <a:gd name="connsiteY60" fmla="*/ 137321 h 138580"/>
                <a:gd name="connsiteX61" fmla="*/ 139840 w 163777"/>
                <a:gd name="connsiteY61" fmla="*/ 137321 h 138580"/>
                <a:gd name="connsiteX62" fmla="*/ 137321 w 163777"/>
                <a:gd name="connsiteY62" fmla="*/ 138581 h 138580"/>
                <a:gd name="connsiteX63" fmla="*/ 129762 w 163777"/>
                <a:gd name="connsiteY63" fmla="*/ 141100 h 138580"/>
                <a:gd name="connsiteX64" fmla="*/ 122203 w 163777"/>
                <a:gd name="connsiteY64" fmla="*/ 143620 h 138580"/>
                <a:gd name="connsiteX65" fmla="*/ 124722 w 163777"/>
                <a:gd name="connsiteY65" fmla="*/ 124723 h 138580"/>
                <a:gd name="connsiteX66" fmla="*/ 124722 w 163777"/>
                <a:gd name="connsiteY66" fmla="*/ 119683 h 138580"/>
                <a:gd name="connsiteX67" fmla="*/ 120943 w 163777"/>
                <a:gd name="connsiteY67" fmla="*/ 119683 h 138580"/>
                <a:gd name="connsiteX68" fmla="*/ 115904 w 163777"/>
                <a:gd name="connsiteY68" fmla="*/ 119683 h 138580"/>
                <a:gd name="connsiteX69" fmla="*/ 100786 w 163777"/>
                <a:gd name="connsiteY69" fmla="*/ 117164 h 138580"/>
                <a:gd name="connsiteX70" fmla="*/ 97007 w 163777"/>
                <a:gd name="connsiteY70" fmla="*/ 115904 h 138580"/>
                <a:gd name="connsiteX71" fmla="*/ 97007 w 163777"/>
                <a:gd name="connsiteY71" fmla="*/ 115904 h 138580"/>
                <a:gd name="connsiteX72" fmla="*/ 83148 w 163777"/>
                <a:gd name="connsiteY72" fmla="*/ 113384 h 138580"/>
                <a:gd name="connsiteX73" fmla="*/ 64251 w 163777"/>
                <a:gd name="connsiteY73" fmla="*/ 107085 h 138580"/>
                <a:gd name="connsiteX74" fmla="*/ 46614 w 163777"/>
                <a:gd name="connsiteY74" fmla="*/ 98266 h 138580"/>
                <a:gd name="connsiteX75" fmla="*/ 39055 w 163777"/>
                <a:gd name="connsiteY75" fmla="*/ 93227 h 138580"/>
                <a:gd name="connsiteX76" fmla="*/ 31496 w 163777"/>
                <a:gd name="connsiteY76" fmla="*/ 86928 h 138580"/>
                <a:gd name="connsiteX77" fmla="*/ 20157 w 163777"/>
                <a:gd name="connsiteY77" fmla="*/ 71810 h 138580"/>
                <a:gd name="connsiteX78" fmla="*/ 11338 w 163777"/>
                <a:gd name="connsiteY78" fmla="*/ 55432 h 138580"/>
                <a:gd name="connsiteX79" fmla="*/ 3780 w 163777"/>
                <a:gd name="connsiteY79" fmla="*/ 36535 h 138580"/>
                <a:gd name="connsiteX80" fmla="*/ 0 w 163777"/>
                <a:gd name="connsiteY80" fmla="*/ 25196 h 138580"/>
                <a:gd name="connsiteX81" fmla="*/ 0 w 163777"/>
                <a:gd name="connsiteY81" fmla="*/ 25196 h 138580"/>
                <a:gd name="connsiteX82" fmla="*/ 2520 w 163777"/>
                <a:gd name="connsiteY82" fmla="*/ 22677 h 138580"/>
                <a:gd name="connsiteX83" fmla="*/ 5039 w 163777"/>
                <a:gd name="connsiteY83" fmla="*/ 17638 h 138580"/>
                <a:gd name="connsiteX84" fmla="*/ 5039 w 163777"/>
                <a:gd name="connsiteY84" fmla="*/ 17638 h 138580"/>
                <a:gd name="connsiteX85" fmla="*/ 6299 w 163777"/>
                <a:gd name="connsiteY85" fmla="*/ 13858 h 138580"/>
                <a:gd name="connsiteX86" fmla="*/ 6299 w 163777"/>
                <a:gd name="connsiteY86" fmla="*/ 12598 h 138580"/>
                <a:gd name="connsiteX87" fmla="*/ 7559 w 163777"/>
                <a:gd name="connsiteY87" fmla="*/ 10079 h 138580"/>
                <a:gd name="connsiteX88" fmla="*/ 11338 w 163777"/>
                <a:gd name="connsiteY88" fmla="*/ 1260 h 138580"/>
                <a:gd name="connsiteX89" fmla="*/ 13858 w 163777"/>
                <a:gd name="connsiteY89" fmla="*/ 0 h 138580"/>
                <a:gd name="connsiteX90" fmla="*/ 15118 w 163777"/>
                <a:gd name="connsiteY90" fmla="*/ 0 h 138580"/>
                <a:gd name="connsiteX91" fmla="*/ 17637 w 163777"/>
                <a:gd name="connsiteY91" fmla="*/ 378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777" h="138580">
                  <a:moveTo>
                    <a:pt x="17637" y="3780"/>
                  </a:moveTo>
                  <a:cubicBezTo>
                    <a:pt x="18897" y="3780"/>
                    <a:pt x="18897" y="5039"/>
                    <a:pt x="18897" y="6299"/>
                  </a:cubicBezTo>
                  <a:cubicBezTo>
                    <a:pt x="18897" y="7559"/>
                    <a:pt x="18897" y="7559"/>
                    <a:pt x="18897" y="8819"/>
                  </a:cubicBezTo>
                  <a:cubicBezTo>
                    <a:pt x="17637" y="12598"/>
                    <a:pt x="15118" y="16378"/>
                    <a:pt x="13858" y="20157"/>
                  </a:cubicBezTo>
                  <a:cubicBezTo>
                    <a:pt x="12598" y="21417"/>
                    <a:pt x="12598" y="22677"/>
                    <a:pt x="11338" y="25196"/>
                  </a:cubicBezTo>
                  <a:cubicBezTo>
                    <a:pt x="11338" y="25196"/>
                    <a:pt x="11338" y="25196"/>
                    <a:pt x="11338" y="26456"/>
                  </a:cubicBezTo>
                  <a:lnTo>
                    <a:pt x="11338" y="26456"/>
                  </a:lnTo>
                  <a:lnTo>
                    <a:pt x="11338" y="26456"/>
                  </a:lnTo>
                  <a:cubicBezTo>
                    <a:pt x="11338" y="26456"/>
                    <a:pt x="12598" y="26456"/>
                    <a:pt x="12598" y="26456"/>
                  </a:cubicBezTo>
                  <a:cubicBezTo>
                    <a:pt x="12598" y="26456"/>
                    <a:pt x="13858" y="26456"/>
                    <a:pt x="13858" y="26456"/>
                  </a:cubicBezTo>
                  <a:cubicBezTo>
                    <a:pt x="13858" y="26456"/>
                    <a:pt x="13858" y="26456"/>
                    <a:pt x="13858" y="26456"/>
                  </a:cubicBezTo>
                  <a:cubicBezTo>
                    <a:pt x="13858" y="26456"/>
                    <a:pt x="15118" y="26456"/>
                    <a:pt x="15118" y="26456"/>
                  </a:cubicBezTo>
                  <a:cubicBezTo>
                    <a:pt x="15118" y="26456"/>
                    <a:pt x="15118" y="26456"/>
                    <a:pt x="16378" y="26456"/>
                  </a:cubicBezTo>
                  <a:cubicBezTo>
                    <a:pt x="17637" y="26456"/>
                    <a:pt x="20157" y="26456"/>
                    <a:pt x="21417" y="26456"/>
                  </a:cubicBezTo>
                  <a:lnTo>
                    <a:pt x="22677" y="26456"/>
                  </a:lnTo>
                  <a:cubicBezTo>
                    <a:pt x="25196" y="26456"/>
                    <a:pt x="27716" y="26456"/>
                    <a:pt x="30236" y="26456"/>
                  </a:cubicBezTo>
                  <a:lnTo>
                    <a:pt x="30236" y="26456"/>
                  </a:lnTo>
                  <a:cubicBezTo>
                    <a:pt x="30236" y="26456"/>
                    <a:pt x="31496" y="26456"/>
                    <a:pt x="31496" y="26456"/>
                  </a:cubicBezTo>
                  <a:lnTo>
                    <a:pt x="32755" y="26456"/>
                  </a:lnTo>
                  <a:cubicBezTo>
                    <a:pt x="34015" y="26456"/>
                    <a:pt x="36535" y="26456"/>
                    <a:pt x="37795" y="26456"/>
                  </a:cubicBezTo>
                  <a:cubicBezTo>
                    <a:pt x="39055" y="26456"/>
                    <a:pt x="40314" y="26456"/>
                    <a:pt x="42834" y="26456"/>
                  </a:cubicBezTo>
                  <a:cubicBezTo>
                    <a:pt x="46614" y="26456"/>
                    <a:pt x="50393" y="26456"/>
                    <a:pt x="52913" y="26456"/>
                  </a:cubicBezTo>
                  <a:cubicBezTo>
                    <a:pt x="56692" y="26456"/>
                    <a:pt x="60472" y="26456"/>
                    <a:pt x="64251" y="26456"/>
                  </a:cubicBezTo>
                  <a:cubicBezTo>
                    <a:pt x="65511" y="26456"/>
                    <a:pt x="66771" y="26456"/>
                    <a:pt x="68030" y="26456"/>
                  </a:cubicBezTo>
                  <a:cubicBezTo>
                    <a:pt x="70550" y="26456"/>
                    <a:pt x="71810" y="26456"/>
                    <a:pt x="74329" y="26456"/>
                  </a:cubicBezTo>
                  <a:cubicBezTo>
                    <a:pt x="78109" y="26456"/>
                    <a:pt x="80629" y="26456"/>
                    <a:pt x="84408" y="26456"/>
                  </a:cubicBezTo>
                  <a:lnTo>
                    <a:pt x="85668" y="26456"/>
                  </a:lnTo>
                  <a:cubicBezTo>
                    <a:pt x="89448" y="26456"/>
                    <a:pt x="93227" y="26456"/>
                    <a:pt x="98266" y="26456"/>
                  </a:cubicBezTo>
                  <a:cubicBezTo>
                    <a:pt x="100786" y="26456"/>
                    <a:pt x="103306" y="26456"/>
                    <a:pt x="105825" y="26456"/>
                  </a:cubicBezTo>
                  <a:cubicBezTo>
                    <a:pt x="110865" y="26456"/>
                    <a:pt x="115904" y="27716"/>
                    <a:pt x="120943" y="27716"/>
                  </a:cubicBezTo>
                  <a:cubicBezTo>
                    <a:pt x="122203" y="27716"/>
                    <a:pt x="124722" y="27716"/>
                    <a:pt x="125982" y="28976"/>
                  </a:cubicBezTo>
                  <a:lnTo>
                    <a:pt x="127242" y="28976"/>
                  </a:lnTo>
                  <a:cubicBezTo>
                    <a:pt x="127242" y="28976"/>
                    <a:pt x="128502" y="28976"/>
                    <a:pt x="128502" y="28976"/>
                  </a:cubicBezTo>
                  <a:cubicBezTo>
                    <a:pt x="129762" y="28976"/>
                    <a:pt x="131022" y="28976"/>
                    <a:pt x="132281" y="30236"/>
                  </a:cubicBezTo>
                  <a:cubicBezTo>
                    <a:pt x="133541" y="30236"/>
                    <a:pt x="133541" y="30236"/>
                    <a:pt x="134801" y="31496"/>
                  </a:cubicBezTo>
                  <a:cubicBezTo>
                    <a:pt x="136061" y="31496"/>
                    <a:pt x="137321" y="32755"/>
                    <a:pt x="137321" y="32755"/>
                  </a:cubicBezTo>
                  <a:cubicBezTo>
                    <a:pt x="138581" y="32755"/>
                    <a:pt x="139840" y="34015"/>
                    <a:pt x="139840" y="35275"/>
                  </a:cubicBezTo>
                  <a:cubicBezTo>
                    <a:pt x="141100" y="36535"/>
                    <a:pt x="142360" y="37795"/>
                    <a:pt x="143620" y="39055"/>
                  </a:cubicBezTo>
                  <a:cubicBezTo>
                    <a:pt x="144880" y="40314"/>
                    <a:pt x="144880" y="41574"/>
                    <a:pt x="146140" y="42834"/>
                  </a:cubicBezTo>
                  <a:lnTo>
                    <a:pt x="146140" y="42834"/>
                  </a:lnTo>
                  <a:cubicBezTo>
                    <a:pt x="147399" y="44094"/>
                    <a:pt x="147399" y="45354"/>
                    <a:pt x="148659" y="46613"/>
                  </a:cubicBezTo>
                  <a:cubicBezTo>
                    <a:pt x="149919" y="47873"/>
                    <a:pt x="149919" y="50393"/>
                    <a:pt x="151179" y="51653"/>
                  </a:cubicBezTo>
                  <a:cubicBezTo>
                    <a:pt x="151179" y="52913"/>
                    <a:pt x="152439" y="54172"/>
                    <a:pt x="152439" y="55432"/>
                  </a:cubicBezTo>
                  <a:cubicBezTo>
                    <a:pt x="153699" y="59212"/>
                    <a:pt x="154958" y="61731"/>
                    <a:pt x="156218" y="65511"/>
                  </a:cubicBezTo>
                  <a:cubicBezTo>
                    <a:pt x="157478" y="69290"/>
                    <a:pt x="158738" y="73070"/>
                    <a:pt x="159998" y="76849"/>
                  </a:cubicBezTo>
                  <a:cubicBezTo>
                    <a:pt x="161258" y="83148"/>
                    <a:pt x="162517" y="89448"/>
                    <a:pt x="163777" y="97006"/>
                  </a:cubicBezTo>
                  <a:lnTo>
                    <a:pt x="163777" y="98266"/>
                  </a:lnTo>
                  <a:cubicBezTo>
                    <a:pt x="165037" y="104565"/>
                    <a:pt x="166297" y="112124"/>
                    <a:pt x="166297" y="119683"/>
                  </a:cubicBezTo>
                  <a:cubicBezTo>
                    <a:pt x="166297" y="119683"/>
                    <a:pt x="166297" y="120943"/>
                    <a:pt x="166297" y="120943"/>
                  </a:cubicBezTo>
                  <a:cubicBezTo>
                    <a:pt x="166297" y="122203"/>
                    <a:pt x="166297" y="122203"/>
                    <a:pt x="166297" y="123463"/>
                  </a:cubicBezTo>
                  <a:cubicBezTo>
                    <a:pt x="166297" y="124723"/>
                    <a:pt x="165037" y="124723"/>
                    <a:pt x="165037" y="125982"/>
                  </a:cubicBezTo>
                  <a:cubicBezTo>
                    <a:pt x="165037" y="125982"/>
                    <a:pt x="163777" y="127242"/>
                    <a:pt x="163777" y="127242"/>
                  </a:cubicBezTo>
                  <a:lnTo>
                    <a:pt x="163777" y="127242"/>
                  </a:lnTo>
                  <a:cubicBezTo>
                    <a:pt x="163777" y="127242"/>
                    <a:pt x="162517" y="128502"/>
                    <a:pt x="162517" y="128502"/>
                  </a:cubicBezTo>
                  <a:cubicBezTo>
                    <a:pt x="161258" y="129762"/>
                    <a:pt x="161258" y="129762"/>
                    <a:pt x="159998" y="131022"/>
                  </a:cubicBezTo>
                  <a:cubicBezTo>
                    <a:pt x="158738" y="132281"/>
                    <a:pt x="156218" y="132281"/>
                    <a:pt x="154958" y="133541"/>
                  </a:cubicBezTo>
                  <a:cubicBezTo>
                    <a:pt x="153699" y="133541"/>
                    <a:pt x="152439" y="134801"/>
                    <a:pt x="151179" y="134801"/>
                  </a:cubicBezTo>
                  <a:cubicBezTo>
                    <a:pt x="151179" y="134801"/>
                    <a:pt x="149919" y="134801"/>
                    <a:pt x="149919" y="134801"/>
                  </a:cubicBezTo>
                  <a:cubicBezTo>
                    <a:pt x="149919" y="134801"/>
                    <a:pt x="148659" y="134801"/>
                    <a:pt x="148659" y="134801"/>
                  </a:cubicBezTo>
                  <a:cubicBezTo>
                    <a:pt x="147399" y="134801"/>
                    <a:pt x="146140" y="134801"/>
                    <a:pt x="144880" y="136061"/>
                  </a:cubicBezTo>
                  <a:cubicBezTo>
                    <a:pt x="143620" y="136061"/>
                    <a:pt x="142360" y="137321"/>
                    <a:pt x="141100" y="137321"/>
                  </a:cubicBezTo>
                  <a:lnTo>
                    <a:pt x="139840" y="137321"/>
                  </a:lnTo>
                  <a:cubicBezTo>
                    <a:pt x="138581" y="137321"/>
                    <a:pt x="138581" y="138581"/>
                    <a:pt x="137321" y="138581"/>
                  </a:cubicBezTo>
                  <a:cubicBezTo>
                    <a:pt x="134801" y="139840"/>
                    <a:pt x="132281" y="139840"/>
                    <a:pt x="129762" y="141100"/>
                  </a:cubicBezTo>
                  <a:cubicBezTo>
                    <a:pt x="127242" y="142360"/>
                    <a:pt x="124722" y="142360"/>
                    <a:pt x="122203" y="143620"/>
                  </a:cubicBezTo>
                  <a:cubicBezTo>
                    <a:pt x="123463" y="138581"/>
                    <a:pt x="123463" y="132281"/>
                    <a:pt x="124722" y="124723"/>
                  </a:cubicBezTo>
                  <a:cubicBezTo>
                    <a:pt x="124722" y="123463"/>
                    <a:pt x="124722" y="122203"/>
                    <a:pt x="124722" y="119683"/>
                  </a:cubicBezTo>
                  <a:cubicBezTo>
                    <a:pt x="123463" y="119683"/>
                    <a:pt x="122203" y="119683"/>
                    <a:pt x="120943" y="119683"/>
                  </a:cubicBezTo>
                  <a:cubicBezTo>
                    <a:pt x="119683" y="119683"/>
                    <a:pt x="117164" y="119683"/>
                    <a:pt x="115904" y="119683"/>
                  </a:cubicBezTo>
                  <a:cubicBezTo>
                    <a:pt x="110865" y="119683"/>
                    <a:pt x="104566" y="118424"/>
                    <a:pt x="100786" y="117164"/>
                  </a:cubicBezTo>
                  <a:cubicBezTo>
                    <a:pt x="99526" y="117164"/>
                    <a:pt x="98266" y="117164"/>
                    <a:pt x="97007" y="115904"/>
                  </a:cubicBezTo>
                  <a:lnTo>
                    <a:pt x="97007" y="115904"/>
                  </a:lnTo>
                  <a:cubicBezTo>
                    <a:pt x="93227" y="114644"/>
                    <a:pt x="88188" y="114644"/>
                    <a:pt x="83148" y="113384"/>
                  </a:cubicBezTo>
                  <a:cubicBezTo>
                    <a:pt x="76849" y="112124"/>
                    <a:pt x="70550" y="109605"/>
                    <a:pt x="64251" y="107085"/>
                  </a:cubicBezTo>
                  <a:cubicBezTo>
                    <a:pt x="56692" y="103305"/>
                    <a:pt x="51653" y="100786"/>
                    <a:pt x="46614" y="98266"/>
                  </a:cubicBezTo>
                  <a:cubicBezTo>
                    <a:pt x="44094" y="97006"/>
                    <a:pt x="41574" y="94487"/>
                    <a:pt x="39055" y="93227"/>
                  </a:cubicBezTo>
                  <a:cubicBezTo>
                    <a:pt x="36535" y="90707"/>
                    <a:pt x="34015" y="89448"/>
                    <a:pt x="31496" y="86928"/>
                  </a:cubicBezTo>
                  <a:cubicBezTo>
                    <a:pt x="27716" y="83148"/>
                    <a:pt x="23937" y="78109"/>
                    <a:pt x="20157" y="71810"/>
                  </a:cubicBezTo>
                  <a:cubicBezTo>
                    <a:pt x="16378" y="65511"/>
                    <a:pt x="13858" y="60472"/>
                    <a:pt x="11338" y="55432"/>
                  </a:cubicBezTo>
                  <a:cubicBezTo>
                    <a:pt x="8819" y="49133"/>
                    <a:pt x="6299" y="41574"/>
                    <a:pt x="3780" y="36535"/>
                  </a:cubicBezTo>
                  <a:cubicBezTo>
                    <a:pt x="2520" y="32755"/>
                    <a:pt x="1260" y="30236"/>
                    <a:pt x="0" y="25196"/>
                  </a:cubicBezTo>
                  <a:lnTo>
                    <a:pt x="0" y="25196"/>
                  </a:lnTo>
                  <a:cubicBezTo>
                    <a:pt x="1260" y="25196"/>
                    <a:pt x="1260" y="23937"/>
                    <a:pt x="2520" y="22677"/>
                  </a:cubicBezTo>
                  <a:cubicBezTo>
                    <a:pt x="3780" y="21417"/>
                    <a:pt x="3780" y="20157"/>
                    <a:pt x="5039" y="17638"/>
                  </a:cubicBezTo>
                  <a:lnTo>
                    <a:pt x="5039" y="17638"/>
                  </a:lnTo>
                  <a:cubicBezTo>
                    <a:pt x="5039" y="16378"/>
                    <a:pt x="6299" y="15118"/>
                    <a:pt x="6299" y="13858"/>
                  </a:cubicBezTo>
                  <a:lnTo>
                    <a:pt x="6299" y="12598"/>
                  </a:lnTo>
                  <a:lnTo>
                    <a:pt x="7559" y="10079"/>
                  </a:lnTo>
                  <a:lnTo>
                    <a:pt x="11338" y="1260"/>
                  </a:lnTo>
                  <a:cubicBezTo>
                    <a:pt x="11338" y="0"/>
                    <a:pt x="12598" y="0"/>
                    <a:pt x="13858" y="0"/>
                  </a:cubicBezTo>
                  <a:cubicBezTo>
                    <a:pt x="13858" y="0"/>
                    <a:pt x="15118" y="0"/>
                    <a:pt x="15118" y="0"/>
                  </a:cubicBezTo>
                  <a:cubicBezTo>
                    <a:pt x="16378" y="2520"/>
                    <a:pt x="16378" y="2520"/>
                    <a:pt x="17637" y="378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1" name="任意多边形: 形状 10230"/>
            <p:cNvSpPr/>
            <p:nvPr/>
          </p:nvSpPr>
          <p:spPr>
            <a:xfrm>
              <a:off x="5134495" y="3200971"/>
              <a:ext cx="340152" cy="377947"/>
            </a:xfrm>
            <a:custGeom>
              <a:avLst/>
              <a:gdLst>
                <a:gd name="connsiteX0" fmla="*/ 306137 w 340152"/>
                <a:gd name="connsiteY0" fmla="*/ 1260 h 377946"/>
                <a:gd name="connsiteX1" fmla="*/ 312436 w 340152"/>
                <a:gd name="connsiteY1" fmla="*/ 2520 h 377946"/>
                <a:gd name="connsiteX2" fmla="*/ 319995 w 340152"/>
                <a:gd name="connsiteY2" fmla="*/ 6299 h 377946"/>
                <a:gd name="connsiteX3" fmla="*/ 321255 w 340152"/>
                <a:gd name="connsiteY3" fmla="*/ 7559 h 377946"/>
                <a:gd name="connsiteX4" fmla="*/ 328814 w 340152"/>
                <a:gd name="connsiteY4" fmla="*/ 11339 h 377946"/>
                <a:gd name="connsiteX5" fmla="*/ 332593 w 340152"/>
                <a:gd name="connsiteY5" fmla="*/ 15118 h 377946"/>
                <a:gd name="connsiteX6" fmla="*/ 337633 w 340152"/>
                <a:gd name="connsiteY6" fmla="*/ 26456 h 377946"/>
                <a:gd name="connsiteX7" fmla="*/ 340152 w 340152"/>
                <a:gd name="connsiteY7" fmla="*/ 36535 h 377946"/>
                <a:gd name="connsiteX8" fmla="*/ 340152 w 340152"/>
                <a:gd name="connsiteY8" fmla="*/ 36535 h 377946"/>
                <a:gd name="connsiteX9" fmla="*/ 340152 w 340152"/>
                <a:gd name="connsiteY9" fmla="*/ 36535 h 377946"/>
                <a:gd name="connsiteX10" fmla="*/ 341412 w 340152"/>
                <a:gd name="connsiteY10" fmla="*/ 44094 h 377946"/>
                <a:gd name="connsiteX11" fmla="*/ 341412 w 340152"/>
                <a:gd name="connsiteY11" fmla="*/ 62991 h 377946"/>
                <a:gd name="connsiteX12" fmla="*/ 340152 w 340152"/>
                <a:gd name="connsiteY12" fmla="*/ 81889 h 377946"/>
                <a:gd name="connsiteX13" fmla="*/ 340152 w 340152"/>
                <a:gd name="connsiteY13" fmla="*/ 81889 h 377946"/>
                <a:gd name="connsiteX14" fmla="*/ 340152 w 340152"/>
                <a:gd name="connsiteY14" fmla="*/ 81889 h 377946"/>
                <a:gd name="connsiteX15" fmla="*/ 338892 w 340152"/>
                <a:gd name="connsiteY15" fmla="*/ 88188 h 377946"/>
                <a:gd name="connsiteX16" fmla="*/ 333853 w 340152"/>
                <a:gd name="connsiteY16" fmla="*/ 103306 h 377946"/>
                <a:gd name="connsiteX17" fmla="*/ 331334 w 340152"/>
                <a:gd name="connsiteY17" fmla="*/ 107085 h 377946"/>
                <a:gd name="connsiteX18" fmla="*/ 319995 w 340152"/>
                <a:gd name="connsiteY18" fmla="*/ 120943 h 377946"/>
                <a:gd name="connsiteX19" fmla="*/ 308657 w 340152"/>
                <a:gd name="connsiteY19" fmla="*/ 133541 h 377946"/>
                <a:gd name="connsiteX20" fmla="*/ 308657 w 340152"/>
                <a:gd name="connsiteY20" fmla="*/ 133541 h 377946"/>
                <a:gd name="connsiteX21" fmla="*/ 297318 w 340152"/>
                <a:gd name="connsiteY21" fmla="*/ 144880 h 377946"/>
                <a:gd name="connsiteX22" fmla="*/ 284720 w 340152"/>
                <a:gd name="connsiteY22" fmla="*/ 157478 h 377946"/>
                <a:gd name="connsiteX23" fmla="*/ 273382 w 340152"/>
                <a:gd name="connsiteY23" fmla="*/ 168816 h 377946"/>
                <a:gd name="connsiteX24" fmla="*/ 272122 w 340152"/>
                <a:gd name="connsiteY24" fmla="*/ 170076 h 377946"/>
                <a:gd name="connsiteX25" fmla="*/ 269602 w 340152"/>
                <a:gd name="connsiteY25" fmla="*/ 172596 h 377946"/>
                <a:gd name="connsiteX26" fmla="*/ 246925 w 340152"/>
                <a:gd name="connsiteY26" fmla="*/ 194013 h 377946"/>
                <a:gd name="connsiteX27" fmla="*/ 234327 w 340152"/>
                <a:gd name="connsiteY27" fmla="*/ 205351 h 377946"/>
                <a:gd name="connsiteX28" fmla="*/ 222989 w 340152"/>
                <a:gd name="connsiteY28" fmla="*/ 215430 h 377946"/>
                <a:gd name="connsiteX29" fmla="*/ 221729 w 340152"/>
                <a:gd name="connsiteY29" fmla="*/ 216690 h 377946"/>
                <a:gd name="connsiteX30" fmla="*/ 216690 w 340152"/>
                <a:gd name="connsiteY30" fmla="*/ 221729 h 377946"/>
                <a:gd name="connsiteX31" fmla="*/ 209131 w 340152"/>
                <a:gd name="connsiteY31" fmla="*/ 228028 h 377946"/>
                <a:gd name="connsiteX32" fmla="*/ 194013 w 340152"/>
                <a:gd name="connsiteY32" fmla="*/ 240626 h 377946"/>
                <a:gd name="connsiteX33" fmla="*/ 181414 w 340152"/>
                <a:gd name="connsiteY33" fmla="*/ 249445 h 377946"/>
                <a:gd name="connsiteX34" fmla="*/ 167557 w 340152"/>
                <a:gd name="connsiteY34" fmla="*/ 259524 h 377946"/>
                <a:gd name="connsiteX35" fmla="*/ 158738 w 340152"/>
                <a:gd name="connsiteY35" fmla="*/ 267083 h 377946"/>
                <a:gd name="connsiteX36" fmla="*/ 156218 w 340152"/>
                <a:gd name="connsiteY36" fmla="*/ 269602 h 377946"/>
                <a:gd name="connsiteX37" fmla="*/ 149919 w 340152"/>
                <a:gd name="connsiteY37" fmla="*/ 274642 h 377946"/>
                <a:gd name="connsiteX38" fmla="*/ 142360 w 340152"/>
                <a:gd name="connsiteY38" fmla="*/ 280941 h 377946"/>
                <a:gd name="connsiteX39" fmla="*/ 142360 w 340152"/>
                <a:gd name="connsiteY39" fmla="*/ 280941 h 377946"/>
                <a:gd name="connsiteX40" fmla="*/ 129762 w 340152"/>
                <a:gd name="connsiteY40" fmla="*/ 292279 h 377946"/>
                <a:gd name="connsiteX41" fmla="*/ 117164 w 340152"/>
                <a:gd name="connsiteY41" fmla="*/ 304877 h 377946"/>
                <a:gd name="connsiteX42" fmla="*/ 112124 w 340152"/>
                <a:gd name="connsiteY42" fmla="*/ 311177 h 377946"/>
                <a:gd name="connsiteX43" fmla="*/ 108345 w 340152"/>
                <a:gd name="connsiteY43" fmla="*/ 317476 h 377946"/>
                <a:gd name="connsiteX44" fmla="*/ 105825 w 340152"/>
                <a:gd name="connsiteY44" fmla="*/ 323775 h 377946"/>
                <a:gd name="connsiteX45" fmla="*/ 105825 w 340152"/>
                <a:gd name="connsiteY45" fmla="*/ 325034 h 377946"/>
                <a:gd name="connsiteX46" fmla="*/ 99526 w 340152"/>
                <a:gd name="connsiteY46" fmla="*/ 340152 h 377946"/>
                <a:gd name="connsiteX47" fmla="*/ 99526 w 340152"/>
                <a:gd name="connsiteY47" fmla="*/ 340152 h 377946"/>
                <a:gd name="connsiteX48" fmla="*/ 95747 w 340152"/>
                <a:gd name="connsiteY48" fmla="*/ 347711 h 377946"/>
                <a:gd name="connsiteX49" fmla="*/ 93227 w 340152"/>
                <a:gd name="connsiteY49" fmla="*/ 352751 h 377946"/>
                <a:gd name="connsiteX50" fmla="*/ 91967 w 340152"/>
                <a:gd name="connsiteY50" fmla="*/ 355270 h 377946"/>
                <a:gd name="connsiteX51" fmla="*/ 89448 w 340152"/>
                <a:gd name="connsiteY51" fmla="*/ 359050 h 377946"/>
                <a:gd name="connsiteX52" fmla="*/ 88188 w 340152"/>
                <a:gd name="connsiteY52" fmla="*/ 361569 h 377946"/>
                <a:gd name="connsiteX53" fmla="*/ 80629 w 340152"/>
                <a:gd name="connsiteY53" fmla="*/ 371648 h 377946"/>
                <a:gd name="connsiteX54" fmla="*/ 74329 w 340152"/>
                <a:gd name="connsiteY54" fmla="*/ 377947 h 377946"/>
                <a:gd name="connsiteX55" fmla="*/ 71810 w 340152"/>
                <a:gd name="connsiteY55" fmla="*/ 380467 h 377946"/>
                <a:gd name="connsiteX56" fmla="*/ 71810 w 340152"/>
                <a:gd name="connsiteY56" fmla="*/ 380467 h 377946"/>
                <a:gd name="connsiteX57" fmla="*/ 68030 w 340152"/>
                <a:gd name="connsiteY57" fmla="*/ 382986 h 377946"/>
                <a:gd name="connsiteX58" fmla="*/ 62991 w 340152"/>
                <a:gd name="connsiteY58" fmla="*/ 385506 h 377946"/>
                <a:gd name="connsiteX59" fmla="*/ 56692 w 340152"/>
                <a:gd name="connsiteY59" fmla="*/ 388026 h 377946"/>
                <a:gd name="connsiteX60" fmla="*/ 51653 w 340152"/>
                <a:gd name="connsiteY60" fmla="*/ 389286 h 377946"/>
                <a:gd name="connsiteX61" fmla="*/ 50393 w 340152"/>
                <a:gd name="connsiteY61" fmla="*/ 389286 h 377946"/>
                <a:gd name="connsiteX62" fmla="*/ 47874 w 340152"/>
                <a:gd name="connsiteY62" fmla="*/ 389286 h 377946"/>
                <a:gd name="connsiteX63" fmla="*/ 47874 w 340152"/>
                <a:gd name="connsiteY63" fmla="*/ 389286 h 377946"/>
                <a:gd name="connsiteX64" fmla="*/ 47874 w 340152"/>
                <a:gd name="connsiteY64" fmla="*/ 389286 h 377946"/>
                <a:gd name="connsiteX65" fmla="*/ 47874 w 340152"/>
                <a:gd name="connsiteY65" fmla="*/ 389286 h 377946"/>
                <a:gd name="connsiteX66" fmla="*/ 47874 w 340152"/>
                <a:gd name="connsiteY66" fmla="*/ 389286 h 377946"/>
                <a:gd name="connsiteX67" fmla="*/ 47874 w 340152"/>
                <a:gd name="connsiteY67" fmla="*/ 389286 h 377946"/>
                <a:gd name="connsiteX68" fmla="*/ 47874 w 340152"/>
                <a:gd name="connsiteY68" fmla="*/ 389286 h 377946"/>
                <a:gd name="connsiteX69" fmla="*/ 39055 w 340152"/>
                <a:gd name="connsiteY69" fmla="*/ 386766 h 377946"/>
                <a:gd name="connsiteX70" fmla="*/ 39055 w 340152"/>
                <a:gd name="connsiteY70" fmla="*/ 386766 h 377946"/>
                <a:gd name="connsiteX71" fmla="*/ 31496 w 340152"/>
                <a:gd name="connsiteY71" fmla="*/ 382986 h 377946"/>
                <a:gd name="connsiteX72" fmla="*/ 28976 w 340152"/>
                <a:gd name="connsiteY72" fmla="*/ 381727 h 377946"/>
                <a:gd name="connsiteX73" fmla="*/ 27716 w 340152"/>
                <a:gd name="connsiteY73" fmla="*/ 381727 h 377946"/>
                <a:gd name="connsiteX74" fmla="*/ 23937 w 340152"/>
                <a:gd name="connsiteY74" fmla="*/ 379207 h 377946"/>
                <a:gd name="connsiteX75" fmla="*/ 21417 w 340152"/>
                <a:gd name="connsiteY75" fmla="*/ 376687 h 377946"/>
                <a:gd name="connsiteX76" fmla="*/ 21417 w 340152"/>
                <a:gd name="connsiteY76" fmla="*/ 376687 h 377946"/>
                <a:gd name="connsiteX77" fmla="*/ 15118 w 340152"/>
                <a:gd name="connsiteY77" fmla="*/ 369128 h 377946"/>
                <a:gd name="connsiteX78" fmla="*/ 15118 w 340152"/>
                <a:gd name="connsiteY78" fmla="*/ 367869 h 377946"/>
                <a:gd name="connsiteX79" fmla="*/ 13858 w 340152"/>
                <a:gd name="connsiteY79" fmla="*/ 365349 h 377946"/>
                <a:gd name="connsiteX80" fmla="*/ 11338 w 340152"/>
                <a:gd name="connsiteY80" fmla="*/ 361569 h 377946"/>
                <a:gd name="connsiteX81" fmla="*/ 7559 w 340152"/>
                <a:gd name="connsiteY81" fmla="*/ 352751 h 377946"/>
                <a:gd name="connsiteX82" fmla="*/ 3780 w 340152"/>
                <a:gd name="connsiteY82" fmla="*/ 342672 h 377946"/>
                <a:gd name="connsiteX83" fmla="*/ 3780 w 340152"/>
                <a:gd name="connsiteY83" fmla="*/ 341412 h 377946"/>
                <a:gd name="connsiteX84" fmla="*/ 0 w 340152"/>
                <a:gd name="connsiteY84" fmla="*/ 323775 h 377946"/>
                <a:gd name="connsiteX85" fmla="*/ 0 w 340152"/>
                <a:gd name="connsiteY85" fmla="*/ 316216 h 377946"/>
                <a:gd name="connsiteX86" fmla="*/ 0 w 340152"/>
                <a:gd name="connsiteY86" fmla="*/ 313696 h 377946"/>
                <a:gd name="connsiteX87" fmla="*/ 0 w 340152"/>
                <a:gd name="connsiteY87" fmla="*/ 307397 h 377946"/>
                <a:gd name="connsiteX88" fmla="*/ 0 w 340152"/>
                <a:gd name="connsiteY88" fmla="*/ 304877 h 377946"/>
                <a:gd name="connsiteX89" fmla="*/ 0 w 340152"/>
                <a:gd name="connsiteY89" fmla="*/ 304877 h 377946"/>
                <a:gd name="connsiteX90" fmla="*/ 0 w 340152"/>
                <a:gd name="connsiteY90" fmla="*/ 304877 h 377946"/>
                <a:gd name="connsiteX91" fmla="*/ 0 w 340152"/>
                <a:gd name="connsiteY91" fmla="*/ 299838 h 377946"/>
                <a:gd name="connsiteX92" fmla="*/ 0 w 340152"/>
                <a:gd name="connsiteY92" fmla="*/ 297318 h 377946"/>
                <a:gd name="connsiteX93" fmla="*/ 0 w 340152"/>
                <a:gd name="connsiteY93" fmla="*/ 294799 h 377946"/>
                <a:gd name="connsiteX94" fmla="*/ 0 w 340152"/>
                <a:gd name="connsiteY94" fmla="*/ 289759 h 377946"/>
                <a:gd name="connsiteX95" fmla="*/ 2520 w 340152"/>
                <a:gd name="connsiteY95" fmla="*/ 282201 h 377946"/>
                <a:gd name="connsiteX96" fmla="*/ 2520 w 340152"/>
                <a:gd name="connsiteY96" fmla="*/ 282201 h 377946"/>
                <a:gd name="connsiteX97" fmla="*/ 2520 w 340152"/>
                <a:gd name="connsiteY97" fmla="*/ 280941 h 377946"/>
                <a:gd name="connsiteX98" fmla="*/ 5039 w 340152"/>
                <a:gd name="connsiteY98" fmla="*/ 272122 h 377946"/>
                <a:gd name="connsiteX99" fmla="*/ 5039 w 340152"/>
                <a:gd name="connsiteY99" fmla="*/ 270862 h 377946"/>
                <a:gd name="connsiteX100" fmla="*/ 5039 w 340152"/>
                <a:gd name="connsiteY100" fmla="*/ 270862 h 377946"/>
                <a:gd name="connsiteX101" fmla="*/ 11338 w 340152"/>
                <a:gd name="connsiteY101" fmla="*/ 257004 h 377946"/>
                <a:gd name="connsiteX102" fmla="*/ 12598 w 340152"/>
                <a:gd name="connsiteY102" fmla="*/ 254484 h 377946"/>
                <a:gd name="connsiteX103" fmla="*/ 12598 w 340152"/>
                <a:gd name="connsiteY103" fmla="*/ 254484 h 377946"/>
                <a:gd name="connsiteX104" fmla="*/ 15118 w 340152"/>
                <a:gd name="connsiteY104" fmla="*/ 249445 h 377946"/>
                <a:gd name="connsiteX105" fmla="*/ 20157 w 340152"/>
                <a:gd name="connsiteY105" fmla="*/ 240626 h 377946"/>
                <a:gd name="connsiteX106" fmla="*/ 20157 w 340152"/>
                <a:gd name="connsiteY106" fmla="*/ 240626 h 377946"/>
                <a:gd name="connsiteX107" fmla="*/ 27716 w 340152"/>
                <a:gd name="connsiteY107" fmla="*/ 226768 h 377946"/>
                <a:gd name="connsiteX108" fmla="*/ 37795 w 340152"/>
                <a:gd name="connsiteY108" fmla="*/ 211650 h 377946"/>
                <a:gd name="connsiteX109" fmla="*/ 49133 w 340152"/>
                <a:gd name="connsiteY109" fmla="*/ 196533 h 377946"/>
                <a:gd name="connsiteX110" fmla="*/ 69290 w 340152"/>
                <a:gd name="connsiteY110" fmla="*/ 172596 h 377946"/>
                <a:gd name="connsiteX111" fmla="*/ 71810 w 340152"/>
                <a:gd name="connsiteY111" fmla="*/ 170076 h 377946"/>
                <a:gd name="connsiteX112" fmla="*/ 95747 w 340152"/>
                <a:gd name="connsiteY112" fmla="*/ 144880 h 377946"/>
                <a:gd name="connsiteX113" fmla="*/ 104566 w 340152"/>
                <a:gd name="connsiteY113" fmla="*/ 137321 h 377946"/>
                <a:gd name="connsiteX114" fmla="*/ 104566 w 340152"/>
                <a:gd name="connsiteY114" fmla="*/ 137321 h 377946"/>
                <a:gd name="connsiteX115" fmla="*/ 104566 w 340152"/>
                <a:gd name="connsiteY115" fmla="*/ 137321 h 377946"/>
                <a:gd name="connsiteX116" fmla="*/ 104566 w 340152"/>
                <a:gd name="connsiteY116" fmla="*/ 137321 h 377946"/>
                <a:gd name="connsiteX117" fmla="*/ 120943 w 340152"/>
                <a:gd name="connsiteY117" fmla="*/ 120943 h 377946"/>
                <a:gd name="connsiteX118" fmla="*/ 146140 w 340152"/>
                <a:gd name="connsiteY118" fmla="*/ 97007 h 377946"/>
                <a:gd name="connsiteX119" fmla="*/ 159998 w 340152"/>
                <a:gd name="connsiteY119" fmla="*/ 84408 h 377946"/>
                <a:gd name="connsiteX120" fmla="*/ 167557 w 340152"/>
                <a:gd name="connsiteY120" fmla="*/ 78109 h 377946"/>
                <a:gd name="connsiteX121" fmla="*/ 172596 w 340152"/>
                <a:gd name="connsiteY121" fmla="*/ 73070 h 377946"/>
                <a:gd name="connsiteX122" fmla="*/ 176375 w 340152"/>
                <a:gd name="connsiteY122" fmla="*/ 70550 h 377946"/>
                <a:gd name="connsiteX123" fmla="*/ 187714 w 340152"/>
                <a:gd name="connsiteY123" fmla="*/ 60472 h 377946"/>
                <a:gd name="connsiteX124" fmla="*/ 188973 w 340152"/>
                <a:gd name="connsiteY124" fmla="*/ 59212 h 377946"/>
                <a:gd name="connsiteX125" fmla="*/ 191493 w 340152"/>
                <a:gd name="connsiteY125" fmla="*/ 56692 h 377946"/>
                <a:gd name="connsiteX126" fmla="*/ 194013 w 340152"/>
                <a:gd name="connsiteY126" fmla="*/ 52913 h 377946"/>
                <a:gd name="connsiteX127" fmla="*/ 200312 w 340152"/>
                <a:gd name="connsiteY127" fmla="*/ 46614 h 377946"/>
                <a:gd name="connsiteX128" fmla="*/ 200312 w 340152"/>
                <a:gd name="connsiteY128" fmla="*/ 46614 h 377946"/>
                <a:gd name="connsiteX129" fmla="*/ 200312 w 340152"/>
                <a:gd name="connsiteY129" fmla="*/ 46614 h 377946"/>
                <a:gd name="connsiteX130" fmla="*/ 200312 w 340152"/>
                <a:gd name="connsiteY130" fmla="*/ 46614 h 377946"/>
                <a:gd name="connsiteX131" fmla="*/ 200312 w 340152"/>
                <a:gd name="connsiteY131" fmla="*/ 46614 h 377946"/>
                <a:gd name="connsiteX132" fmla="*/ 200312 w 340152"/>
                <a:gd name="connsiteY132" fmla="*/ 46614 h 377946"/>
                <a:gd name="connsiteX133" fmla="*/ 200312 w 340152"/>
                <a:gd name="connsiteY133" fmla="*/ 46614 h 377946"/>
                <a:gd name="connsiteX134" fmla="*/ 204092 w 340152"/>
                <a:gd name="connsiteY134" fmla="*/ 44094 h 377946"/>
                <a:gd name="connsiteX135" fmla="*/ 204092 w 340152"/>
                <a:gd name="connsiteY135" fmla="*/ 44094 h 377946"/>
                <a:gd name="connsiteX136" fmla="*/ 204092 w 340152"/>
                <a:gd name="connsiteY136" fmla="*/ 44094 h 377946"/>
                <a:gd name="connsiteX137" fmla="*/ 204092 w 340152"/>
                <a:gd name="connsiteY137" fmla="*/ 44094 h 377946"/>
                <a:gd name="connsiteX138" fmla="*/ 204092 w 340152"/>
                <a:gd name="connsiteY138" fmla="*/ 44094 h 377946"/>
                <a:gd name="connsiteX139" fmla="*/ 204092 w 340152"/>
                <a:gd name="connsiteY139" fmla="*/ 44094 h 377946"/>
                <a:gd name="connsiteX140" fmla="*/ 204092 w 340152"/>
                <a:gd name="connsiteY140" fmla="*/ 44094 h 377946"/>
                <a:gd name="connsiteX141" fmla="*/ 204092 w 340152"/>
                <a:gd name="connsiteY141" fmla="*/ 44094 h 377946"/>
                <a:gd name="connsiteX142" fmla="*/ 204092 w 340152"/>
                <a:gd name="connsiteY142" fmla="*/ 44094 h 377946"/>
                <a:gd name="connsiteX143" fmla="*/ 204092 w 340152"/>
                <a:gd name="connsiteY143" fmla="*/ 44094 h 377946"/>
                <a:gd name="connsiteX144" fmla="*/ 204092 w 340152"/>
                <a:gd name="connsiteY144" fmla="*/ 44094 h 377946"/>
                <a:gd name="connsiteX145" fmla="*/ 204092 w 340152"/>
                <a:gd name="connsiteY145" fmla="*/ 44094 h 377946"/>
                <a:gd name="connsiteX146" fmla="*/ 204092 w 340152"/>
                <a:gd name="connsiteY146" fmla="*/ 44094 h 377946"/>
                <a:gd name="connsiteX147" fmla="*/ 204092 w 340152"/>
                <a:gd name="connsiteY147" fmla="*/ 44094 h 377946"/>
                <a:gd name="connsiteX148" fmla="*/ 204092 w 340152"/>
                <a:gd name="connsiteY148" fmla="*/ 44094 h 377946"/>
                <a:gd name="connsiteX149" fmla="*/ 204092 w 340152"/>
                <a:gd name="connsiteY149" fmla="*/ 44094 h 377946"/>
                <a:gd name="connsiteX150" fmla="*/ 215430 w 340152"/>
                <a:gd name="connsiteY150" fmla="*/ 35275 h 377946"/>
                <a:gd name="connsiteX151" fmla="*/ 220469 w 340152"/>
                <a:gd name="connsiteY151" fmla="*/ 31496 h 377946"/>
                <a:gd name="connsiteX152" fmla="*/ 225508 w 340152"/>
                <a:gd name="connsiteY152" fmla="*/ 27716 h 377946"/>
                <a:gd name="connsiteX153" fmla="*/ 234327 w 340152"/>
                <a:gd name="connsiteY153" fmla="*/ 22677 h 377946"/>
                <a:gd name="connsiteX154" fmla="*/ 238107 w 340152"/>
                <a:gd name="connsiteY154" fmla="*/ 20157 h 377946"/>
                <a:gd name="connsiteX155" fmla="*/ 238107 w 340152"/>
                <a:gd name="connsiteY155" fmla="*/ 20157 h 377946"/>
                <a:gd name="connsiteX156" fmla="*/ 244406 w 340152"/>
                <a:gd name="connsiteY156" fmla="*/ 16378 h 377946"/>
                <a:gd name="connsiteX157" fmla="*/ 262043 w 340152"/>
                <a:gd name="connsiteY157" fmla="*/ 7559 h 377946"/>
                <a:gd name="connsiteX158" fmla="*/ 283460 w 340152"/>
                <a:gd name="connsiteY158" fmla="*/ 1260 h 377946"/>
                <a:gd name="connsiteX159" fmla="*/ 296058 w 340152"/>
                <a:gd name="connsiteY159" fmla="*/ 0 h 377946"/>
                <a:gd name="connsiteX160" fmla="*/ 306137 w 340152"/>
                <a:gd name="connsiteY160" fmla="*/ 1260 h 377946"/>
                <a:gd name="connsiteX161" fmla="*/ 306137 w 340152"/>
                <a:gd name="connsiteY161" fmla="*/ 1260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340152" h="377946">
                  <a:moveTo>
                    <a:pt x="306137" y="1260"/>
                  </a:moveTo>
                  <a:cubicBezTo>
                    <a:pt x="307397" y="1260"/>
                    <a:pt x="309917" y="2520"/>
                    <a:pt x="312436" y="2520"/>
                  </a:cubicBezTo>
                  <a:cubicBezTo>
                    <a:pt x="314956" y="3780"/>
                    <a:pt x="317476" y="5039"/>
                    <a:pt x="319995" y="6299"/>
                  </a:cubicBezTo>
                  <a:lnTo>
                    <a:pt x="321255" y="7559"/>
                  </a:lnTo>
                  <a:cubicBezTo>
                    <a:pt x="323775" y="8819"/>
                    <a:pt x="326294" y="10079"/>
                    <a:pt x="328814" y="11339"/>
                  </a:cubicBezTo>
                  <a:cubicBezTo>
                    <a:pt x="330074" y="12598"/>
                    <a:pt x="331334" y="13858"/>
                    <a:pt x="332593" y="15118"/>
                  </a:cubicBezTo>
                  <a:cubicBezTo>
                    <a:pt x="335113" y="18897"/>
                    <a:pt x="336373" y="22677"/>
                    <a:pt x="337633" y="26456"/>
                  </a:cubicBezTo>
                  <a:cubicBezTo>
                    <a:pt x="338892" y="30236"/>
                    <a:pt x="340152" y="32755"/>
                    <a:pt x="340152" y="36535"/>
                  </a:cubicBezTo>
                  <a:lnTo>
                    <a:pt x="340152" y="36535"/>
                  </a:lnTo>
                  <a:lnTo>
                    <a:pt x="340152" y="36535"/>
                  </a:lnTo>
                  <a:cubicBezTo>
                    <a:pt x="341412" y="39055"/>
                    <a:pt x="341412" y="41574"/>
                    <a:pt x="341412" y="44094"/>
                  </a:cubicBezTo>
                  <a:cubicBezTo>
                    <a:pt x="341412" y="50393"/>
                    <a:pt x="341412" y="57952"/>
                    <a:pt x="341412" y="62991"/>
                  </a:cubicBezTo>
                  <a:cubicBezTo>
                    <a:pt x="341412" y="69290"/>
                    <a:pt x="340152" y="75589"/>
                    <a:pt x="340152" y="81889"/>
                  </a:cubicBezTo>
                  <a:lnTo>
                    <a:pt x="340152" y="81889"/>
                  </a:lnTo>
                  <a:lnTo>
                    <a:pt x="340152" y="81889"/>
                  </a:lnTo>
                  <a:cubicBezTo>
                    <a:pt x="340152" y="84408"/>
                    <a:pt x="338892" y="85668"/>
                    <a:pt x="338892" y="88188"/>
                  </a:cubicBezTo>
                  <a:cubicBezTo>
                    <a:pt x="337633" y="93227"/>
                    <a:pt x="336373" y="98266"/>
                    <a:pt x="333853" y="103306"/>
                  </a:cubicBezTo>
                  <a:cubicBezTo>
                    <a:pt x="332593" y="104565"/>
                    <a:pt x="332593" y="105825"/>
                    <a:pt x="331334" y="107085"/>
                  </a:cubicBezTo>
                  <a:cubicBezTo>
                    <a:pt x="327554" y="112124"/>
                    <a:pt x="323775" y="117164"/>
                    <a:pt x="319995" y="120943"/>
                  </a:cubicBezTo>
                  <a:cubicBezTo>
                    <a:pt x="316216" y="124723"/>
                    <a:pt x="312436" y="129762"/>
                    <a:pt x="308657" y="133541"/>
                  </a:cubicBezTo>
                  <a:lnTo>
                    <a:pt x="308657" y="133541"/>
                  </a:lnTo>
                  <a:cubicBezTo>
                    <a:pt x="304877" y="137321"/>
                    <a:pt x="301098" y="141100"/>
                    <a:pt x="297318" y="144880"/>
                  </a:cubicBezTo>
                  <a:cubicBezTo>
                    <a:pt x="293539" y="148659"/>
                    <a:pt x="288499" y="153699"/>
                    <a:pt x="284720" y="157478"/>
                  </a:cubicBezTo>
                  <a:cubicBezTo>
                    <a:pt x="280941" y="161257"/>
                    <a:pt x="277161" y="165037"/>
                    <a:pt x="273382" y="168816"/>
                  </a:cubicBezTo>
                  <a:lnTo>
                    <a:pt x="272122" y="170076"/>
                  </a:lnTo>
                  <a:lnTo>
                    <a:pt x="269602" y="172596"/>
                  </a:lnTo>
                  <a:cubicBezTo>
                    <a:pt x="262043" y="180155"/>
                    <a:pt x="254484" y="187714"/>
                    <a:pt x="246925" y="194013"/>
                  </a:cubicBezTo>
                  <a:cubicBezTo>
                    <a:pt x="243146" y="197792"/>
                    <a:pt x="238107" y="201572"/>
                    <a:pt x="234327" y="205351"/>
                  </a:cubicBezTo>
                  <a:cubicBezTo>
                    <a:pt x="230548" y="209131"/>
                    <a:pt x="226768" y="211650"/>
                    <a:pt x="222989" y="215430"/>
                  </a:cubicBezTo>
                  <a:lnTo>
                    <a:pt x="221729" y="216690"/>
                  </a:lnTo>
                  <a:cubicBezTo>
                    <a:pt x="220469" y="217949"/>
                    <a:pt x="217950" y="219209"/>
                    <a:pt x="216690" y="221729"/>
                  </a:cubicBezTo>
                  <a:cubicBezTo>
                    <a:pt x="214170" y="224249"/>
                    <a:pt x="211651" y="225508"/>
                    <a:pt x="209131" y="228028"/>
                  </a:cubicBezTo>
                  <a:cubicBezTo>
                    <a:pt x="204092" y="231808"/>
                    <a:pt x="199052" y="235587"/>
                    <a:pt x="194013" y="240626"/>
                  </a:cubicBezTo>
                  <a:cubicBezTo>
                    <a:pt x="190233" y="244406"/>
                    <a:pt x="185194" y="246925"/>
                    <a:pt x="181414" y="249445"/>
                  </a:cubicBezTo>
                  <a:cubicBezTo>
                    <a:pt x="176375" y="253225"/>
                    <a:pt x="172596" y="257004"/>
                    <a:pt x="167557" y="259524"/>
                  </a:cubicBezTo>
                  <a:cubicBezTo>
                    <a:pt x="163777" y="262043"/>
                    <a:pt x="161258" y="264563"/>
                    <a:pt x="158738" y="267083"/>
                  </a:cubicBezTo>
                  <a:lnTo>
                    <a:pt x="156218" y="269602"/>
                  </a:lnTo>
                  <a:cubicBezTo>
                    <a:pt x="153699" y="270862"/>
                    <a:pt x="152439" y="273382"/>
                    <a:pt x="149919" y="274642"/>
                  </a:cubicBezTo>
                  <a:cubicBezTo>
                    <a:pt x="147399" y="277161"/>
                    <a:pt x="144880" y="278421"/>
                    <a:pt x="142360" y="280941"/>
                  </a:cubicBezTo>
                  <a:lnTo>
                    <a:pt x="142360" y="280941"/>
                  </a:lnTo>
                  <a:cubicBezTo>
                    <a:pt x="138581" y="284720"/>
                    <a:pt x="133541" y="288500"/>
                    <a:pt x="129762" y="292279"/>
                  </a:cubicBezTo>
                  <a:cubicBezTo>
                    <a:pt x="125982" y="296058"/>
                    <a:pt x="120943" y="299838"/>
                    <a:pt x="117164" y="304877"/>
                  </a:cubicBezTo>
                  <a:cubicBezTo>
                    <a:pt x="115904" y="306137"/>
                    <a:pt x="113384" y="308657"/>
                    <a:pt x="112124" y="311177"/>
                  </a:cubicBezTo>
                  <a:cubicBezTo>
                    <a:pt x="110865" y="312436"/>
                    <a:pt x="109605" y="314956"/>
                    <a:pt x="108345" y="317476"/>
                  </a:cubicBezTo>
                  <a:cubicBezTo>
                    <a:pt x="107085" y="319995"/>
                    <a:pt x="107085" y="321255"/>
                    <a:pt x="105825" y="323775"/>
                  </a:cubicBezTo>
                  <a:lnTo>
                    <a:pt x="105825" y="325034"/>
                  </a:lnTo>
                  <a:cubicBezTo>
                    <a:pt x="103306" y="330074"/>
                    <a:pt x="102046" y="335113"/>
                    <a:pt x="99526" y="340152"/>
                  </a:cubicBezTo>
                  <a:lnTo>
                    <a:pt x="99526" y="340152"/>
                  </a:lnTo>
                  <a:cubicBezTo>
                    <a:pt x="98266" y="342672"/>
                    <a:pt x="97007" y="345192"/>
                    <a:pt x="95747" y="347711"/>
                  </a:cubicBezTo>
                  <a:cubicBezTo>
                    <a:pt x="94487" y="348971"/>
                    <a:pt x="94487" y="351491"/>
                    <a:pt x="93227" y="352751"/>
                  </a:cubicBezTo>
                  <a:cubicBezTo>
                    <a:pt x="93227" y="354010"/>
                    <a:pt x="91967" y="354010"/>
                    <a:pt x="91967" y="355270"/>
                  </a:cubicBezTo>
                  <a:cubicBezTo>
                    <a:pt x="90707" y="356530"/>
                    <a:pt x="90707" y="357790"/>
                    <a:pt x="89448" y="359050"/>
                  </a:cubicBezTo>
                  <a:lnTo>
                    <a:pt x="88188" y="361569"/>
                  </a:lnTo>
                  <a:cubicBezTo>
                    <a:pt x="85668" y="365349"/>
                    <a:pt x="84408" y="369128"/>
                    <a:pt x="80629" y="371648"/>
                  </a:cubicBezTo>
                  <a:cubicBezTo>
                    <a:pt x="78109" y="374168"/>
                    <a:pt x="76849" y="375427"/>
                    <a:pt x="74329" y="377947"/>
                  </a:cubicBezTo>
                  <a:cubicBezTo>
                    <a:pt x="73070" y="379207"/>
                    <a:pt x="71810" y="379207"/>
                    <a:pt x="71810" y="380467"/>
                  </a:cubicBezTo>
                  <a:lnTo>
                    <a:pt x="71810" y="380467"/>
                  </a:lnTo>
                  <a:cubicBezTo>
                    <a:pt x="70550" y="381727"/>
                    <a:pt x="69290" y="382986"/>
                    <a:pt x="68030" y="382986"/>
                  </a:cubicBezTo>
                  <a:cubicBezTo>
                    <a:pt x="66771" y="384246"/>
                    <a:pt x="64251" y="384246"/>
                    <a:pt x="62991" y="385506"/>
                  </a:cubicBezTo>
                  <a:cubicBezTo>
                    <a:pt x="60472" y="386766"/>
                    <a:pt x="59212" y="386766"/>
                    <a:pt x="56692" y="388026"/>
                  </a:cubicBezTo>
                  <a:cubicBezTo>
                    <a:pt x="55432" y="388026"/>
                    <a:pt x="52913" y="389286"/>
                    <a:pt x="51653" y="389286"/>
                  </a:cubicBezTo>
                  <a:cubicBezTo>
                    <a:pt x="51653" y="389286"/>
                    <a:pt x="50393" y="389286"/>
                    <a:pt x="50393" y="389286"/>
                  </a:cubicBezTo>
                  <a:cubicBezTo>
                    <a:pt x="49133" y="389286"/>
                    <a:pt x="49133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lnTo>
                    <a:pt x="47874" y="389286"/>
                  </a:lnTo>
                  <a:lnTo>
                    <a:pt x="47874" y="389286"/>
                  </a:ln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4094" y="388026"/>
                    <a:pt x="41574" y="386766"/>
                    <a:pt x="39055" y="386766"/>
                  </a:cubicBezTo>
                  <a:lnTo>
                    <a:pt x="39055" y="386766"/>
                  </a:lnTo>
                  <a:cubicBezTo>
                    <a:pt x="36535" y="385506"/>
                    <a:pt x="34015" y="384246"/>
                    <a:pt x="31496" y="382986"/>
                  </a:cubicBezTo>
                  <a:cubicBezTo>
                    <a:pt x="30236" y="382986"/>
                    <a:pt x="28976" y="381727"/>
                    <a:pt x="28976" y="381727"/>
                  </a:cubicBezTo>
                  <a:lnTo>
                    <a:pt x="27716" y="381727"/>
                  </a:lnTo>
                  <a:cubicBezTo>
                    <a:pt x="26456" y="380467"/>
                    <a:pt x="25196" y="380467"/>
                    <a:pt x="23937" y="379207"/>
                  </a:cubicBezTo>
                  <a:cubicBezTo>
                    <a:pt x="22677" y="377947"/>
                    <a:pt x="22677" y="377947"/>
                    <a:pt x="21417" y="376687"/>
                  </a:cubicBezTo>
                  <a:lnTo>
                    <a:pt x="21417" y="376687"/>
                  </a:lnTo>
                  <a:cubicBezTo>
                    <a:pt x="18897" y="374168"/>
                    <a:pt x="17637" y="371648"/>
                    <a:pt x="15118" y="369128"/>
                  </a:cubicBezTo>
                  <a:lnTo>
                    <a:pt x="15118" y="367869"/>
                  </a:lnTo>
                  <a:cubicBezTo>
                    <a:pt x="15118" y="367869"/>
                    <a:pt x="13858" y="366609"/>
                    <a:pt x="13858" y="365349"/>
                  </a:cubicBezTo>
                  <a:cubicBezTo>
                    <a:pt x="12598" y="364089"/>
                    <a:pt x="12598" y="362829"/>
                    <a:pt x="11338" y="361569"/>
                  </a:cubicBezTo>
                  <a:cubicBezTo>
                    <a:pt x="10079" y="359050"/>
                    <a:pt x="8819" y="355270"/>
                    <a:pt x="7559" y="352751"/>
                  </a:cubicBezTo>
                  <a:cubicBezTo>
                    <a:pt x="6299" y="348971"/>
                    <a:pt x="5039" y="346451"/>
                    <a:pt x="3780" y="342672"/>
                  </a:cubicBezTo>
                  <a:lnTo>
                    <a:pt x="3780" y="341412"/>
                  </a:lnTo>
                  <a:cubicBezTo>
                    <a:pt x="2520" y="336373"/>
                    <a:pt x="1260" y="331334"/>
                    <a:pt x="0" y="323775"/>
                  </a:cubicBezTo>
                  <a:cubicBezTo>
                    <a:pt x="0" y="321255"/>
                    <a:pt x="0" y="318735"/>
                    <a:pt x="0" y="316216"/>
                  </a:cubicBezTo>
                  <a:lnTo>
                    <a:pt x="0" y="313696"/>
                  </a:lnTo>
                  <a:cubicBezTo>
                    <a:pt x="0" y="311177"/>
                    <a:pt x="0" y="309917"/>
                    <a:pt x="0" y="307397"/>
                  </a:cubicBezTo>
                  <a:lnTo>
                    <a:pt x="0" y="304877"/>
                  </a:lnTo>
                  <a:lnTo>
                    <a:pt x="0" y="304877"/>
                  </a:lnTo>
                  <a:lnTo>
                    <a:pt x="0" y="304877"/>
                  </a:lnTo>
                  <a:cubicBezTo>
                    <a:pt x="0" y="303618"/>
                    <a:pt x="0" y="301098"/>
                    <a:pt x="0" y="299838"/>
                  </a:cubicBezTo>
                  <a:lnTo>
                    <a:pt x="0" y="297318"/>
                  </a:lnTo>
                  <a:lnTo>
                    <a:pt x="0" y="294799"/>
                  </a:lnTo>
                  <a:cubicBezTo>
                    <a:pt x="0" y="293539"/>
                    <a:pt x="0" y="291019"/>
                    <a:pt x="0" y="289759"/>
                  </a:cubicBezTo>
                  <a:cubicBezTo>
                    <a:pt x="0" y="287240"/>
                    <a:pt x="1260" y="284720"/>
                    <a:pt x="2520" y="282201"/>
                  </a:cubicBezTo>
                  <a:lnTo>
                    <a:pt x="2520" y="282201"/>
                  </a:lnTo>
                  <a:lnTo>
                    <a:pt x="2520" y="280941"/>
                  </a:lnTo>
                  <a:cubicBezTo>
                    <a:pt x="3780" y="278421"/>
                    <a:pt x="3780" y="274642"/>
                    <a:pt x="5039" y="272122"/>
                  </a:cubicBezTo>
                  <a:lnTo>
                    <a:pt x="5039" y="270862"/>
                  </a:lnTo>
                  <a:lnTo>
                    <a:pt x="5039" y="270862"/>
                  </a:lnTo>
                  <a:cubicBezTo>
                    <a:pt x="6299" y="267083"/>
                    <a:pt x="8819" y="260784"/>
                    <a:pt x="11338" y="257004"/>
                  </a:cubicBezTo>
                  <a:cubicBezTo>
                    <a:pt x="11338" y="255744"/>
                    <a:pt x="12598" y="255744"/>
                    <a:pt x="12598" y="254484"/>
                  </a:cubicBezTo>
                  <a:lnTo>
                    <a:pt x="12598" y="254484"/>
                  </a:lnTo>
                  <a:cubicBezTo>
                    <a:pt x="13858" y="253225"/>
                    <a:pt x="13858" y="250705"/>
                    <a:pt x="15118" y="249445"/>
                  </a:cubicBezTo>
                  <a:cubicBezTo>
                    <a:pt x="16378" y="246925"/>
                    <a:pt x="18897" y="243146"/>
                    <a:pt x="20157" y="240626"/>
                  </a:cubicBezTo>
                  <a:lnTo>
                    <a:pt x="20157" y="240626"/>
                  </a:lnTo>
                  <a:cubicBezTo>
                    <a:pt x="22677" y="236847"/>
                    <a:pt x="25196" y="231808"/>
                    <a:pt x="27716" y="226768"/>
                  </a:cubicBezTo>
                  <a:cubicBezTo>
                    <a:pt x="30236" y="221729"/>
                    <a:pt x="34015" y="216690"/>
                    <a:pt x="37795" y="211650"/>
                  </a:cubicBezTo>
                  <a:cubicBezTo>
                    <a:pt x="41574" y="206611"/>
                    <a:pt x="45354" y="200312"/>
                    <a:pt x="49133" y="196533"/>
                  </a:cubicBezTo>
                  <a:cubicBezTo>
                    <a:pt x="55432" y="187714"/>
                    <a:pt x="61731" y="180155"/>
                    <a:pt x="69290" y="172596"/>
                  </a:cubicBezTo>
                  <a:lnTo>
                    <a:pt x="71810" y="170076"/>
                  </a:lnTo>
                  <a:cubicBezTo>
                    <a:pt x="78109" y="162517"/>
                    <a:pt x="86928" y="153699"/>
                    <a:pt x="95747" y="144880"/>
                  </a:cubicBezTo>
                  <a:cubicBezTo>
                    <a:pt x="98266" y="142360"/>
                    <a:pt x="102046" y="139840"/>
                    <a:pt x="104566" y="137321"/>
                  </a:cubicBezTo>
                  <a:lnTo>
                    <a:pt x="104566" y="137321"/>
                  </a:lnTo>
                  <a:lnTo>
                    <a:pt x="104566" y="137321"/>
                  </a:lnTo>
                  <a:cubicBezTo>
                    <a:pt x="104566" y="137321"/>
                    <a:pt x="104566" y="137321"/>
                    <a:pt x="104566" y="137321"/>
                  </a:cubicBezTo>
                  <a:cubicBezTo>
                    <a:pt x="109605" y="132281"/>
                    <a:pt x="115904" y="127242"/>
                    <a:pt x="120943" y="120943"/>
                  </a:cubicBezTo>
                  <a:cubicBezTo>
                    <a:pt x="129762" y="112124"/>
                    <a:pt x="137321" y="104565"/>
                    <a:pt x="146140" y="97007"/>
                  </a:cubicBezTo>
                  <a:cubicBezTo>
                    <a:pt x="149919" y="93227"/>
                    <a:pt x="154958" y="89448"/>
                    <a:pt x="159998" y="84408"/>
                  </a:cubicBezTo>
                  <a:cubicBezTo>
                    <a:pt x="162517" y="81889"/>
                    <a:pt x="165037" y="80629"/>
                    <a:pt x="167557" y="78109"/>
                  </a:cubicBezTo>
                  <a:cubicBezTo>
                    <a:pt x="168816" y="76849"/>
                    <a:pt x="171336" y="75589"/>
                    <a:pt x="172596" y="73070"/>
                  </a:cubicBezTo>
                  <a:lnTo>
                    <a:pt x="176375" y="70550"/>
                  </a:lnTo>
                  <a:cubicBezTo>
                    <a:pt x="180155" y="66771"/>
                    <a:pt x="183934" y="64251"/>
                    <a:pt x="187714" y="60472"/>
                  </a:cubicBezTo>
                  <a:cubicBezTo>
                    <a:pt x="187714" y="60472"/>
                    <a:pt x="188973" y="59212"/>
                    <a:pt x="188973" y="59212"/>
                  </a:cubicBezTo>
                  <a:lnTo>
                    <a:pt x="191493" y="56692"/>
                  </a:lnTo>
                  <a:cubicBezTo>
                    <a:pt x="192753" y="55432"/>
                    <a:pt x="194013" y="54172"/>
                    <a:pt x="194013" y="52913"/>
                  </a:cubicBezTo>
                  <a:cubicBezTo>
                    <a:pt x="196533" y="50393"/>
                    <a:pt x="197792" y="49133"/>
                    <a:pt x="200312" y="46614"/>
                  </a:cubicBez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cubicBezTo>
                    <a:pt x="201572" y="45354"/>
                    <a:pt x="202832" y="4535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cubicBezTo>
                    <a:pt x="207871" y="41574"/>
                    <a:pt x="211651" y="39055"/>
                    <a:pt x="215430" y="35275"/>
                  </a:cubicBezTo>
                  <a:cubicBezTo>
                    <a:pt x="216690" y="34015"/>
                    <a:pt x="219209" y="32755"/>
                    <a:pt x="220469" y="31496"/>
                  </a:cubicBezTo>
                  <a:cubicBezTo>
                    <a:pt x="221729" y="30236"/>
                    <a:pt x="222989" y="28976"/>
                    <a:pt x="225508" y="27716"/>
                  </a:cubicBezTo>
                  <a:cubicBezTo>
                    <a:pt x="228028" y="25196"/>
                    <a:pt x="231807" y="23937"/>
                    <a:pt x="234327" y="22677"/>
                  </a:cubicBezTo>
                  <a:cubicBezTo>
                    <a:pt x="235587" y="21417"/>
                    <a:pt x="236847" y="21417"/>
                    <a:pt x="238107" y="20157"/>
                  </a:cubicBezTo>
                  <a:lnTo>
                    <a:pt x="238107" y="20157"/>
                  </a:lnTo>
                  <a:cubicBezTo>
                    <a:pt x="240626" y="18897"/>
                    <a:pt x="241886" y="17638"/>
                    <a:pt x="244406" y="16378"/>
                  </a:cubicBezTo>
                  <a:cubicBezTo>
                    <a:pt x="249445" y="13858"/>
                    <a:pt x="255744" y="10079"/>
                    <a:pt x="262043" y="7559"/>
                  </a:cubicBezTo>
                  <a:cubicBezTo>
                    <a:pt x="268343" y="5039"/>
                    <a:pt x="275901" y="2520"/>
                    <a:pt x="283460" y="1260"/>
                  </a:cubicBezTo>
                  <a:cubicBezTo>
                    <a:pt x="288499" y="1260"/>
                    <a:pt x="292279" y="0"/>
                    <a:pt x="296058" y="0"/>
                  </a:cubicBezTo>
                  <a:cubicBezTo>
                    <a:pt x="297318" y="1260"/>
                    <a:pt x="301098" y="1260"/>
                    <a:pt x="306137" y="1260"/>
                  </a:cubicBezTo>
                  <a:lnTo>
                    <a:pt x="306137" y="126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2" name="任意多边形: 形状 10231"/>
            <p:cNvSpPr/>
            <p:nvPr/>
          </p:nvSpPr>
          <p:spPr>
            <a:xfrm>
              <a:off x="4877491" y="2488611"/>
              <a:ext cx="251965" cy="415742"/>
            </a:xfrm>
            <a:custGeom>
              <a:avLst/>
              <a:gdLst>
                <a:gd name="connsiteX0" fmla="*/ 172596 w 251964"/>
                <a:gd name="connsiteY0" fmla="*/ 560 h 415741"/>
                <a:gd name="connsiteX1" fmla="*/ 177635 w 251964"/>
                <a:gd name="connsiteY1" fmla="*/ 11898 h 415741"/>
                <a:gd name="connsiteX2" fmla="*/ 177635 w 251964"/>
                <a:gd name="connsiteY2" fmla="*/ 13158 h 415741"/>
                <a:gd name="connsiteX3" fmla="*/ 180155 w 251964"/>
                <a:gd name="connsiteY3" fmla="*/ 16938 h 415741"/>
                <a:gd name="connsiteX4" fmla="*/ 180155 w 251964"/>
                <a:gd name="connsiteY4" fmla="*/ 16938 h 415741"/>
                <a:gd name="connsiteX5" fmla="*/ 182674 w 251964"/>
                <a:gd name="connsiteY5" fmla="*/ 20717 h 415741"/>
                <a:gd name="connsiteX6" fmla="*/ 194013 w 251964"/>
                <a:gd name="connsiteY6" fmla="*/ 30796 h 415741"/>
                <a:gd name="connsiteX7" fmla="*/ 200312 w 251964"/>
                <a:gd name="connsiteY7" fmla="*/ 35835 h 415741"/>
                <a:gd name="connsiteX8" fmla="*/ 211650 w 251964"/>
                <a:gd name="connsiteY8" fmla="*/ 43394 h 415741"/>
                <a:gd name="connsiteX9" fmla="*/ 226768 w 251964"/>
                <a:gd name="connsiteY9" fmla="*/ 49693 h 415741"/>
                <a:gd name="connsiteX10" fmla="*/ 234327 w 251964"/>
                <a:gd name="connsiteY10" fmla="*/ 52213 h 415741"/>
                <a:gd name="connsiteX11" fmla="*/ 238107 w 251964"/>
                <a:gd name="connsiteY11" fmla="*/ 53473 h 415741"/>
                <a:gd name="connsiteX12" fmla="*/ 238107 w 251964"/>
                <a:gd name="connsiteY12" fmla="*/ 53473 h 415741"/>
                <a:gd name="connsiteX13" fmla="*/ 248185 w 251964"/>
                <a:gd name="connsiteY13" fmla="*/ 58512 h 415741"/>
                <a:gd name="connsiteX14" fmla="*/ 255744 w 251964"/>
                <a:gd name="connsiteY14" fmla="*/ 61031 h 415741"/>
                <a:gd name="connsiteX15" fmla="*/ 257004 w 251964"/>
                <a:gd name="connsiteY15" fmla="*/ 61031 h 415741"/>
                <a:gd name="connsiteX16" fmla="*/ 257004 w 251964"/>
                <a:gd name="connsiteY16" fmla="*/ 61031 h 415741"/>
                <a:gd name="connsiteX17" fmla="*/ 257004 w 251964"/>
                <a:gd name="connsiteY17" fmla="*/ 61031 h 415741"/>
                <a:gd name="connsiteX18" fmla="*/ 257004 w 251964"/>
                <a:gd name="connsiteY18" fmla="*/ 61031 h 415741"/>
                <a:gd name="connsiteX19" fmla="*/ 257004 w 251964"/>
                <a:gd name="connsiteY19" fmla="*/ 61031 h 415741"/>
                <a:gd name="connsiteX20" fmla="*/ 258264 w 251964"/>
                <a:gd name="connsiteY20" fmla="*/ 61031 h 415741"/>
                <a:gd name="connsiteX21" fmla="*/ 259524 w 251964"/>
                <a:gd name="connsiteY21" fmla="*/ 62291 h 415741"/>
                <a:gd name="connsiteX22" fmla="*/ 259524 w 251964"/>
                <a:gd name="connsiteY22" fmla="*/ 67331 h 415741"/>
                <a:gd name="connsiteX23" fmla="*/ 258264 w 251964"/>
                <a:gd name="connsiteY23" fmla="*/ 79929 h 415741"/>
                <a:gd name="connsiteX24" fmla="*/ 257004 w 251964"/>
                <a:gd name="connsiteY24" fmla="*/ 86228 h 415741"/>
                <a:gd name="connsiteX25" fmla="*/ 257004 w 251964"/>
                <a:gd name="connsiteY25" fmla="*/ 86228 h 415741"/>
                <a:gd name="connsiteX26" fmla="*/ 255744 w 251964"/>
                <a:gd name="connsiteY26" fmla="*/ 92527 h 415741"/>
                <a:gd name="connsiteX27" fmla="*/ 254484 w 251964"/>
                <a:gd name="connsiteY27" fmla="*/ 105125 h 415741"/>
                <a:gd name="connsiteX28" fmla="*/ 254484 w 251964"/>
                <a:gd name="connsiteY28" fmla="*/ 111424 h 415741"/>
                <a:gd name="connsiteX29" fmla="*/ 254484 w 251964"/>
                <a:gd name="connsiteY29" fmla="*/ 122763 h 415741"/>
                <a:gd name="connsiteX30" fmla="*/ 249445 w 251964"/>
                <a:gd name="connsiteY30" fmla="*/ 126542 h 415741"/>
                <a:gd name="connsiteX31" fmla="*/ 235587 w 251964"/>
                <a:gd name="connsiteY31" fmla="*/ 139140 h 415741"/>
                <a:gd name="connsiteX32" fmla="*/ 235587 w 251964"/>
                <a:gd name="connsiteY32" fmla="*/ 156778 h 415741"/>
                <a:gd name="connsiteX33" fmla="*/ 250705 w 251964"/>
                <a:gd name="connsiteY33" fmla="*/ 159298 h 415741"/>
                <a:gd name="connsiteX34" fmla="*/ 250705 w 251964"/>
                <a:gd name="connsiteY34" fmla="*/ 159298 h 415741"/>
                <a:gd name="connsiteX35" fmla="*/ 250705 w 251964"/>
                <a:gd name="connsiteY35" fmla="*/ 163077 h 415741"/>
                <a:gd name="connsiteX36" fmla="*/ 250705 w 251964"/>
                <a:gd name="connsiteY36" fmla="*/ 164337 h 415741"/>
                <a:gd name="connsiteX37" fmla="*/ 250705 w 251964"/>
                <a:gd name="connsiteY37" fmla="*/ 165597 h 415741"/>
                <a:gd name="connsiteX38" fmla="*/ 250705 w 251964"/>
                <a:gd name="connsiteY38" fmla="*/ 170636 h 415741"/>
                <a:gd name="connsiteX39" fmla="*/ 249445 w 251964"/>
                <a:gd name="connsiteY39" fmla="*/ 178195 h 415741"/>
                <a:gd name="connsiteX40" fmla="*/ 245666 w 251964"/>
                <a:gd name="connsiteY40" fmla="*/ 181975 h 415741"/>
                <a:gd name="connsiteX41" fmla="*/ 243146 w 251964"/>
                <a:gd name="connsiteY41" fmla="*/ 184494 h 415741"/>
                <a:gd name="connsiteX42" fmla="*/ 236847 w 251964"/>
                <a:gd name="connsiteY42" fmla="*/ 190793 h 415741"/>
                <a:gd name="connsiteX43" fmla="*/ 233067 w 251964"/>
                <a:gd name="connsiteY43" fmla="*/ 194573 h 415741"/>
                <a:gd name="connsiteX44" fmla="*/ 228028 w 251964"/>
                <a:gd name="connsiteY44" fmla="*/ 199612 h 415741"/>
                <a:gd name="connsiteX45" fmla="*/ 226768 w 251964"/>
                <a:gd name="connsiteY45" fmla="*/ 204651 h 415741"/>
                <a:gd name="connsiteX46" fmla="*/ 226768 w 251964"/>
                <a:gd name="connsiteY46" fmla="*/ 205911 h 415741"/>
                <a:gd name="connsiteX47" fmla="*/ 226768 w 251964"/>
                <a:gd name="connsiteY47" fmla="*/ 207171 h 415741"/>
                <a:gd name="connsiteX48" fmla="*/ 229288 w 251964"/>
                <a:gd name="connsiteY48" fmla="*/ 212210 h 415741"/>
                <a:gd name="connsiteX49" fmla="*/ 235587 w 251964"/>
                <a:gd name="connsiteY49" fmla="*/ 214730 h 415741"/>
                <a:gd name="connsiteX50" fmla="*/ 235587 w 251964"/>
                <a:gd name="connsiteY50" fmla="*/ 214730 h 415741"/>
                <a:gd name="connsiteX51" fmla="*/ 240626 w 251964"/>
                <a:gd name="connsiteY51" fmla="*/ 213470 h 415741"/>
                <a:gd name="connsiteX52" fmla="*/ 241886 w 251964"/>
                <a:gd name="connsiteY52" fmla="*/ 212210 h 415741"/>
                <a:gd name="connsiteX53" fmla="*/ 240626 w 251964"/>
                <a:gd name="connsiteY53" fmla="*/ 217250 h 415741"/>
                <a:gd name="connsiteX54" fmla="*/ 236847 w 251964"/>
                <a:gd name="connsiteY54" fmla="*/ 229848 h 415741"/>
                <a:gd name="connsiteX55" fmla="*/ 233067 w 251964"/>
                <a:gd name="connsiteY55" fmla="*/ 239926 h 415741"/>
                <a:gd name="connsiteX56" fmla="*/ 230548 w 251964"/>
                <a:gd name="connsiteY56" fmla="*/ 244966 h 415741"/>
                <a:gd name="connsiteX57" fmla="*/ 230548 w 251964"/>
                <a:gd name="connsiteY57" fmla="*/ 246225 h 415741"/>
                <a:gd name="connsiteX58" fmla="*/ 230548 w 251964"/>
                <a:gd name="connsiteY58" fmla="*/ 247485 h 415741"/>
                <a:gd name="connsiteX59" fmla="*/ 228028 w 251964"/>
                <a:gd name="connsiteY59" fmla="*/ 252525 h 415741"/>
                <a:gd name="connsiteX60" fmla="*/ 226768 w 251964"/>
                <a:gd name="connsiteY60" fmla="*/ 253784 h 415741"/>
                <a:gd name="connsiteX61" fmla="*/ 222989 w 251964"/>
                <a:gd name="connsiteY61" fmla="*/ 258824 h 415741"/>
                <a:gd name="connsiteX62" fmla="*/ 220469 w 251964"/>
                <a:gd name="connsiteY62" fmla="*/ 265123 h 415741"/>
                <a:gd name="connsiteX63" fmla="*/ 220469 w 251964"/>
                <a:gd name="connsiteY63" fmla="*/ 265123 h 415741"/>
                <a:gd name="connsiteX64" fmla="*/ 220469 w 251964"/>
                <a:gd name="connsiteY64" fmla="*/ 266383 h 415741"/>
                <a:gd name="connsiteX65" fmla="*/ 220469 w 251964"/>
                <a:gd name="connsiteY65" fmla="*/ 266383 h 415741"/>
                <a:gd name="connsiteX66" fmla="*/ 219209 w 251964"/>
                <a:gd name="connsiteY66" fmla="*/ 268902 h 415741"/>
                <a:gd name="connsiteX67" fmla="*/ 219209 w 251964"/>
                <a:gd name="connsiteY67" fmla="*/ 268902 h 415741"/>
                <a:gd name="connsiteX68" fmla="*/ 217949 w 251964"/>
                <a:gd name="connsiteY68" fmla="*/ 271422 h 415741"/>
                <a:gd name="connsiteX69" fmla="*/ 217949 w 251964"/>
                <a:gd name="connsiteY69" fmla="*/ 271422 h 415741"/>
                <a:gd name="connsiteX70" fmla="*/ 217949 w 251964"/>
                <a:gd name="connsiteY70" fmla="*/ 271422 h 415741"/>
                <a:gd name="connsiteX71" fmla="*/ 216690 w 251964"/>
                <a:gd name="connsiteY71" fmla="*/ 273942 h 415741"/>
                <a:gd name="connsiteX72" fmla="*/ 216690 w 251964"/>
                <a:gd name="connsiteY72" fmla="*/ 275201 h 415741"/>
                <a:gd name="connsiteX73" fmla="*/ 216690 w 251964"/>
                <a:gd name="connsiteY73" fmla="*/ 276461 h 415741"/>
                <a:gd name="connsiteX74" fmla="*/ 217949 w 251964"/>
                <a:gd name="connsiteY74" fmla="*/ 280241 h 415741"/>
                <a:gd name="connsiteX75" fmla="*/ 219209 w 251964"/>
                <a:gd name="connsiteY75" fmla="*/ 290319 h 415741"/>
                <a:gd name="connsiteX76" fmla="*/ 219209 w 251964"/>
                <a:gd name="connsiteY76" fmla="*/ 290319 h 415741"/>
                <a:gd name="connsiteX77" fmla="*/ 220469 w 251964"/>
                <a:gd name="connsiteY77" fmla="*/ 300398 h 415741"/>
                <a:gd name="connsiteX78" fmla="*/ 221729 w 251964"/>
                <a:gd name="connsiteY78" fmla="*/ 310476 h 415741"/>
                <a:gd name="connsiteX79" fmla="*/ 224248 w 251964"/>
                <a:gd name="connsiteY79" fmla="*/ 321815 h 415741"/>
                <a:gd name="connsiteX80" fmla="*/ 230548 w 251964"/>
                <a:gd name="connsiteY80" fmla="*/ 338193 h 415741"/>
                <a:gd name="connsiteX81" fmla="*/ 234327 w 251964"/>
                <a:gd name="connsiteY81" fmla="*/ 347011 h 415741"/>
                <a:gd name="connsiteX82" fmla="*/ 234327 w 251964"/>
                <a:gd name="connsiteY82" fmla="*/ 347011 h 415741"/>
                <a:gd name="connsiteX83" fmla="*/ 236847 w 251964"/>
                <a:gd name="connsiteY83" fmla="*/ 353310 h 415741"/>
                <a:gd name="connsiteX84" fmla="*/ 238107 w 251964"/>
                <a:gd name="connsiteY84" fmla="*/ 354570 h 415741"/>
                <a:gd name="connsiteX85" fmla="*/ 238107 w 251964"/>
                <a:gd name="connsiteY85" fmla="*/ 354570 h 415741"/>
                <a:gd name="connsiteX86" fmla="*/ 240626 w 251964"/>
                <a:gd name="connsiteY86" fmla="*/ 359610 h 415741"/>
                <a:gd name="connsiteX87" fmla="*/ 241886 w 251964"/>
                <a:gd name="connsiteY87" fmla="*/ 364649 h 415741"/>
                <a:gd name="connsiteX88" fmla="*/ 241886 w 251964"/>
                <a:gd name="connsiteY88" fmla="*/ 365909 h 415741"/>
                <a:gd name="connsiteX89" fmla="*/ 241886 w 251964"/>
                <a:gd name="connsiteY89" fmla="*/ 365909 h 415741"/>
                <a:gd name="connsiteX90" fmla="*/ 241886 w 251964"/>
                <a:gd name="connsiteY90" fmla="*/ 365909 h 415741"/>
                <a:gd name="connsiteX91" fmla="*/ 241886 w 251964"/>
                <a:gd name="connsiteY91" fmla="*/ 369688 h 415741"/>
                <a:gd name="connsiteX92" fmla="*/ 241886 w 251964"/>
                <a:gd name="connsiteY92" fmla="*/ 373468 h 415741"/>
                <a:gd name="connsiteX93" fmla="*/ 241886 w 251964"/>
                <a:gd name="connsiteY93" fmla="*/ 374728 h 415741"/>
                <a:gd name="connsiteX94" fmla="*/ 240626 w 251964"/>
                <a:gd name="connsiteY94" fmla="*/ 378507 h 415741"/>
                <a:gd name="connsiteX95" fmla="*/ 236847 w 251964"/>
                <a:gd name="connsiteY95" fmla="*/ 387326 h 415741"/>
                <a:gd name="connsiteX96" fmla="*/ 231807 w 251964"/>
                <a:gd name="connsiteY96" fmla="*/ 393625 h 415741"/>
                <a:gd name="connsiteX97" fmla="*/ 219209 w 251964"/>
                <a:gd name="connsiteY97" fmla="*/ 406223 h 415741"/>
                <a:gd name="connsiteX98" fmla="*/ 210391 w 251964"/>
                <a:gd name="connsiteY98" fmla="*/ 411262 h 415741"/>
                <a:gd name="connsiteX99" fmla="*/ 209131 w 251964"/>
                <a:gd name="connsiteY99" fmla="*/ 412522 h 415741"/>
                <a:gd name="connsiteX100" fmla="*/ 202832 w 251964"/>
                <a:gd name="connsiteY100" fmla="*/ 416302 h 415741"/>
                <a:gd name="connsiteX101" fmla="*/ 185194 w 251964"/>
                <a:gd name="connsiteY101" fmla="*/ 421341 h 415741"/>
                <a:gd name="connsiteX102" fmla="*/ 175115 w 251964"/>
                <a:gd name="connsiteY102" fmla="*/ 421341 h 415741"/>
                <a:gd name="connsiteX103" fmla="*/ 166297 w 251964"/>
                <a:gd name="connsiteY103" fmla="*/ 421341 h 415741"/>
                <a:gd name="connsiteX104" fmla="*/ 165037 w 251964"/>
                <a:gd name="connsiteY104" fmla="*/ 421341 h 415741"/>
                <a:gd name="connsiteX105" fmla="*/ 157478 w 251964"/>
                <a:gd name="connsiteY105" fmla="*/ 420081 h 415741"/>
                <a:gd name="connsiteX106" fmla="*/ 149919 w 251964"/>
                <a:gd name="connsiteY106" fmla="*/ 417561 h 415741"/>
                <a:gd name="connsiteX107" fmla="*/ 137321 w 251964"/>
                <a:gd name="connsiteY107" fmla="*/ 411262 h 415741"/>
                <a:gd name="connsiteX108" fmla="*/ 131022 w 251964"/>
                <a:gd name="connsiteY108" fmla="*/ 406223 h 415741"/>
                <a:gd name="connsiteX109" fmla="*/ 125982 w 251964"/>
                <a:gd name="connsiteY109" fmla="*/ 399924 h 415741"/>
                <a:gd name="connsiteX110" fmla="*/ 123463 w 251964"/>
                <a:gd name="connsiteY110" fmla="*/ 393625 h 415741"/>
                <a:gd name="connsiteX111" fmla="*/ 120943 w 251964"/>
                <a:gd name="connsiteY111" fmla="*/ 386066 h 415741"/>
                <a:gd name="connsiteX112" fmla="*/ 119683 w 251964"/>
                <a:gd name="connsiteY112" fmla="*/ 378507 h 415741"/>
                <a:gd name="connsiteX113" fmla="*/ 119683 w 251964"/>
                <a:gd name="connsiteY113" fmla="*/ 378507 h 415741"/>
                <a:gd name="connsiteX114" fmla="*/ 119683 w 251964"/>
                <a:gd name="connsiteY114" fmla="*/ 378507 h 415741"/>
                <a:gd name="connsiteX115" fmla="*/ 119683 w 251964"/>
                <a:gd name="connsiteY115" fmla="*/ 378507 h 415741"/>
                <a:gd name="connsiteX116" fmla="*/ 125982 w 251964"/>
                <a:gd name="connsiteY116" fmla="*/ 373468 h 415741"/>
                <a:gd name="connsiteX117" fmla="*/ 129762 w 251964"/>
                <a:gd name="connsiteY117" fmla="*/ 368428 h 415741"/>
                <a:gd name="connsiteX118" fmla="*/ 131022 w 251964"/>
                <a:gd name="connsiteY118" fmla="*/ 358350 h 415741"/>
                <a:gd name="connsiteX119" fmla="*/ 128502 w 251964"/>
                <a:gd name="connsiteY119" fmla="*/ 353310 h 415741"/>
                <a:gd name="connsiteX120" fmla="*/ 132281 w 251964"/>
                <a:gd name="connsiteY120" fmla="*/ 336933 h 415741"/>
                <a:gd name="connsiteX121" fmla="*/ 132281 w 251964"/>
                <a:gd name="connsiteY121" fmla="*/ 336933 h 415741"/>
                <a:gd name="connsiteX122" fmla="*/ 132281 w 251964"/>
                <a:gd name="connsiteY122" fmla="*/ 336933 h 415741"/>
                <a:gd name="connsiteX123" fmla="*/ 134801 w 251964"/>
                <a:gd name="connsiteY123" fmla="*/ 318036 h 415741"/>
                <a:gd name="connsiteX124" fmla="*/ 134801 w 251964"/>
                <a:gd name="connsiteY124" fmla="*/ 312996 h 415741"/>
                <a:gd name="connsiteX125" fmla="*/ 131022 w 251964"/>
                <a:gd name="connsiteY125" fmla="*/ 312996 h 415741"/>
                <a:gd name="connsiteX126" fmla="*/ 125982 w 251964"/>
                <a:gd name="connsiteY126" fmla="*/ 312996 h 415741"/>
                <a:gd name="connsiteX127" fmla="*/ 110864 w 251964"/>
                <a:gd name="connsiteY127" fmla="*/ 310476 h 415741"/>
                <a:gd name="connsiteX128" fmla="*/ 107085 w 251964"/>
                <a:gd name="connsiteY128" fmla="*/ 309217 h 415741"/>
                <a:gd name="connsiteX129" fmla="*/ 107085 w 251964"/>
                <a:gd name="connsiteY129" fmla="*/ 309217 h 415741"/>
                <a:gd name="connsiteX130" fmla="*/ 93227 w 251964"/>
                <a:gd name="connsiteY130" fmla="*/ 306697 h 415741"/>
                <a:gd name="connsiteX131" fmla="*/ 74329 w 251964"/>
                <a:gd name="connsiteY131" fmla="*/ 300398 h 415741"/>
                <a:gd name="connsiteX132" fmla="*/ 56692 w 251964"/>
                <a:gd name="connsiteY132" fmla="*/ 291579 h 415741"/>
                <a:gd name="connsiteX133" fmla="*/ 49133 w 251964"/>
                <a:gd name="connsiteY133" fmla="*/ 286540 h 415741"/>
                <a:gd name="connsiteX134" fmla="*/ 41574 w 251964"/>
                <a:gd name="connsiteY134" fmla="*/ 280241 h 415741"/>
                <a:gd name="connsiteX135" fmla="*/ 30236 w 251964"/>
                <a:gd name="connsiteY135" fmla="*/ 265123 h 415741"/>
                <a:gd name="connsiteX136" fmla="*/ 21417 w 251964"/>
                <a:gd name="connsiteY136" fmla="*/ 248745 h 415741"/>
                <a:gd name="connsiteX137" fmla="*/ 13858 w 251964"/>
                <a:gd name="connsiteY137" fmla="*/ 229848 h 415741"/>
                <a:gd name="connsiteX138" fmla="*/ 10078 w 251964"/>
                <a:gd name="connsiteY138" fmla="*/ 218509 h 415741"/>
                <a:gd name="connsiteX139" fmla="*/ 10078 w 251964"/>
                <a:gd name="connsiteY139" fmla="*/ 218509 h 415741"/>
                <a:gd name="connsiteX140" fmla="*/ 10078 w 251964"/>
                <a:gd name="connsiteY140" fmla="*/ 218509 h 415741"/>
                <a:gd name="connsiteX141" fmla="*/ 8819 w 251964"/>
                <a:gd name="connsiteY141" fmla="*/ 212210 h 415741"/>
                <a:gd name="connsiteX142" fmla="*/ 5039 w 251964"/>
                <a:gd name="connsiteY142" fmla="*/ 194573 h 415741"/>
                <a:gd name="connsiteX143" fmla="*/ 5039 w 251964"/>
                <a:gd name="connsiteY143" fmla="*/ 193313 h 415741"/>
                <a:gd name="connsiteX144" fmla="*/ 2520 w 251964"/>
                <a:gd name="connsiteY144" fmla="*/ 174416 h 415741"/>
                <a:gd name="connsiteX145" fmla="*/ 0 w 251964"/>
                <a:gd name="connsiteY145" fmla="*/ 135361 h 415741"/>
                <a:gd name="connsiteX146" fmla="*/ 0 w 251964"/>
                <a:gd name="connsiteY146" fmla="*/ 100086 h 415741"/>
                <a:gd name="connsiteX147" fmla="*/ 0 w 251964"/>
                <a:gd name="connsiteY147" fmla="*/ 96307 h 415741"/>
                <a:gd name="connsiteX148" fmla="*/ 1260 w 251964"/>
                <a:gd name="connsiteY148" fmla="*/ 78669 h 415741"/>
                <a:gd name="connsiteX149" fmla="*/ 3779 w 251964"/>
                <a:gd name="connsiteY149" fmla="*/ 59772 h 415741"/>
                <a:gd name="connsiteX150" fmla="*/ 3779 w 251964"/>
                <a:gd name="connsiteY150" fmla="*/ 55992 h 415741"/>
                <a:gd name="connsiteX151" fmla="*/ 3779 w 251964"/>
                <a:gd name="connsiteY151" fmla="*/ 52213 h 415741"/>
                <a:gd name="connsiteX152" fmla="*/ 5039 w 251964"/>
                <a:gd name="connsiteY152" fmla="*/ 52213 h 415741"/>
                <a:gd name="connsiteX153" fmla="*/ 7559 w 251964"/>
                <a:gd name="connsiteY153" fmla="*/ 52213 h 415741"/>
                <a:gd name="connsiteX154" fmla="*/ 18897 w 251964"/>
                <a:gd name="connsiteY154" fmla="*/ 52213 h 415741"/>
                <a:gd name="connsiteX155" fmla="*/ 20157 w 251964"/>
                <a:gd name="connsiteY155" fmla="*/ 52213 h 415741"/>
                <a:gd name="connsiteX156" fmla="*/ 25196 w 251964"/>
                <a:gd name="connsiteY156" fmla="*/ 53473 h 415741"/>
                <a:gd name="connsiteX157" fmla="*/ 35275 w 251964"/>
                <a:gd name="connsiteY157" fmla="*/ 54732 h 415741"/>
                <a:gd name="connsiteX158" fmla="*/ 47873 w 251964"/>
                <a:gd name="connsiteY158" fmla="*/ 54732 h 415741"/>
                <a:gd name="connsiteX159" fmla="*/ 47873 w 251964"/>
                <a:gd name="connsiteY159" fmla="*/ 54732 h 415741"/>
                <a:gd name="connsiteX160" fmla="*/ 69290 w 251964"/>
                <a:gd name="connsiteY160" fmla="*/ 53473 h 415741"/>
                <a:gd name="connsiteX161" fmla="*/ 90707 w 251964"/>
                <a:gd name="connsiteY161" fmla="*/ 48433 h 415741"/>
                <a:gd name="connsiteX162" fmla="*/ 108345 w 251964"/>
                <a:gd name="connsiteY162" fmla="*/ 43394 h 415741"/>
                <a:gd name="connsiteX163" fmla="*/ 110864 w 251964"/>
                <a:gd name="connsiteY163" fmla="*/ 42134 h 415741"/>
                <a:gd name="connsiteX164" fmla="*/ 110864 w 251964"/>
                <a:gd name="connsiteY164" fmla="*/ 42134 h 415741"/>
                <a:gd name="connsiteX165" fmla="*/ 110864 w 251964"/>
                <a:gd name="connsiteY165" fmla="*/ 42134 h 415741"/>
                <a:gd name="connsiteX166" fmla="*/ 110864 w 251964"/>
                <a:gd name="connsiteY166" fmla="*/ 42134 h 415741"/>
                <a:gd name="connsiteX167" fmla="*/ 110864 w 251964"/>
                <a:gd name="connsiteY167" fmla="*/ 42134 h 415741"/>
                <a:gd name="connsiteX168" fmla="*/ 110864 w 251964"/>
                <a:gd name="connsiteY168" fmla="*/ 42134 h 415741"/>
                <a:gd name="connsiteX169" fmla="*/ 110864 w 251964"/>
                <a:gd name="connsiteY169" fmla="*/ 42134 h 415741"/>
                <a:gd name="connsiteX170" fmla="*/ 112124 w 251964"/>
                <a:gd name="connsiteY170" fmla="*/ 42134 h 415741"/>
                <a:gd name="connsiteX171" fmla="*/ 112124 w 251964"/>
                <a:gd name="connsiteY171" fmla="*/ 42134 h 415741"/>
                <a:gd name="connsiteX172" fmla="*/ 113384 w 251964"/>
                <a:gd name="connsiteY172" fmla="*/ 42134 h 415741"/>
                <a:gd name="connsiteX173" fmla="*/ 113384 w 251964"/>
                <a:gd name="connsiteY173" fmla="*/ 42134 h 415741"/>
                <a:gd name="connsiteX174" fmla="*/ 131022 w 251964"/>
                <a:gd name="connsiteY174" fmla="*/ 33315 h 415741"/>
                <a:gd name="connsiteX175" fmla="*/ 149919 w 251964"/>
                <a:gd name="connsiteY175" fmla="*/ 21977 h 415741"/>
                <a:gd name="connsiteX176" fmla="*/ 158738 w 251964"/>
                <a:gd name="connsiteY176" fmla="*/ 14418 h 415741"/>
                <a:gd name="connsiteX177" fmla="*/ 166297 w 251964"/>
                <a:gd name="connsiteY177" fmla="*/ 6859 h 415741"/>
                <a:gd name="connsiteX178" fmla="*/ 170076 w 251964"/>
                <a:gd name="connsiteY178" fmla="*/ 1820 h 415741"/>
                <a:gd name="connsiteX179" fmla="*/ 171336 w 251964"/>
                <a:gd name="connsiteY179" fmla="*/ 560 h 415741"/>
                <a:gd name="connsiteX180" fmla="*/ 171336 w 251964"/>
                <a:gd name="connsiteY180" fmla="*/ 560 h 415741"/>
                <a:gd name="connsiteX181" fmla="*/ 171336 w 251964"/>
                <a:gd name="connsiteY181" fmla="*/ 560 h 415741"/>
                <a:gd name="connsiteX182" fmla="*/ 172596 w 251964"/>
                <a:gd name="connsiteY182" fmla="*/ 560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51964" h="415741">
                  <a:moveTo>
                    <a:pt x="172596" y="560"/>
                  </a:moveTo>
                  <a:cubicBezTo>
                    <a:pt x="173855" y="4339"/>
                    <a:pt x="175115" y="8119"/>
                    <a:pt x="177635" y="11898"/>
                  </a:cubicBezTo>
                  <a:lnTo>
                    <a:pt x="177635" y="13158"/>
                  </a:lnTo>
                  <a:cubicBezTo>
                    <a:pt x="177635" y="14418"/>
                    <a:pt x="178895" y="15678"/>
                    <a:pt x="180155" y="16938"/>
                  </a:cubicBezTo>
                  <a:lnTo>
                    <a:pt x="180155" y="16938"/>
                  </a:lnTo>
                  <a:cubicBezTo>
                    <a:pt x="181414" y="18198"/>
                    <a:pt x="181414" y="19457"/>
                    <a:pt x="182674" y="20717"/>
                  </a:cubicBezTo>
                  <a:cubicBezTo>
                    <a:pt x="185194" y="25756"/>
                    <a:pt x="190233" y="28276"/>
                    <a:pt x="194013" y="30796"/>
                  </a:cubicBezTo>
                  <a:cubicBezTo>
                    <a:pt x="196533" y="32055"/>
                    <a:pt x="197792" y="34575"/>
                    <a:pt x="200312" y="35835"/>
                  </a:cubicBezTo>
                  <a:cubicBezTo>
                    <a:pt x="204092" y="38355"/>
                    <a:pt x="207871" y="40874"/>
                    <a:pt x="211650" y="43394"/>
                  </a:cubicBezTo>
                  <a:cubicBezTo>
                    <a:pt x="216690" y="45914"/>
                    <a:pt x="221729" y="48433"/>
                    <a:pt x="226768" y="49693"/>
                  </a:cubicBezTo>
                  <a:cubicBezTo>
                    <a:pt x="229288" y="50953"/>
                    <a:pt x="231807" y="50953"/>
                    <a:pt x="234327" y="52213"/>
                  </a:cubicBezTo>
                  <a:cubicBezTo>
                    <a:pt x="235587" y="52213"/>
                    <a:pt x="236847" y="53473"/>
                    <a:pt x="238107" y="53473"/>
                  </a:cubicBezTo>
                  <a:lnTo>
                    <a:pt x="238107" y="53473"/>
                  </a:lnTo>
                  <a:cubicBezTo>
                    <a:pt x="241886" y="54732"/>
                    <a:pt x="245666" y="57252"/>
                    <a:pt x="248185" y="58512"/>
                  </a:cubicBezTo>
                  <a:cubicBezTo>
                    <a:pt x="250705" y="59772"/>
                    <a:pt x="253225" y="59772"/>
                    <a:pt x="255744" y="61031"/>
                  </a:cubicBezTo>
                  <a:cubicBezTo>
                    <a:pt x="25574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7004" y="61031"/>
                  </a:lnTo>
                  <a:cubicBezTo>
                    <a:pt x="25700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8264" y="61031"/>
                  </a:lnTo>
                  <a:cubicBezTo>
                    <a:pt x="258264" y="61031"/>
                    <a:pt x="259524" y="61031"/>
                    <a:pt x="259524" y="62291"/>
                  </a:cubicBezTo>
                  <a:cubicBezTo>
                    <a:pt x="259524" y="63551"/>
                    <a:pt x="259524" y="66071"/>
                    <a:pt x="259524" y="67331"/>
                  </a:cubicBezTo>
                  <a:cubicBezTo>
                    <a:pt x="259524" y="71110"/>
                    <a:pt x="258264" y="74890"/>
                    <a:pt x="258264" y="79929"/>
                  </a:cubicBezTo>
                  <a:cubicBezTo>
                    <a:pt x="258264" y="82448"/>
                    <a:pt x="258264" y="83708"/>
                    <a:pt x="257004" y="86228"/>
                  </a:cubicBezTo>
                  <a:lnTo>
                    <a:pt x="257004" y="86228"/>
                  </a:lnTo>
                  <a:cubicBezTo>
                    <a:pt x="257004" y="88748"/>
                    <a:pt x="257004" y="90007"/>
                    <a:pt x="255744" y="92527"/>
                  </a:cubicBezTo>
                  <a:cubicBezTo>
                    <a:pt x="255744" y="96307"/>
                    <a:pt x="254484" y="101346"/>
                    <a:pt x="254484" y="105125"/>
                  </a:cubicBezTo>
                  <a:cubicBezTo>
                    <a:pt x="254484" y="107645"/>
                    <a:pt x="254484" y="108905"/>
                    <a:pt x="254484" y="111424"/>
                  </a:cubicBezTo>
                  <a:cubicBezTo>
                    <a:pt x="254484" y="115204"/>
                    <a:pt x="254484" y="118983"/>
                    <a:pt x="254484" y="122763"/>
                  </a:cubicBezTo>
                  <a:cubicBezTo>
                    <a:pt x="253225" y="124023"/>
                    <a:pt x="250705" y="125282"/>
                    <a:pt x="249445" y="126542"/>
                  </a:cubicBezTo>
                  <a:cubicBezTo>
                    <a:pt x="244406" y="130322"/>
                    <a:pt x="239366" y="135361"/>
                    <a:pt x="235587" y="139140"/>
                  </a:cubicBezTo>
                  <a:cubicBezTo>
                    <a:pt x="230548" y="144180"/>
                    <a:pt x="230548" y="151739"/>
                    <a:pt x="235587" y="156778"/>
                  </a:cubicBezTo>
                  <a:cubicBezTo>
                    <a:pt x="239366" y="160558"/>
                    <a:pt x="245666" y="161817"/>
                    <a:pt x="250705" y="159298"/>
                  </a:cubicBezTo>
                  <a:lnTo>
                    <a:pt x="250705" y="159298"/>
                  </a:lnTo>
                  <a:cubicBezTo>
                    <a:pt x="250705" y="160558"/>
                    <a:pt x="250705" y="161817"/>
                    <a:pt x="250705" y="163077"/>
                  </a:cubicBezTo>
                  <a:lnTo>
                    <a:pt x="250705" y="164337"/>
                  </a:lnTo>
                  <a:lnTo>
                    <a:pt x="250705" y="165597"/>
                  </a:lnTo>
                  <a:cubicBezTo>
                    <a:pt x="250705" y="166857"/>
                    <a:pt x="250705" y="169376"/>
                    <a:pt x="250705" y="170636"/>
                  </a:cubicBezTo>
                  <a:cubicBezTo>
                    <a:pt x="250705" y="173156"/>
                    <a:pt x="249445" y="175675"/>
                    <a:pt x="249445" y="178195"/>
                  </a:cubicBezTo>
                  <a:cubicBezTo>
                    <a:pt x="248185" y="179455"/>
                    <a:pt x="246925" y="180715"/>
                    <a:pt x="245666" y="181975"/>
                  </a:cubicBezTo>
                  <a:lnTo>
                    <a:pt x="243146" y="184494"/>
                  </a:lnTo>
                  <a:cubicBezTo>
                    <a:pt x="240626" y="187014"/>
                    <a:pt x="238107" y="188274"/>
                    <a:pt x="236847" y="190793"/>
                  </a:cubicBezTo>
                  <a:cubicBezTo>
                    <a:pt x="235587" y="192053"/>
                    <a:pt x="234327" y="193313"/>
                    <a:pt x="233067" y="194573"/>
                  </a:cubicBezTo>
                  <a:cubicBezTo>
                    <a:pt x="231807" y="195832"/>
                    <a:pt x="229288" y="198352"/>
                    <a:pt x="228028" y="199612"/>
                  </a:cubicBezTo>
                  <a:cubicBezTo>
                    <a:pt x="226768" y="200872"/>
                    <a:pt x="226768" y="203392"/>
                    <a:pt x="226768" y="204651"/>
                  </a:cubicBezTo>
                  <a:lnTo>
                    <a:pt x="226768" y="205911"/>
                  </a:lnTo>
                  <a:lnTo>
                    <a:pt x="226768" y="207171"/>
                  </a:lnTo>
                  <a:cubicBezTo>
                    <a:pt x="226768" y="208431"/>
                    <a:pt x="228028" y="210951"/>
                    <a:pt x="229288" y="212210"/>
                  </a:cubicBezTo>
                  <a:cubicBezTo>
                    <a:pt x="230548" y="213470"/>
                    <a:pt x="233067" y="214730"/>
                    <a:pt x="235587" y="214730"/>
                  </a:cubicBezTo>
                  <a:cubicBezTo>
                    <a:pt x="235587" y="214730"/>
                    <a:pt x="235587" y="214730"/>
                    <a:pt x="235587" y="214730"/>
                  </a:cubicBezTo>
                  <a:cubicBezTo>
                    <a:pt x="236847" y="214730"/>
                    <a:pt x="239366" y="214730"/>
                    <a:pt x="240626" y="213470"/>
                  </a:cubicBezTo>
                  <a:cubicBezTo>
                    <a:pt x="241886" y="213470"/>
                    <a:pt x="241886" y="212210"/>
                    <a:pt x="241886" y="212210"/>
                  </a:cubicBezTo>
                  <a:cubicBezTo>
                    <a:pt x="241886" y="213470"/>
                    <a:pt x="240626" y="215990"/>
                    <a:pt x="240626" y="217250"/>
                  </a:cubicBezTo>
                  <a:cubicBezTo>
                    <a:pt x="239366" y="221029"/>
                    <a:pt x="239366" y="224808"/>
                    <a:pt x="236847" y="229848"/>
                  </a:cubicBezTo>
                  <a:cubicBezTo>
                    <a:pt x="235587" y="232367"/>
                    <a:pt x="234327" y="236147"/>
                    <a:pt x="233067" y="239926"/>
                  </a:cubicBezTo>
                  <a:cubicBezTo>
                    <a:pt x="231807" y="241186"/>
                    <a:pt x="231807" y="243706"/>
                    <a:pt x="230548" y="244966"/>
                  </a:cubicBezTo>
                  <a:lnTo>
                    <a:pt x="230548" y="246225"/>
                  </a:lnTo>
                  <a:lnTo>
                    <a:pt x="230548" y="247485"/>
                  </a:lnTo>
                  <a:cubicBezTo>
                    <a:pt x="229288" y="248745"/>
                    <a:pt x="229288" y="251265"/>
                    <a:pt x="228028" y="252525"/>
                  </a:cubicBezTo>
                  <a:lnTo>
                    <a:pt x="226768" y="253784"/>
                  </a:lnTo>
                  <a:cubicBezTo>
                    <a:pt x="225508" y="255044"/>
                    <a:pt x="224248" y="257564"/>
                    <a:pt x="222989" y="258824"/>
                  </a:cubicBezTo>
                  <a:cubicBezTo>
                    <a:pt x="221729" y="261343"/>
                    <a:pt x="220469" y="262603"/>
                    <a:pt x="220469" y="265123"/>
                  </a:cubicBezTo>
                  <a:lnTo>
                    <a:pt x="220469" y="265123"/>
                  </a:lnTo>
                  <a:lnTo>
                    <a:pt x="220469" y="266383"/>
                  </a:lnTo>
                  <a:lnTo>
                    <a:pt x="220469" y="266383"/>
                  </a:lnTo>
                  <a:cubicBezTo>
                    <a:pt x="220469" y="267643"/>
                    <a:pt x="219209" y="267643"/>
                    <a:pt x="219209" y="268902"/>
                  </a:cubicBezTo>
                  <a:lnTo>
                    <a:pt x="219209" y="268902"/>
                  </a:lnTo>
                  <a:cubicBezTo>
                    <a:pt x="219209" y="270162"/>
                    <a:pt x="217949" y="271422"/>
                    <a:pt x="217949" y="271422"/>
                  </a:cubicBezTo>
                  <a:lnTo>
                    <a:pt x="217949" y="271422"/>
                  </a:lnTo>
                  <a:lnTo>
                    <a:pt x="217949" y="271422"/>
                  </a:lnTo>
                  <a:cubicBezTo>
                    <a:pt x="217949" y="272682"/>
                    <a:pt x="216690" y="272682"/>
                    <a:pt x="216690" y="273942"/>
                  </a:cubicBezTo>
                  <a:cubicBezTo>
                    <a:pt x="216690" y="273942"/>
                    <a:pt x="216690" y="275201"/>
                    <a:pt x="216690" y="275201"/>
                  </a:cubicBezTo>
                  <a:lnTo>
                    <a:pt x="216690" y="276461"/>
                  </a:lnTo>
                  <a:cubicBezTo>
                    <a:pt x="216690" y="277721"/>
                    <a:pt x="216690" y="278981"/>
                    <a:pt x="217949" y="280241"/>
                  </a:cubicBezTo>
                  <a:cubicBezTo>
                    <a:pt x="217949" y="284020"/>
                    <a:pt x="219209" y="286540"/>
                    <a:pt x="219209" y="290319"/>
                  </a:cubicBezTo>
                  <a:lnTo>
                    <a:pt x="219209" y="290319"/>
                  </a:lnTo>
                  <a:cubicBezTo>
                    <a:pt x="219209" y="292839"/>
                    <a:pt x="220469" y="296618"/>
                    <a:pt x="220469" y="300398"/>
                  </a:cubicBezTo>
                  <a:cubicBezTo>
                    <a:pt x="220469" y="304177"/>
                    <a:pt x="221729" y="306697"/>
                    <a:pt x="221729" y="310476"/>
                  </a:cubicBezTo>
                  <a:cubicBezTo>
                    <a:pt x="221729" y="314256"/>
                    <a:pt x="222989" y="318036"/>
                    <a:pt x="224248" y="321815"/>
                  </a:cubicBezTo>
                  <a:cubicBezTo>
                    <a:pt x="225508" y="328114"/>
                    <a:pt x="228028" y="333153"/>
                    <a:pt x="230548" y="338193"/>
                  </a:cubicBezTo>
                  <a:cubicBezTo>
                    <a:pt x="231807" y="340712"/>
                    <a:pt x="233067" y="344492"/>
                    <a:pt x="234327" y="347011"/>
                  </a:cubicBezTo>
                  <a:cubicBezTo>
                    <a:pt x="234327" y="347011"/>
                    <a:pt x="234327" y="347011"/>
                    <a:pt x="234327" y="347011"/>
                  </a:cubicBezTo>
                  <a:cubicBezTo>
                    <a:pt x="235587" y="349531"/>
                    <a:pt x="236847" y="352051"/>
                    <a:pt x="236847" y="353310"/>
                  </a:cubicBezTo>
                  <a:cubicBezTo>
                    <a:pt x="236847" y="353310"/>
                    <a:pt x="236847" y="354570"/>
                    <a:pt x="238107" y="354570"/>
                  </a:cubicBezTo>
                  <a:lnTo>
                    <a:pt x="238107" y="354570"/>
                  </a:lnTo>
                  <a:cubicBezTo>
                    <a:pt x="239366" y="355830"/>
                    <a:pt x="239366" y="358350"/>
                    <a:pt x="240626" y="359610"/>
                  </a:cubicBezTo>
                  <a:cubicBezTo>
                    <a:pt x="240626" y="360869"/>
                    <a:pt x="241886" y="362129"/>
                    <a:pt x="241886" y="364649"/>
                  </a:cubicBezTo>
                  <a:cubicBezTo>
                    <a:pt x="241886" y="364649"/>
                    <a:pt x="241886" y="364649"/>
                    <a:pt x="241886" y="365909"/>
                  </a:cubicBezTo>
                  <a:lnTo>
                    <a:pt x="241886" y="365909"/>
                  </a:lnTo>
                  <a:lnTo>
                    <a:pt x="241886" y="365909"/>
                  </a:lnTo>
                  <a:cubicBezTo>
                    <a:pt x="241886" y="367169"/>
                    <a:pt x="241886" y="368428"/>
                    <a:pt x="241886" y="369688"/>
                  </a:cubicBezTo>
                  <a:cubicBezTo>
                    <a:pt x="241886" y="370948"/>
                    <a:pt x="241886" y="372208"/>
                    <a:pt x="241886" y="373468"/>
                  </a:cubicBezTo>
                  <a:lnTo>
                    <a:pt x="241886" y="374728"/>
                  </a:lnTo>
                  <a:cubicBezTo>
                    <a:pt x="241886" y="375987"/>
                    <a:pt x="241886" y="377247"/>
                    <a:pt x="240626" y="378507"/>
                  </a:cubicBezTo>
                  <a:cubicBezTo>
                    <a:pt x="239366" y="381027"/>
                    <a:pt x="238107" y="384806"/>
                    <a:pt x="236847" y="387326"/>
                  </a:cubicBezTo>
                  <a:cubicBezTo>
                    <a:pt x="235587" y="389845"/>
                    <a:pt x="234327" y="391105"/>
                    <a:pt x="231807" y="393625"/>
                  </a:cubicBezTo>
                  <a:cubicBezTo>
                    <a:pt x="228028" y="397404"/>
                    <a:pt x="224248" y="402444"/>
                    <a:pt x="219209" y="406223"/>
                  </a:cubicBezTo>
                  <a:cubicBezTo>
                    <a:pt x="216690" y="407483"/>
                    <a:pt x="214170" y="410002"/>
                    <a:pt x="210391" y="411262"/>
                  </a:cubicBezTo>
                  <a:lnTo>
                    <a:pt x="209131" y="412522"/>
                  </a:lnTo>
                  <a:cubicBezTo>
                    <a:pt x="207871" y="413782"/>
                    <a:pt x="205351" y="415042"/>
                    <a:pt x="202832" y="416302"/>
                  </a:cubicBezTo>
                  <a:cubicBezTo>
                    <a:pt x="197792" y="418821"/>
                    <a:pt x="191493" y="420081"/>
                    <a:pt x="185194" y="421341"/>
                  </a:cubicBezTo>
                  <a:cubicBezTo>
                    <a:pt x="181414" y="421341"/>
                    <a:pt x="178895" y="421341"/>
                    <a:pt x="175115" y="421341"/>
                  </a:cubicBezTo>
                  <a:cubicBezTo>
                    <a:pt x="172596" y="421341"/>
                    <a:pt x="168816" y="421341"/>
                    <a:pt x="166297" y="421341"/>
                  </a:cubicBezTo>
                  <a:cubicBezTo>
                    <a:pt x="166297" y="421341"/>
                    <a:pt x="165037" y="421341"/>
                    <a:pt x="165037" y="421341"/>
                  </a:cubicBezTo>
                  <a:cubicBezTo>
                    <a:pt x="162517" y="421341"/>
                    <a:pt x="159998" y="421341"/>
                    <a:pt x="157478" y="420081"/>
                  </a:cubicBezTo>
                  <a:cubicBezTo>
                    <a:pt x="154958" y="420081"/>
                    <a:pt x="152439" y="418821"/>
                    <a:pt x="149919" y="417561"/>
                  </a:cubicBezTo>
                  <a:cubicBezTo>
                    <a:pt x="146140" y="416302"/>
                    <a:pt x="142360" y="413782"/>
                    <a:pt x="137321" y="411262"/>
                  </a:cubicBezTo>
                  <a:cubicBezTo>
                    <a:pt x="134801" y="410002"/>
                    <a:pt x="132281" y="408743"/>
                    <a:pt x="131022" y="406223"/>
                  </a:cubicBezTo>
                  <a:cubicBezTo>
                    <a:pt x="128502" y="404963"/>
                    <a:pt x="127242" y="402444"/>
                    <a:pt x="125982" y="399924"/>
                  </a:cubicBezTo>
                  <a:cubicBezTo>
                    <a:pt x="124722" y="397404"/>
                    <a:pt x="123463" y="394885"/>
                    <a:pt x="123463" y="393625"/>
                  </a:cubicBezTo>
                  <a:cubicBezTo>
                    <a:pt x="122203" y="391105"/>
                    <a:pt x="122203" y="388585"/>
                    <a:pt x="120943" y="386066"/>
                  </a:cubicBezTo>
                  <a:cubicBezTo>
                    <a:pt x="120943" y="383546"/>
                    <a:pt x="119683" y="381027"/>
                    <a:pt x="119683" y="378507"/>
                  </a:cubicBezTo>
                  <a:lnTo>
                    <a:pt x="119683" y="378507"/>
                  </a:ln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22203" y="377247"/>
                    <a:pt x="124722" y="375987"/>
                    <a:pt x="125982" y="373468"/>
                  </a:cubicBezTo>
                  <a:cubicBezTo>
                    <a:pt x="127242" y="372208"/>
                    <a:pt x="128502" y="369688"/>
                    <a:pt x="129762" y="368428"/>
                  </a:cubicBezTo>
                  <a:cubicBezTo>
                    <a:pt x="131022" y="365909"/>
                    <a:pt x="131022" y="362129"/>
                    <a:pt x="131022" y="358350"/>
                  </a:cubicBezTo>
                  <a:cubicBezTo>
                    <a:pt x="129762" y="357090"/>
                    <a:pt x="129762" y="354570"/>
                    <a:pt x="128502" y="353310"/>
                  </a:cubicBezTo>
                  <a:cubicBezTo>
                    <a:pt x="129762" y="348271"/>
                    <a:pt x="131022" y="343232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3541" y="331893"/>
                    <a:pt x="133541" y="325594"/>
                    <a:pt x="134801" y="318036"/>
                  </a:cubicBezTo>
                  <a:cubicBezTo>
                    <a:pt x="134801" y="316776"/>
                    <a:pt x="134801" y="315516"/>
                    <a:pt x="134801" y="312996"/>
                  </a:cubicBezTo>
                  <a:cubicBezTo>
                    <a:pt x="133541" y="312996"/>
                    <a:pt x="132281" y="312996"/>
                    <a:pt x="131022" y="312996"/>
                  </a:cubicBezTo>
                  <a:cubicBezTo>
                    <a:pt x="129762" y="312996"/>
                    <a:pt x="127242" y="312996"/>
                    <a:pt x="125982" y="312996"/>
                  </a:cubicBezTo>
                  <a:cubicBezTo>
                    <a:pt x="120943" y="312996"/>
                    <a:pt x="114644" y="311736"/>
                    <a:pt x="110864" y="310476"/>
                  </a:cubicBezTo>
                  <a:cubicBezTo>
                    <a:pt x="109605" y="310476"/>
                    <a:pt x="108345" y="310476"/>
                    <a:pt x="107085" y="309217"/>
                  </a:cubicBezTo>
                  <a:lnTo>
                    <a:pt x="107085" y="309217"/>
                  </a:lnTo>
                  <a:cubicBezTo>
                    <a:pt x="103306" y="307957"/>
                    <a:pt x="98266" y="307957"/>
                    <a:pt x="93227" y="306697"/>
                  </a:cubicBezTo>
                  <a:cubicBezTo>
                    <a:pt x="86928" y="305437"/>
                    <a:pt x="80629" y="302917"/>
                    <a:pt x="74329" y="300398"/>
                  </a:cubicBezTo>
                  <a:cubicBezTo>
                    <a:pt x="66770" y="296618"/>
                    <a:pt x="61731" y="294099"/>
                    <a:pt x="56692" y="291579"/>
                  </a:cubicBezTo>
                  <a:cubicBezTo>
                    <a:pt x="54172" y="290319"/>
                    <a:pt x="51653" y="287800"/>
                    <a:pt x="49133" y="286540"/>
                  </a:cubicBezTo>
                  <a:cubicBezTo>
                    <a:pt x="46614" y="284020"/>
                    <a:pt x="44094" y="282760"/>
                    <a:pt x="41574" y="280241"/>
                  </a:cubicBezTo>
                  <a:cubicBezTo>
                    <a:pt x="37795" y="276461"/>
                    <a:pt x="34015" y="271422"/>
                    <a:pt x="30236" y="265123"/>
                  </a:cubicBezTo>
                  <a:cubicBezTo>
                    <a:pt x="26456" y="258824"/>
                    <a:pt x="23937" y="253784"/>
                    <a:pt x="21417" y="248745"/>
                  </a:cubicBezTo>
                  <a:cubicBezTo>
                    <a:pt x="18897" y="242446"/>
                    <a:pt x="16378" y="234887"/>
                    <a:pt x="13858" y="229848"/>
                  </a:cubicBezTo>
                  <a:cubicBezTo>
                    <a:pt x="12598" y="226068"/>
                    <a:pt x="11338" y="223549"/>
                    <a:pt x="10078" y="218509"/>
                  </a:cubicBezTo>
                  <a:cubicBezTo>
                    <a:pt x="10078" y="218509"/>
                    <a:pt x="10078" y="218509"/>
                    <a:pt x="10078" y="218509"/>
                  </a:cubicBezTo>
                  <a:lnTo>
                    <a:pt x="10078" y="218509"/>
                  </a:lnTo>
                  <a:cubicBezTo>
                    <a:pt x="10078" y="215990"/>
                    <a:pt x="8819" y="214730"/>
                    <a:pt x="8819" y="212210"/>
                  </a:cubicBezTo>
                  <a:cubicBezTo>
                    <a:pt x="7559" y="205911"/>
                    <a:pt x="6299" y="200872"/>
                    <a:pt x="5039" y="194573"/>
                  </a:cubicBezTo>
                  <a:lnTo>
                    <a:pt x="5039" y="193313"/>
                  </a:lnTo>
                  <a:cubicBezTo>
                    <a:pt x="3779" y="187014"/>
                    <a:pt x="2520" y="180715"/>
                    <a:pt x="2520" y="174416"/>
                  </a:cubicBezTo>
                  <a:cubicBezTo>
                    <a:pt x="1260" y="163077"/>
                    <a:pt x="0" y="149219"/>
                    <a:pt x="0" y="135361"/>
                  </a:cubicBezTo>
                  <a:cubicBezTo>
                    <a:pt x="0" y="124023"/>
                    <a:pt x="0" y="111424"/>
                    <a:pt x="0" y="100086"/>
                  </a:cubicBezTo>
                  <a:lnTo>
                    <a:pt x="0" y="96307"/>
                  </a:lnTo>
                  <a:cubicBezTo>
                    <a:pt x="0" y="90007"/>
                    <a:pt x="0" y="84968"/>
                    <a:pt x="1260" y="78669"/>
                  </a:cubicBezTo>
                  <a:cubicBezTo>
                    <a:pt x="1260" y="72370"/>
                    <a:pt x="2520" y="66071"/>
                    <a:pt x="3779" y="59772"/>
                  </a:cubicBezTo>
                  <a:lnTo>
                    <a:pt x="3779" y="55992"/>
                  </a:lnTo>
                  <a:cubicBezTo>
                    <a:pt x="3779" y="54732"/>
                    <a:pt x="3779" y="53473"/>
                    <a:pt x="3779" y="52213"/>
                  </a:cubicBezTo>
                  <a:cubicBezTo>
                    <a:pt x="3779" y="52213"/>
                    <a:pt x="3779" y="52213"/>
                    <a:pt x="5039" y="52213"/>
                  </a:cubicBezTo>
                  <a:cubicBezTo>
                    <a:pt x="6299" y="52213"/>
                    <a:pt x="6299" y="52213"/>
                    <a:pt x="7559" y="52213"/>
                  </a:cubicBezTo>
                  <a:cubicBezTo>
                    <a:pt x="11338" y="52213"/>
                    <a:pt x="13858" y="52213"/>
                    <a:pt x="18897" y="52213"/>
                  </a:cubicBezTo>
                  <a:cubicBezTo>
                    <a:pt x="18897" y="52213"/>
                    <a:pt x="20157" y="52213"/>
                    <a:pt x="20157" y="52213"/>
                  </a:cubicBezTo>
                  <a:cubicBezTo>
                    <a:pt x="21417" y="52213"/>
                    <a:pt x="23937" y="52213"/>
                    <a:pt x="25196" y="53473"/>
                  </a:cubicBezTo>
                  <a:cubicBezTo>
                    <a:pt x="27716" y="53473"/>
                    <a:pt x="31496" y="54732"/>
                    <a:pt x="35275" y="54732"/>
                  </a:cubicBezTo>
                  <a:cubicBezTo>
                    <a:pt x="40314" y="54732"/>
                    <a:pt x="44094" y="54732"/>
                    <a:pt x="47873" y="54732"/>
                  </a:cubicBezTo>
                  <a:lnTo>
                    <a:pt x="47873" y="54732"/>
                  </a:lnTo>
                  <a:cubicBezTo>
                    <a:pt x="54172" y="54732"/>
                    <a:pt x="61731" y="53473"/>
                    <a:pt x="69290" y="53473"/>
                  </a:cubicBezTo>
                  <a:cubicBezTo>
                    <a:pt x="76849" y="52213"/>
                    <a:pt x="83148" y="50953"/>
                    <a:pt x="90707" y="48433"/>
                  </a:cubicBezTo>
                  <a:cubicBezTo>
                    <a:pt x="97007" y="47173"/>
                    <a:pt x="103306" y="44654"/>
                    <a:pt x="108345" y="43394"/>
                  </a:cubicBezTo>
                  <a:cubicBezTo>
                    <a:pt x="109605" y="43394"/>
                    <a:pt x="109605" y="42134"/>
                    <a:pt x="110864" y="42134"/>
                  </a:cubicBez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2124" y="42134"/>
                  </a:lnTo>
                  <a:lnTo>
                    <a:pt x="112124" y="42134"/>
                  </a:lnTo>
                  <a:cubicBezTo>
                    <a:pt x="112124" y="42134"/>
                    <a:pt x="112124" y="42134"/>
                    <a:pt x="113384" y="42134"/>
                  </a:cubicBezTo>
                  <a:lnTo>
                    <a:pt x="113384" y="42134"/>
                  </a:lnTo>
                  <a:cubicBezTo>
                    <a:pt x="119683" y="39614"/>
                    <a:pt x="125982" y="35835"/>
                    <a:pt x="131022" y="33315"/>
                  </a:cubicBezTo>
                  <a:cubicBezTo>
                    <a:pt x="137321" y="29536"/>
                    <a:pt x="143620" y="27016"/>
                    <a:pt x="149919" y="21977"/>
                  </a:cubicBezTo>
                  <a:cubicBezTo>
                    <a:pt x="152439" y="19457"/>
                    <a:pt x="156218" y="16938"/>
                    <a:pt x="158738" y="14418"/>
                  </a:cubicBezTo>
                  <a:cubicBezTo>
                    <a:pt x="161257" y="11898"/>
                    <a:pt x="163777" y="9379"/>
                    <a:pt x="166297" y="6859"/>
                  </a:cubicBezTo>
                  <a:cubicBezTo>
                    <a:pt x="167556" y="4339"/>
                    <a:pt x="168816" y="3080"/>
                    <a:pt x="170076" y="1820"/>
                  </a:cubicBezTo>
                  <a:lnTo>
                    <a:pt x="171336" y="560"/>
                  </a:lnTo>
                  <a:lnTo>
                    <a:pt x="171336" y="560"/>
                  </a:lnTo>
                  <a:lnTo>
                    <a:pt x="171336" y="560"/>
                  </a:lnTo>
                  <a:cubicBezTo>
                    <a:pt x="172596" y="-700"/>
                    <a:pt x="172596" y="560"/>
                    <a:pt x="172596" y="5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3" name="任意多边形: 形状 10232"/>
            <p:cNvSpPr/>
            <p:nvPr/>
          </p:nvSpPr>
          <p:spPr>
            <a:xfrm>
              <a:off x="5130716" y="2550903"/>
              <a:ext cx="12598" cy="50393"/>
            </a:xfrm>
            <a:custGeom>
              <a:avLst/>
              <a:gdLst>
                <a:gd name="connsiteX0" fmla="*/ 3779 w 12598"/>
                <a:gd name="connsiteY0" fmla="*/ 0 h 50392"/>
                <a:gd name="connsiteX1" fmla="*/ 3779 w 12598"/>
                <a:gd name="connsiteY1" fmla="*/ 0 h 50392"/>
                <a:gd name="connsiteX2" fmla="*/ 3779 w 12598"/>
                <a:gd name="connsiteY2" fmla="*/ 0 h 50392"/>
                <a:gd name="connsiteX3" fmla="*/ 3779 w 12598"/>
                <a:gd name="connsiteY3" fmla="*/ 0 h 50392"/>
                <a:gd name="connsiteX4" fmla="*/ 3779 w 12598"/>
                <a:gd name="connsiteY4" fmla="*/ 0 h 50392"/>
                <a:gd name="connsiteX5" fmla="*/ 5039 w 12598"/>
                <a:gd name="connsiteY5" fmla="*/ 0 h 50392"/>
                <a:gd name="connsiteX6" fmla="*/ 10078 w 12598"/>
                <a:gd name="connsiteY6" fmla="*/ 1260 h 50392"/>
                <a:gd name="connsiteX7" fmla="*/ 12598 w 12598"/>
                <a:gd name="connsiteY7" fmla="*/ 2520 h 50392"/>
                <a:gd name="connsiteX8" fmla="*/ 12598 w 12598"/>
                <a:gd name="connsiteY8" fmla="*/ 6299 h 50392"/>
                <a:gd name="connsiteX9" fmla="*/ 11338 w 12598"/>
                <a:gd name="connsiteY9" fmla="*/ 13858 h 50392"/>
                <a:gd name="connsiteX10" fmla="*/ 10078 w 12598"/>
                <a:gd name="connsiteY10" fmla="*/ 23937 h 50392"/>
                <a:gd name="connsiteX11" fmla="*/ 10078 w 12598"/>
                <a:gd name="connsiteY11" fmla="*/ 23937 h 50392"/>
                <a:gd name="connsiteX12" fmla="*/ 10078 w 12598"/>
                <a:gd name="connsiteY12" fmla="*/ 23937 h 50392"/>
                <a:gd name="connsiteX13" fmla="*/ 10078 w 12598"/>
                <a:gd name="connsiteY13" fmla="*/ 23937 h 50392"/>
                <a:gd name="connsiteX14" fmla="*/ 10078 w 12598"/>
                <a:gd name="connsiteY14" fmla="*/ 23937 h 50392"/>
                <a:gd name="connsiteX15" fmla="*/ 10078 w 12598"/>
                <a:gd name="connsiteY15" fmla="*/ 23937 h 50392"/>
                <a:gd name="connsiteX16" fmla="*/ 10078 w 12598"/>
                <a:gd name="connsiteY16" fmla="*/ 23937 h 50392"/>
                <a:gd name="connsiteX17" fmla="*/ 8819 w 12598"/>
                <a:gd name="connsiteY17" fmla="*/ 41574 h 50392"/>
                <a:gd name="connsiteX18" fmla="*/ 7559 w 12598"/>
                <a:gd name="connsiteY18" fmla="*/ 55432 h 50392"/>
                <a:gd name="connsiteX19" fmla="*/ 7559 w 12598"/>
                <a:gd name="connsiteY19" fmla="*/ 55432 h 50392"/>
                <a:gd name="connsiteX20" fmla="*/ 0 w 12598"/>
                <a:gd name="connsiteY20" fmla="*/ 60472 h 50392"/>
                <a:gd name="connsiteX21" fmla="*/ 0 w 12598"/>
                <a:gd name="connsiteY21" fmla="*/ 56692 h 50392"/>
                <a:gd name="connsiteX22" fmla="*/ 0 w 12598"/>
                <a:gd name="connsiteY22" fmla="*/ 50393 h 50392"/>
                <a:gd name="connsiteX23" fmla="*/ 0 w 12598"/>
                <a:gd name="connsiteY23" fmla="*/ 47873 h 50392"/>
                <a:gd name="connsiteX24" fmla="*/ 1260 w 12598"/>
                <a:gd name="connsiteY24" fmla="*/ 32755 h 50392"/>
                <a:gd name="connsiteX25" fmla="*/ 1260 w 12598"/>
                <a:gd name="connsiteY25" fmla="*/ 28976 h 50392"/>
                <a:gd name="connsiteX26" fmla="*/ 1260 w 12598"/>
                <a:gd name="connsiteY26" fmla="*/ 25196 h 50392"/>
                <a:gd name="connsiteX27" fmla="*/ 1260 w 12598"/>
                <a:gd name="connsiteY27" fmla="*/ 18897 h 50392"/>
                <a:gd name="connsiteX28" fmla="*/ 1260 w 12598"/>
                <a:gd name="connsiteY28" fmla="*/ 17637 h 50392"/>
                <a:gd name="connsiteX29" fmla="*/ 1260 w 12598"/>
                <a:gd name="connsiteY29" fmla="*/ 8819 h 50392"/>
                <a:gd name="connsiteX30" fmla="*/ 1260 w 12598"/>
                <a:gd name="connsiteY30" fmla="*/ 2520 h 50392"/>
                <a:gd name="connsiteX31" fmla="*/ 3779 w 12598"/>
                <a:gd name="connsiteY31" fmla="*/ 0 h 50392"/>
                <a:gd name="connsiteX32" fmla="*/ 3779 w 12598"/>
                <a:gd name="connsiteY32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598" h="50392">
                  <a:moveTo>
                    <a:pt x="3779" y="0"/>
                  </a:moveTo>
                  <a:lnTo>
                    <a:pt x="3779" y="0"/>
                  </a:lnTo>
                  <a:lnTo>
                    <a:pt x="3779" y="0"/>
                  </a:lnTo>
                  <a:cubicBezTo>
                    <a:pt x="3779" y="0"/>
                    <a:pt x="3779" y="0"/>
                    <a:pt x="3779" y="0"/>
                  </a:cubicBezTo>
                  <a:lnTo>
                    <a:pt x="3779" y="0"/>
                  </a:lnTo>
                  <a:lnTo>
                    <a:pt x="5039" y="0"/>
                  </a:lnTo>
                  <a:cubicBezTo>
                    <a:pt x="6299" y="0"/>
                    <a:pt x="7559" y="1260"/>
                    <a:pt x="10078" y="1260"/>
                  </a:cubicBezTo>
                  <a:cubicBezTo>
                    <a:pt x="11338" y="1260"/>
                    <a:pt x="12598" y="1260"/>
                    <a:pt x="12598" y="2520"/>
                  </a:cubicBezTo>
                  <a:cubicBezTo>
                    <a:pt x="12598" y="3780"/>
                    <a:pt x="12598" y="5039"/>
                    <a:pt x="12598" y="6299"/>
                  </a:cubicBezTo>
                  <a:cubicBezTo>
                    <a:pt x="12598" y="8819"/>
                    <a:pt x="12598" y="11338"/>
                    <a:pt x="11338" y="13858"/>
                  </a:cubicBezTo>
                  <a:cubicBezTo>
                    <a:pt x="11338" y="17637"/>
                    <a:pt x="11338" y="20157"/>
                    <a:pt x="10078" y="23937"/>
                  </a:cubicBez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cubicBezTo>
                    <a:pt x="10078" y="30236"/>
                    <a:pt x="8819" y="36535"/>
                    <a:pt x="8819" y="41574"/>
                  </a:cubicBezTo>
                  <a:cubicBezTo>
                    <a:pt x="8819" y="46613"/>
                    <a:pt x="7559" y="51653"/>
                    <a:pt x="7559" y="55432"/>
                  </a:cubicBezTo>
                  <a:cubicBezTo>
                    <a:pt x="7559" y="55432"/>
                    <a:pt x="7559" y="55432"/>
                    <a:pt x="7559" y="55432"/>
                  </a:cubicBezTo>
                  <a:cubicBezTo>
                    <a:pt x="5039" y="56692"/>
                    <a:pt x="2519" y="59212"/>
                    <a:pt x="0" y="60472"/>
                  </a:cubicBezTo>
                  <a:cubicBezTo>
                    <a:pt x="0" y="59212"/>
                    <a:pt x="0" y="57952"/>
                    <a:pt x="0" y="56692"/>
                  </a:cubicBezTo>
                  <a:cubicBezTo>
                    <a:pt x="0" y="54172"/>
                    <a:pt x="0" y="52913"/>
                    <a:pt x="0" y="50393"/>
                  </a:cubicBezTo>
                  <a:lnTo>
                    <a:pt x="0" y="47873"/>
                  </a:lnTo>
                  <a:cubicBezTo>
                    <a:pt x="0" y="41574"/>
                    <a:pt x="0" y="36535"/>
                    <a:pt x="1260" y="32755"/>
                  </a:cubicBezTo>
                  <a:lnTo>
                    <a:pt x="1260" y="28976"/>
                  </a:lnTo>
                  <a:cubicBezTo>
                    <a:pt x="1260" y="27716"/>
                    <a:pt x="1260" y="26456"/>
                    <a:pt x="1260" y="25196"/>
                  </a:cubicBezTo>
                  <a:cubicBezTo>
                    <a:pt x="1260" y="22677"/>
                    <a:pt x="1260" y="21417"/>
                    <a:pt x="1260" y="18897"/>
                  </a:cubicBezTo>
                  <a:lnTo>
                    <a:pt x="1260" y="17637"/>
                  </a:lnTo>
                  <a:cubicBezTo>
                    <a:pt x="1260" y="15118"/>
                    <a:pt x="1260" y="12598"/>
                    <a:pt x="1260" y="8819"/>
                  </a:cubicBezTo>
                  <a:cubicBezTo>
                    <a:pt x="1260" y="6299"/>
                    <a:pt x="1260" y="5039"/>
                    <a:pt x="1260" y="2520"/>
                  </a:cubicBezTo>
                  <a:cubicBezTo>
                    <a:pt x="3779" y="3780"/>
                    <a:pt x="3779" y="1260"/>
                    <a:pt x="3779" y="0"/>
                  </a:cubicBezTo>
                  <a:lnTo>
                    <a:pt x="3779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4" name="任意多边形: 形状 10233"/>
            <p:cNvSpPr/>
            <p:nvPr/>
          </p:nvSpPr>
          <p:spPr>
            <a:xfrm>
              <a:off x="5108039" y="2549643"/>
              <a:ext cx="25196" cy="125982"/>
            </a:xfrm>
            <a:custGeom>
              <a:avLst/>
              <a:gdLst>
                <a:gd name="connsiteX0" fmla="*/ 25196 w 25196"/>
                <a:gd name="connsiteY0" fmla="*/ 1260 h 125982"/>
                <a:gd name="connsiteX1" fmla="*/ 20157 w 25196"/>
                <a:gd name="connsiteY1" fmla="*/ 0 h 125982"/>
                <a:gd name="connsiteX2" fmla="*/ 17638 w 25196"/>
                <a:gd name="connsiteY2" fmla="*/ 3780 h 125982"/>
                <a:gd name="connsiteX3" fmla="*/ 17638 w 25196"/>
                <a:gd name="connsiteY3" fmla="*/ 6299 h 125982"/>
                <a:gd name="connsiteX4" fmla="*/ 15118 w 25196"/>
                <a:gd name="connsiteY4" fmla="*/ 27716 h 125982"/>
                <a:gd name="connsiteX5" fmla="*/ 12598 w 25196"/>
                <a:gd name="connsiteY5" fmla="*/ 49133 h 125982"/>
                <a:gd name="connsiteX6" fmla="*/ 10079 w 25196"/>
                <a:gd name="connsiteY6" fmla="*/ 69290 h 125982"/>
                <a:gd name="connsiteX7" fmla="*/ 8819 w 25196"/>
                <a:gd name="connsiteY7" fmla="*/ 79369 h 125982"/>
                <a:gd name="connsiteX8" fmla="*/ 7559 w 25196"/>
                <a:gd name="connsiteY8" fmla="*/ 89448 h 125982"/>
                <a:gd name="connsiteX9" fmla="*/ 7559 w 25196"/>
                <a:gd name="connsiteY9" fmla="*/ 91967 h 125982"/>
                <a:gd name="connsiteX10" fmla="*/ 6299 w 25196"/>
                <a:gd name="connsiteY10" fmla="*/ 95747 h 125982"/>
                <a:gd name="connsiteX11" fmla="*/ 6299 w 25196"/>
                <a:gd name="connsiteY11" fmla="*/ 95747 h 125982"/>
                <a:gd name="connsiteX12" fmla="*/ 6299 w 25196"/>
                <a:gd name="connsiteY12" fmla="*/ 95747 h 125982"/>
                <a:gd name="connsiteX13" fmla="*/ 6299 w 25196"/>
                <a:gd name="connsiteY13" fmla="*/ 95747 h 125982"/>
                <a:gd name="connsiteX14" fmla="*/ 6299 w 25196"/>
                <a:gd name="connsiteY14" fmla="*/ 95747 h 125982"/>
                <a:gd name="connsiteX15" fmla="*/ 3780 w 25196"/>
                <a:gd name="connsiteY15" fmla="*/ 109605 h 125982"/>
                <a:gd name="connsiteX16" fmla="*/ 3780 w 25196"/>
                <a:gd name="connsiteY16" fmla="*/ 108345 h 125982"/>
                <a:gd name="connsiteX17" fmla="*/ 3780 w 25196"/>
                <a:gd name="connsiteY17" fmla="*/ 110864 h 125982"/>
                <a:gd name="connsiteX18" fmla="*/ 3780 w 25196"/>
                <a:gd name="connsiteY18" fmla="*/ 109605 h 125982"/>
                <a:gd name="connsiteX19" fmla="*/ 3780 w 25196"/>
                <a:gd name="connsiteY19" fmla="*/ 110864 h 125982"/>
                <a:gd name="connsiteX20" fmla="*/ 2520 w 25196"/>
                <a:gd name="connsiteY20" fmla="*/ 117164 h 125982"/>
                <a:gd name="connsiteX21" fmla="*/ 1260 w 25196"/>
                <a:gd name="connsiteY21" fmla="*/ 123463 h 125982"/>
                <a:gd name="connsiteX22" fmla="*/ 1260 w 25196"/>
                <a:gd name="connsiteY22" fmla="*/ 125982 h 125982"/>
                <a:gd name="connsiteX23" fmla="*/ 1260 w 25196"/>
                <a:gd name="connsiteY23" fmla="*/ 125982 h 125982"/>
                <a:gd name="connsiteX24" fmla="*/ 0 w 25196"/>
                <a:gd name="connsiteY24" fmla="*/ 132281 h 125982"/>
                <a:gd name="connsiteX25" fmla="*/ 3780 w 25196"/>
                <a:gd name="connsiteY25" fmla="*/ 128502 h 125982"/>
                <a:gd name="connsiteX26" fmla="*/ 8819 w 25196"/>
                <a:gd name="connsiteY26" fmla="*/ 123463 h 125982"/>
                <a:gd name="connsiteX27" fmla="*/ 10079 w 25196"/>
                <a:gd name="connsiteY27" fmla="*/ 117164 h 125982"/>
                <a:gd name="connsiteX28" fmla="*/ 12598 w 25196"/>
                <a:gd name="connsiteY28" fmla="*/ 107085 h 125982"/>
                <a:gd name="connsiteX29" fmla="*/ 15118 w 25196"/>
                <a:gd name="connsiteY29" fmla="*/ 86928 h 125982"/>
                <a:gd name="connsiteX30" fmla="*/ 21417 w 25196"/>
                <a:gd name="connsiteY30" fmla="*/ 45354 h 125982"/>
                <a:gd name="connsiteX31" fmla="*/ 22677 w 25196"/>
                <a:gd name="connsiteY31" fmla="*/ 35275 h 125982"/>
                <a:gd name="connsiteX32" fmla="*/ 23937 w 25196"/>
                <a:gd name="connsiteY32" fmla="*/ 23937 h 125982"/>
                <a:gd name="connsiteX33" fmla="*/ 25196 w 25196"/>
                <a:gd name="connsiteY33" fmla="*/ 12598 h 125982"/>
                <a:gd name="connsiteX34" fmla="*/ 26456 w 25196"/>
                <a:gd name="connsiteY34" fmla="*/ 1260 h 125982"/>
                <a:gd name="connsiteX35" fmla="*/ 25196 w 25196"/>
                <a:gd name="connsiteY35" fmla="*/ 1260 h 125982"/>
                <a:gd name="connsiteX36" fmla="*/ 25196 w 25196"/>
                <a:gd name="connsiteY36" fmla="*/ 1260 h 125982"/>
                <a:gd name="connsiteX37" fmla="*/ 3780 w 25196"/>
                <a:gd name="connsiteY37" fmla="*/ 117164 h 125982"/>
                <a:gd name="connsiteX38" fmla="*/ 3780 w 25196"/>
                <a:gd name="connsiteY38" fmla="*/ 117164 h 125982"/>
                <a:gd name="connsiteX39" fmla="*/ 3780 w 25196"/>
                <a:gd name="connsiteY39" fmla="*/ 117164 h 125982"/>
                <a:gd name="connsiteX40" fmla="*/ 2520 w 25196"/>
                <a:gd name="connsiteY40" fmla="*/ 127242 h 125982"/>
                <a:gd name="connsiteX41" fmla="*/ 2520 w 25196"/>
                <a:gd name="connsiteY41" fmla="*/ 127242 h 125982"/>
                <a:gd name="connsiteX42" fmla="*/ 2520 w 25196"/>
                <a:gd name="connsiteY42" fmla="*/ 127242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96" h="125982">
                  <a:moveTo>
                    <a:pt x="25196" y="1260"/>
                  </a:moveTo>
                  <a:cubicBezTo>
                    <a:pt x="23937" y="1260"/>
                    <a:pt x="21417" y="0"/>
                    <a:pt x="20157" y="0"/>
                  </a:cubicBezTo>
                  <a:cubicBezTo>
                    <a:pt x="18897" y="1260"/>
                    <a:pt x="18897" y="2520"/>
                    <a:pt x="17638" y="3780"/>
                  </a:cubicBezTo>
                  <a:cubicBezTo>
                    <a:pt x="17638" y="5039"/>
                    <a:pt x="17638" y="5039"/>
                    <a:pt x="17638" y="6299"/>
                  </a:cubicBezTo>
                  <a:cubicBezTo>
                    <a:pt x="17638" y="13858"/>
                    <a:pt x="16378" y="20157"/>
                    <a:pt x="15118" y="27716"/>
                  </a:cubicBezTo>
                  <a:cubicBezTo>
                    <a:pt x="13858" y="35275"/>
                    <a:pt x="13858" y="41574"/>
                    <a:pt x="12598" y="49133"/>
                  </a:cubicBezTo>
                  <a:cubicBezTo>
                    <a:pt x="11339" y="55432"/>
                    <a:pt x="11339" y="62991"/>
                    <a:pt x="10079" y="69290"/>
                  </a:cubicBezTo>
                  <a:cubicBezTo>
                    <a:pt x="10079" y="73070"/>
                    <a:pt x="8819" y="75589"/>
                    <a:pt x="8819" y="79369"/>
                  </a:cubicBezTo>
                  <a:cubicBezTo>
                    <a:pt x="8819" y="83148"/>
                    <a:pt x="7559" y="86928"/>
                    <a:pt x="7559" y="89448"/>
                  </a:cubicBezTo>
                  <a:lnTo>
                    <a:pt x="7559" y="91967"/>
                  </a:lnTo>
                  <a:cubicBezTo>
                    <a:pt x="7559" y="93227"/>
                    <a:pt x="7559" y="9448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5040" y="100786"/>
                    <a:pt x="5040" y="104565"/>
                    <a:pt x="3780" y="109605"/>
                  </a:cubicBezTo>
                  <a:cubicBezTo>
                    <a:pt x="3780" y="109605"/>
                    <a:pt x="3780" y="108345"/>
                    <a:pt x="3780" y="108345"/>
                  </a:cubicBezTo>
                  <a:cubicBezTo>
                    <a:pt x="3780" y="109605"/>
                    <a:pt x="3780" y="109605"/>
                    <a:pt x="3780" y="110864"/>
                  </a:cubicBezTo>
                  <a:lnTo>
                    <a:pt x="3780" y="109605"/>
                  </a:lnTo>
                  <a:cubicBezTo>
                    <a:pt x="3780" y="109605"/>
                    <a:pt x="3780" y="110864"/>
                    <a:pt x="3780" y="110864"/>
                  </a:cubicBezTo>
                  <a:cubicBezTo>
                    <a:pt x="3780" y="113384"/>
                    <a:pt x="2520" y="114644"/>
                    <a:pt x="2520" y="117164"/>
                  </a:cubicBezTo>
                  <a:cubicBezTo>
                    <a:pt x="2520" y="119683"/>
                    <a:pt x="1260" y="120943"/>
                    <a:pt x="1260" y="123463"/>
                  </a:cubicBezTo>
                  <a:cubicBezTo>
                    <a:pt x="1260" y="124723"/>
                    <a:pt x="1260" y="124723"/>
                    <a:pt x="1260" y="125982"/>
                  </a:cubicBezTo>
                  <a:lnTo>
                    <a:pt x="1260" y="125982"/>
                  </a:lnTo>
                  <a:cubicBezTo>
                    <a:pt x="1260" y="128502"/>
                    <a:pt x="0" y="129762"/>
                    <a:pt x="0" y="132281"/>
                  </a:cubicBezTo>
                  <a:cubicBezTo>
                    <a:pt x="1260" y="131022"/>
                    <a:pt x="2520" y="129762"/>
                    <a:pt x="3780" y="128502"/>
                  </a:cubicBezTo>
                  <a:cubicBezTo>
                    <a:pt x="5040" y="127242"/>
                    <a:pt x="7559" y="125982"/>
                    <a:pt x="8819" y="123463"/>
                  </a:cubicBezTo>
                  <a:cubicBezTo>
                    <a:pt x="8819" y="120943"/>
                    <a:pt x="10079" y="118424"/>
                    <a:pt x="10079" y="117164"/>
                  </a:cubicBezTo>
                  <a:cubicBezTo>
                    <a:pt x="11339" y="113384"/>
                    <a:pt x="11339" y="109605"/>
                    <a:pt x="12598" y="107085"/>
                  </a:cubicBezTo>
                  <a:cubicBezTo>
                    <a:pt x="13858" y="100786"/>
                    <a:pt x="15118" y="93227"/>
                    <a:pt x="15118" y="86928"/>
                  </a:cubicBezTo>
                  <a:cubicBezTo>
                    <a:pt x="17638" y="73070"/>
                    <a:pt x="18897" y="59212"/>
                    <a:pt x="21417" y="45354"/>
                  </a:cubicBezTo>
                  <a:cubicBezTo>
                    <a:pt x="21417" y="41574"/>
                    <a:pt x="22677" y="37795"/>
                    <a:pt x="22677" y="35275"/>
                  </a:cubicBezTo>
                  <a:cubicBezTo>
                    <a:pt x="22677" y="31496"/>
                    <a:pt x="23937" y="27716"/>
                    <a:pt x="23937" y="23937"/>
                  </a:cubicBezTo>
                  <a:cubicBezTo>
                    <a:pt x="23937" y="20157"/>
                    <a:pt x="25196" y="16378"/>
                    <a:pt x="25196" y="12598"/>
                  </a:cubicBezTo>
                  <a:cubicBezTo>
                    <a:pt x="25196" y="8819"/>
                    <a:pt x="26456" y="5039"/>
                    <a:pt x="26456" y="1260"/>
                  </a:cubicBezTo>
                  <a:cubicBezTo>
                    <a:pt x="26456" y="2520"/>
                    <a:pt x="26456" y="1260"/>
                    <a:pt x="25196" y="1260"/>
                  </a:cubicBezTo>
                  <a:cubicBezTo>
                    <a:pt x="25196" y="1260"/>
                    <a:pt x="25196" y="1260"/>
                    <a:pt x="25196" y="1260"/>
                  </a:cubicBezTo>
                  <a:moveTo>
                    <a:pt x="3780" y="117164"/>
                  </a:moveTo>
                  <a:cubicBezTo>
                    <a:pt x="3780" y="118424"/>
                    <a:pt x="3780" y="118424"/>
                    <a:pt x="3780" y="117164"/>
                  </a:cubicBezTo>
                  <a:cubicBezTo>
                    <a:pt x="3780" y="118424"/>
                    <a:pt x="3780" y="118424"/>
                    <a:pt x="3780" y="117164"/>
                  </a:cubicBezTo>
                  <a:moveTo>
                    <a:pt x="2520" y="127242"/>
                  </a:moveTo>
                  <a:cubicBezTo>
                    <a:pt x="2520" y="127242"/>
                    <a:pt x="2520" y="127242"/>
                    <a:pt x="2520" y="127242"/>
                  </a:cubicBezTo>
                  <a:cubicBezTo>
                    <a:pt x="2520" y="127242"/>
                    <a:pt x="2520" y="127242"/>
                    <a:pt x="2520" y="127242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5" name="任意多边形: 形状 10234"/>
            <p:cNvSpPr/>
            <p:nvPr/>
          </p:nvSpPr>
          <p:spPr>
            <a:xfrm>
              <a:off x="5113078" y="2551668"/>
              <a:ext cx="12598" cy="125982"/>
            </a:xfrm>
            <a:custGeom>
              <a:avLst/>
              <a:gdLst>
                <a:gd name="connsiteX0" fmla="*/ 18897 w 12598"/>
                <a:gd name="connsiteY0" fmla="*/ 3014 h 125982"/>
                <a:gd name="connsiteX1" fmla="*/ 18897 w 12598"/>
                <a:gd name="connsiteY1" fmla="*/ 10573 h 125982"/>
                <a:gd name="connsiteX2" fmla="*/ 18897 w 12598"/>
                <a:gd name="connsiteY2" fmla="*/ 18132 h 125982"/>
                <a:gd name="connsiteX3" fmla="*/ 18897 w 12598"/>
                <a:gd name="connsiteY3" fmla="*/ 23171 h 125982"/>
                <a:gd name="connsiteX4" fmla="*/ 18897 w 12598"/>
                <a:gd name="connsiteY4" fmla="*/ 21911 h 125982"/>
                <a:gd name="connsiteX5" fmla="*/ 20157 w 12598"/>
                <a:gd name="connsiteY5" fmla="*/ 29470 h 125982"/>
                <a:gd name="connsiteX6" fmla="*/ 21417 w 12598"/>
                <a:gd name="connsiteY6" fmla="*/ 38289 h 125982"/>
                <a:gd name="connsiteX7" fmla="*/ 21417 w 12598"/>
                <a:gd name="connsiteY7" fmla="*/ 43328 h 125982"/>
                <a:gd name="connsiteX8" fmla="*/ 21417 w 12598"/>
                <a:gd name="connsiteY8" fmla="*/ 48368 h 125982"/>
                <a:gd name="connsiteX9" fmla="*/ 21417 w 12598"/>
                <a:gd name="connsiteY9" fmla="*/ 57186 h 125982"/>
                <a:gd name="connsiteX10" fmla="*/ 21417 w 12598"/>
                <a:gd name="connsiteY10" fmla="*/ 66005 h 125982"/>
                <a:gd name="connsiteX11" fmla="*/ 21417 w 12598"/>
                <a:gd name="connsiteY11" fmla="*/ 69784 h 125982"/>
                <a:gd name="connsiteX12" fmla="*/ 21417 w 12598"/>
                <a:gd name="connsiteY12" fmla="*/ 69784 h 125982"/>
                <a:gd name="connsiteX13" fmla="*/ 21417 w 12598"/>
                <a:gd name="connsiteY13" fmla="*/ 74824 h 125982"/>
                <a:gd name="connsiteX14" fmla="*/ 21417 w 12598"/>
                <a:gd name="connsiteY14" fmla="*/ 79863 h 125982"/>
                <a:gd name="connsiteX15" fmla="*/ 21417 w 12598"/>
                <a:gd name="connsiteY15" fmla="*/ 81123 h 125982"/>
                <a:gd name="connsiteX16" fmla="*/ 21417 w 12598"/>
                <a:gd name="connsiteY16" fmla="*/ 84903 h 125982"/>
                <a:gd name="connsiteX17" fmla="*/ 21417 w 12598"/>
                <a:gd name="connsiteY17" fmla="*/ 87422 h 125982"/>
                <a:gd name="connsiteX18" fmla="*/ 20157 w 12598"/>
                <a:gd name="connsiteY18" fmla="*/ 93721 h 125982"/>
                <a:gd name="connsiteX19" fmla="*/ 18897 w 12598"/>
                <a:gd name="connsiteY19" fmla="*/ 102540 h 125982"/>
                <a:gd name="connsiteX20" fmla="*/ 17637 w 12598"/>
                <a:gd name="connsiteY20" fmla="*/ 110099 h 125982"/>
                <a:gd name="connsiteX21" fmla="*/ 17637 w 12598"/>
                <a:gd name="connsiteY21" fmla="*/ 112619 h 125982"/>
                <a:gd name="connsiteX22" fmla="*/ 16378 w 12598"/>
                <a:gd name="connsiteY22" fmla="*/ 113878 h 125982"/>
                <a:gd name="connsiteX23" fmla="*/ 7559 w 12598"/>
                <a:gd name="connsiteY23" fmla="*/ 121437 h 125982"/>
                <a:gd name="connsiteX24" fmla="*/ 5039 w 12598"/>
                <a:gd name="connsiteY24" fmla="*/ 123957 h 125982"/>
                <a:gd name="connsiteX25" fmla="*/ 0 w 12598"/>
                <a:gd name="connsiteY25" fmla="*/ 127736 h 125982"/>
                <a:gd name="connsiteX26" fmla="*/ 1260 w 12598"/>
                <a:gd name="connsiteY26" fmla="*/ 121437 h 125982"/>
                <a:gd name="connsiteX27" fmla="*/ 3779 w 12598"/>
                <a:gd name="connsiteY27" fmla="*/ 106319 h 125982"/>
                <a:gd name="connsiteX28" fmla="*/ 5039 w 12598"/>
                <a:gd name="connsiteY28" fmla="*/ 97501 h 125982"/>
                <a:gd name="connsiteX29" fmla="*/ 6299 w 12598"/>
                <a:gd name="connsiteY29" fmla="*/ 88682 h 125982"/>
                <a:gd name="connsiteX30" fmla="*/ 7559 w 12598"/>
                <a:gd name="connsiteY30" fmla="*/ 79863 h 125982"/>
                <a:gd name="connsiteX31" fmla="*/ 8819 w 12598"/>
                <a:gd name="connsiteY31" fmla="*/ 71044 h 125982"/>
                <a:gd name="connsiteX32" fmla="*/ 10078 w 12598"/>
                <a:gd name="connsiteY32" fmla="*/ 53407 h 125982"/>
                <a:gd name="connsiteX33" fmla="*/ 10078 w 12598"/>
                <a:gd name="connsiteY33" fmla="*/ 44588 h 125982"/>
                <a:gd name="connsiteX34" fmla="*/ 10078 w 12598"/>
                <a:gd name="connsiteY34" fmla="*/ 34510 h 125982"/>
                <a:gd name="connsiteX35" fmla="*/ 10078 w 12598"/>
                <a:gd name="connsiteY35" fmla="*/ 29470 h 125982"/>
                <a:gd name="connsiteX36" fmla="*/ 10078 w 12598"/>
                <a:gd name="connsiteY36" fmla="*/ 24431 h 125982"/>
                <a:gd name="connsiteX37" fmla="*/ 8819 w 12598"/>
                <a:gd name="connsiteY37" fmla="*/ 15612 h 125982"/>
                <a:gd name="connsiteX38" fmla="*/ 8819 w 12598"/>
                <a:gd name="connsiteY38" fmla="*/ 8053 h 125982"/>
                <a:gd name="connsiteX39" fmla="*/ 8819 w 12598"/>
                <a:gd name="connsiteY39" fmla="*/ 4274 h 125982"/>
                <a:gd name="connsiteX40" fmla="*/ 12598 w 12598"/>
                <a:gd name="connsiteY40" fmla="*/ 494 h 125982"/>
                <a:gd name="connsiteX41" fmla="*/ 13858 w 12598"/>
                <a:gd name="connsiteY41" fmla="*/ 494 h 125982"/>
                <a:gd name="connsiteX42" fmla="*/ 18897 w 12598"/>
                <a:gd name="connsiteY42" fmla="*/ 301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2598" h="125982">
                  <a:moveTo>
                    <a:pt x="18897" y="3014"/>
                  </a:moveTo>
                  <a:cubicBezTo>
                    <a:pt x="18897" y="5534"/>
                    <a:pt x="18897" y="8053"/>
                    <a:pt x="18897" y="10573"/>
                  </a:cubicBezTo>
                  <a:cubicBezTo>
                    <a:pt x="18897" y="13092"/>
                    <a:pt x="18897" y="15612"/>
                    <a:pt x="18897" y="18132"/>
                  </a:cubicBezTo>
                  <a:cubicBezTo>
                    <a:pt x="18897" y="19392"/>
                    <a:pt x="18897" y="21911"/>
                    <a:pt x="18897" y="23171"/>
                  </a:cubicBezTo>
                  <a:cubicBezTo>
                    <a:pt x="18897" y="23171"/>
                    <a:pt x="18897" y="21911"/>
                    <a:pt x="18897" y="21911"/>
                  </a:cubicBezTo>
                  <a:cubicBezTo>
                    <a:pt x="18897" y="24431"/>
                    <a:pt x="18897" y="26951"/>
                    <a:pt x="20157" y="29470"/>
                  </a:cubicBezTo>
                  <a:cubicBezTo>
                    <a:pt x="20157" y="31990"/>
                    <a:pt x="21417" y="35769"/>
                    <a:pt x="21417" y="38289"/>
                  </a:cubicBezTo>
                  <a:cubicBezTo>
                    <a:pt x="21417" y="39549"/>
                    <a:pt x="21417" y="42068"/>
                    <a:pt x="21417" y="43328"/>
                  </a:cubicBezTo>
                  <a:cubicBezTo>
                    <a:pt x="21417" y="44588"/>
                    <a:pt x="21417" y="45848"/>
                    <a:pt x="21417" y="48368"/>
                  </a:cubicBezTo>
                  <a:cubicBezTo>
                    <a:pt x="21417" y="50887"/>
                    <a:pt x="21417" y="53407"/>
                    <a:pt x="21417" y="57186"/>
                  </a:cubicBezTo>
                  <a:cubicBezTo>
                    <a:pt x="21417" y="59706"/>
                    <a:pt x="21417" y="63485"/>
                    <a:pt x="21417" y="66005"/>
                  </a:cubicBezTo>
                  <a:cubicBezTo>
                    <a:pt x="21417" y="67265"/>
                    <a:pt x="21417" y="68525"/>
                    <a:pt x="21417" y="69784"/>
                  </a:cubicBezTo>
                  <a:cubicBezTo>
                    <a:pt x="21417" y="69784"/>
                    <a:pt x="21417" y="69784"/>
                    <a:pt x="21417" y="69784"/>
                  </a:cubicBezTo>
                  <a:cubicBezTo>
                    <a:pt x="21417" y="71044"/>
                    <a:pt x="21417" y="73564"/>
                    <a:pt x="21417" y="74824"/>
                  </a:cubicBezTo>
                  <a:cubicBezTo>
                    <a:pt x="21417" y="76084"/>
                    <a:pt x="21417" y="77343"/>
                    <a:pt x="21417" y="79863"/>
                  </a:cubicBezTo>
                  <a:lnTo>
                    <a:pt x="21417" y="81123"/>
                  </a:lnTo>
                  <a:cubicBezTo>
                    <a:pt x="21417" y="82383"/>
                    <a:pt x="21417" y="83643"/>
                    <a:pt x="21417" y="84903"/>
                  </a:cubicBezTo>
                  <a:cubicBezTo>
                    <a:pt x="21417" y="86162"/>
                    <a:pt x="21417" y="86162"/>
                    <a:pt x="21417" y="87422"/>
                  </a:cubicBezTo>
                  <a:cubicBezTo>
                    <a:pt x="21417" y="89942"/>
                    <a:pt x="21417" y="91202"/>
                    <a:pt x="20157" y="93721"/>
                  </a:cubicBezTo>
                  <a:cubicBezTo>
                    <a:pt x="20157" y="96241"/>
                    <a:pt x="18897" y="98760"/>
                    <a:pt x="18897" y="102540"/>
                  </a:cubicBezTo>
                  <a:cubicBezTo>
                    <a:pt x="18897" y="105060"/>
                    <a:pt x="18897" y="107579"/>
                    <a:pt x="17637" y="110099"/>
                  </a:cubicBezTo>
                  <a:lnTo>
                    <a:pt x="17637" y="112619"/>
                  </a:lnTo>
                  <a:cubicBezTo>
                    <a:pt x="17637" y="112619"/>
                    <a:pt x="16378" y="113878"/>
                    <a:pt x="16378" y="113878"/>
                  </a:cubicBezTo>
                  <a:cubicBezTo>
                    <a:pt x="13858" y="116398"/>
                    <a:pt x="11338" y="118918"/>
                    <a:pt x="7559" y="121437"/>
                  </a:cubicBezTo>
                  <a:lnTo>
                    <a:pt x="5039" y="123957"/>
                  </a:lnTo>
                  <a:cubicBezTo>
                    <a:pt x="3779" y="125217"/>
                    <a:pt x="1260" y="126477"/>
                    <a:pt x="0" y="127736"/>
                  </a:cubicBezTo>
                  <a:cubicBezTo>
                    <a:pt x="0" y="125217"/>
                    <a:pt x="1260" y="123957"/>
                    <a:pt x="1260" y="121437"/>
                  </a:cubicBezTo>
                  <a:cubicBezTo>
                    <a:pt x="2519" y="116398"/>
                    <a:pt x="2519" y="111359"/>
                    <a:pt x="3779" y="106319"/>
                  </a:cubicBezTo>
                  <a:cubicBezTo>
                    <a:pt x="3779" y="103800"/>
                    <a:pt x="5039" y="101280"/>
                    <a:pt x="5039" y="97501"/>
                  </a:cubicBezTo>
                  <a:cubicBezTo>
                    <a:pt x="5039" y="94981"/>
                    <a:pt x="6299" y="91202"/>
                    <a:pt x="6299" y="88682"/>
                  </a:cubicBezTo>
                  <a:cubicBezTo>
                    <a:pt x="6299" y="86162"/>
                    <a:pt x="7559" y="82383"/>
                    <a:pt x="7559" y="79863"/>
                  </a:cubicBezTo>
                  <a:cubicBezTo>
                    <a:pt x="7559" y="77343"/>
                    <a:pt x="7559" y="73564"/>
                    <a:pt x="8819" y="71044"/>
                  </a:cubicBezTo>
                  <a:cubicBezTo>
                    <a:pt x="8819" y="64745"/>
                    <a:pt x="10078" y="59706"/>
                    <a:pt x="10078" y="53407"/>
                  </a:cubicBezTo>
                  <a:cubicBezTo>
                    <a:pt x="10078" y="50887"/>
                    <a:pt x="10078" y="47108"/>
                    <a:pt x="10078" y="44588"/>
                  </a:cubicBezTo>
                  <a:cubicBezTo>
                    <a:pt x="10078" y="40809"/>
                    <a:pt x="10078" y="38289"/>
                    <a:pt x="10078" y="34510"/>
                  </a:cubicBezTo>
                  <a:cubicBezTo>
                    <a:pt x="10078" y="33250"/>
                    <a:pt x="10078" y="30730"/>
                    <a:pt x="10078" y="29470"/>
                  </a:cubicBezTo>
                  <a:cubicBezTo>
                    <a:pt x="10078" y="28210"/>
                    <a:pt x="10078" y="25691"/>
                    <a:pt x="10078" y="24431"/>
                  </a:cubicBezTo>
                  <a:cubicBezTo>
                    <a:pt x="10078" y="21911"/>
                    <a:pt x="8819" y="18132"/>
                    <a:pt x="8819" y="15612"/>
                  </a:cubicBezTo>
                  <a:cubicBezTo>
                    <a:pt x="8819" y="13092"/>
                    <a:pt x="8819" y="10573"/>
                    <a:pt x="8819" y="8053"/>
                  </a:cubicBezTo>
                  <a:cubicBezTo>
                    <a:pt x="8819" y="6793"/>
                    <a:pt x="8819" y="5534"/>
                    <a:pt x="8819" y="4274"/>
                  </a:cubicBezTo>
                  <a:cubicBezTo>
                    <a:pt x="8819" y="1754"/>
                    <a:pt x="10078" y="494"/>
                    <a:pt x="12598" y="494"/>
                  </a:cubicBezTo>
                  <a:cubicBezTo>
                    <a:pt x="12598" y="494"/>
                    <a:pt x="13858" y="494"/>
                    <a:pt x="13858" y="494"/>
                  </a:cubicBezTo>
                  <a:cubicBezTo>
                    <a:pt x="16378" y="-766"/>
                    <a:pt x="18897" y="494"/>
                    <a:pt x="18897" y="301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6" name="任意多边形: 形状 10235"/>
            <p:cNvSpPr/>
            <p:nvPr/>
          </p:nvSpPr>
          <p:spPr>
            <a:xfrm>
              <a:off x="5074024" y="2698302"/>
              <a:ext cx="50393" cy="62991"/>
            </a:xfrm>
            <a:custGeom>
              <a:avLst/>
              <a:gdLst>
                <a:gd name="connsiteX0" fmla="*/ 49133 w 50392"/>
                <a:gd name="connsiteY0" fmla="*/ 10079 h 62991"/>
                <a:gd name="connsiteX1" fmla="*/ 46613 w 50392"/>
                <a:gd name="connsiteY1" fmla="*/ 17637 h 62991"/>
                <a:gd name="connsiteX2" fmla="*/ 44094 w 50392"/>
                <a:gd name="connsiteY2" fmla="*/ 25196 h 62991"/>
                <a:gd name="connsiteX3" fmla="*/ 31496 w 50392"/>
                <a:gd name="connsiteY3" fmla="*/ 49133 h 62991"/>
                <a:gd name="connsiteX4" fmla="*/ 25196 w 50392"/>
                <a:gd name="connsiteY4" fmla="*/ 59212 h 62991"/>
                <a:gd name="connsiteX5" fmla="*/ 15118 w 50392"/>
                <a:gd name="connsiteY5" fmla="*/ 71810 h 62991"/>
                <a:gd name="connsiteX6" fmla="*/ 8819 w 50392"/>
                <a:gd name="connsiteY6" fmla="*/ 74330 h 62991"/>
                <a:gd name="connsiteX7" fmla="*/ 2519 w 50392"/>
                <a:gd name="connsiteY7" fmla="*/ 71810 h 62991"/>
                <a:gd name="connsiteX8" fmla="*/ 0 w 50392"/>
                <a:gd name="connsiteY8" fmla="*/ 65511 h 62991"/>
                <a:gd name="connsiteX9" fmla="*/ 2519 w 50392"/>
                <a:gd name="connsiteY9" fmla="*/ 59212 h 62991"/>
                <a:gd name="connsiteX10" fmla="*/ 7559 w 50392"/>
                <a:gd name="connsiteY10" fmla="*/ 54172 h 62991"/>
                <a:gd name="connsiteX11" fmla="*/ 13858 w 50392"/>
                <a:gd name="connsiteY11" fmla="*/ 46613 h 62991"/>
                <a:gd name="connsiteX12" fmla="*/ 20157 w 50392"/>
                <a:gd name="connsiteY12" fmla="*/ 37795 h 62991"/>
                <a:gd name="connsiteX13" fmla="*/ 25196 w 50392"/>
                <a:gd name="connsiteY13" fmla="*/ 27716 h 62991"/>
                <a:gd name="connsiteX14" fmla="*/ 28976 w 50392"/>
                <a:gd name="connsiteY14" fmla="*/ 20157 h 62991"/>
                <a:gd name="connsiteX15" fmla="*/ 31496 w 50392"/>
                <a:gd name="connsiteY15" fmla="*/ 13858 h 62991"/>
                <a:gd name="connsiteX16" fmla="*/ 34015 w 50392"/>
                <a:gd name="connsiteY16" fmla="*/ 6299 h 62991"/>
                <a:gd name="connsiteX17" fmla="*/ 34015 w 50392"/>
                <a:gd name="connsiteY17" fmla="*/ 6299 h 62991"/>
                <a:gd name="connsiteX18" fmla="*/ 37795 w 50392"/>
                <a:gd name="connsiteY18" fmla="*/ 7559 h 62991"/>
                <a:gd name="connsiteX19" fmla="*/ 37795 w 50392"/>
                <a:gd name="connsiteY19" fmla="*/ 7559 h 62991"/>
                <a:gd name="connsiteX20" fmla="*/ 42834 w 50392"/>
                <a:gd name="connsiteY20" fmla="*/ 6299 h 62991"/>
                <a:gd name="connsiteX21" fmla="*/ 47873 w 50392"/>
                <a:gd name="connsiteY21" fmla="*/ 2520 h 62991"/>
                <a:gd name="connsiteX22" fmla="*/ 50393 w 50392"/>
                <a:gd name="connsiteY22" fmla="*/ 0 h 62991"/>
                <a:gd name="connsiteX23" fmla="*/ 49133 w 50392"/>
                <a:gd name="connsiteY23" fmla="*/ 1007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49133" y="10079"/>
                  </a:moveTo>
                  <a:cubicBezTo>
                    <a:pt x="47873" y="12598"/>
                    <a:pt x="47873" y="15118"/>
                    <a:pt x="46613" y="17637"/>
                  </a:cubicBezTo>
                  <a:cubicBezTo>
                    <a:pt x="45354" y="20157"/>
                    <a:pt x="45354" y="22677"/>
                    <a:pt x="44094" y="25196"/>
                  </a:cubicBezTo>
                  <a:cubicBezTo>
                    <a:pt x="40314" y="32755"/>
                    <a:pt x="36535" y="41574"/>
                    <a:pt x="31496" y="49133"/>
                  </a:cubicBezTo>
                  <a:cubicBezTo>
                    <a:pt x="28976" y="52913"/>
                    <a:pt x="26456" y="55432"/>
                    <a:pt x="25196" y="59212"/>
                  </a:cubicBezTo>
                  <a:cubicBezTo>
                    <a:pt x="22677" y="62991"/>
                    <a:pt x="18897" y="68030"/>
                    <a:pt x="15118" y="71810"/>
                  </a:cubicBezTo>
                  <a:cubicBezTo>
                    <a:pt x="13858" y="73070"/>
                    <a:pt x="11338" y="74330"/>
                    <a:pt x="8819" y="74330"/>
                  </a:cubicBezTo>
                  <a:cubicBezTo>
                    <a:pt x="6299" y="74330"/>
                    <a:pt x="3779" y="73070"/>
                    <a:pt x="2519" y="71810"/>
                  </a:cubicBezTo>
                  <a:cubicBezTo>
                    <a:pt x="1260" y="70550"/>
                    <a:pt x="0" y="68030"/>
                    <a:pt x="0" y="65511"/>
                  </a:cubicBezTo>
                  <a:cubicBezTo>
                    <a:pt x="0" y="62991"/>
                    <a:pt x="1260" y="61731"/>
                    <a:pt x="2519" y="59212"/>
                  </a:cubicBezTo>
                  <a:cubicBezTo>
                    <a:pt x="3779" y="57952"/>
                    <a:pt x="6299" y="55432"/>
                    <a:pt x="7559" y="54172"/>
                  </a:cubicBezTo>
                  <a:cubicBezTo>
                    <a:pt x="10078" y="51653"/>
                    <a:pt x="11338" y="49133"/>
                    <a:pt x="13858" y="46613"/>
                  </a:cubicBezTo>
                  <a:cubicBezTo>
                    <a:pt x="16378" y="44094"/>
                    <a:pt x="17637" y="40314"/>
                    <a:pt x="20157" y="37795"/>
                  </a:cubicBezTo>
                  <a:cubicBezTo>
                    <a:pt x="21417" y="35275"/>
                    <a:pt x="23937" y="31496"/>
                    <a:pt x="25196" y="27716"/>
                  </a:cubicBezTo>
                  <a:cubicBezTo>
                    <a:pt x="26456" y="25196"/>
                    <a:pt x="27716" y="22677"/>
                    <a:pt x="28976" y="20157"/>
                  </a:cubicBezTo>
                  <a:cubicBezTo>
                    <a:pt x="30236" y="17637"/>
                    <a:pt x="30236" y="16378"/>
                    <a:pt x="31496" y="13858"/>
                  </a:cubicBezTo>
                  <a:cubicBezTo>
                    <a:pt x="32755" y="11338"/>
                    <a:pt x="32755" y="8819"/>
                    <a:pt x="34015" y="6299"/>
                  </a:cubicBezTo>
                  <a:cubicBezTo>
                    <a:pt x="34015" y="6299"/>
                    <a:pt x="34015" y="6299"/>
                    <a:pt x="34015" y="6299"/>
                  </a:cubicBezTo>
                  <a:cubicBezTo>
                    <a:pt x="35275" y="7559"/>
                    <a:pt x="36535" y="7559"/>
                    <a:pt x="37795" y="7559"/>
                  </a:cubicBezTo>
                  <a:cubicBezTo>
                    <a:pt x="37795" y="7559"/>
                    <a:pt x="37795" y="7559"/>
                    <a:pt x="37795" y="7559"/>
                  </a:cubicBezTo>
                  <a:cubicBezTo>
                    <a:pt x="39055" y="7559"/>
                    <a:pt x="41574" y="7559"/>
                    <a:pt x="42834" y="6299"/>
                  </a:cubicBezTo>
                  <a:cubicBezTo>
                    <a:pt x="45354" y="5039"/>
                    <a:pt x="46613" y="3780"/>
                    <a:pt x="47873" y="2520"/>
                  </a:cubicBezTo>
                  <a:cubicBezTo>
                    <a:pt x="49133" y="1260"/>
                    <a:pt x="50393" y="1260"/>
                    <a:pt x="50393" y="0"/>
                  </a:cubicBezTo>
                  <a:cubicBezTo>
                    <a:pt x="51653" y="1260"/>
                    <a:pt x="50393" y="6299"/>
                    <a:pt x="49133" y="10079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7" name="任意多边形: 形状 10236"/>
            <p:cNvSpPr/>
            <p:nvPr/>
          </p:nvSpPr>
          <p:spPr>
            <a:xfrm>
              <a:off x="5099220" y="2566266"/>
              <a:ext cx="25196" cy="88188"/>
            </a:xfrm>
            <a:custGeom>
              <a:avLst/>
              <a:gdLst>
                <a:gd name="connsiteX0" fmla="*/ 32755 w 25196"/>
                <a:gd name="connsiteY0" fmla="*/ 4794 h 88187"/>
                <a:gd name="connsiteX1" fmla="*/ 31496 w 25196"/>
                <a:gd name="connsiteY1" fmla="*/ 26211 h 88187"/>
                <a:gd name="connsiteX2" fmla="*/ 30236 w 25196"/>
                <a:gd name="connsiteY2" fmla="*/ 48887 h 88187"/>
                <a:gd name="connsiteX3" fmla="*/ 26456 w 25196"/>
                <a:gd name="connsiteY3" fmla="*/ 71564 h 88187"/>
                <a:gd name="connsiteX4" fmla="*/ 23937 w 25196"/>
                <a:gd name="connsiteY4" fmla="*/ 82903 h 88187"/>
                <a:gd name="connsiteX5" fmla="*/ 21417 w 25196"/>
                <a:gd name="connsiteY5" fmla="*/ 91722 h 88187"/>
                <a:gd name="connsiteX6" fmla="*/ 21417 w 25196"/>
                <a:gd name="connsiteY6" fmla="*/ 92981 h 88187"/>
                <a:gd name="connsiteX7" fmla="*/ 20157 w 25196"/>
                <a:gd name="connsiteY7" fmla="*/ 96761 h 88187"/>
                <a:gd name="connsiteX8" fmla="*/ 17637 w 25196"/>
                <a:gd name="connsiteY8" fmla="*/ 99280 h 88187"/>
                <a:gd name="connsiteX9" fmla="*/ 12598 w 25196"/>
                <a:gd name="connsiteY9" fmla="*/ 100540 h 88187"/>
                <a:gd name="connsiteX10" fmla="*/ 10078 w 25196"/>
                <a:gd name="connsiteY10" fmla="*/ 100540 h 88187"/>
                <a:gd name="connsiteX11" fmla="*/ 8819 w 25196"/>
                <a:gd name="connsiteY11" fmla="*/ 100540 h 88187"/>
                <a:gd name="connsiteX12" fmla="*/ 7559 w 25196"/>
                <a:gd name="connsiteY12" fmla="*/ 100540 h 88187"/>
                <a:gd name="connsiteX13" fmla="*/ 0 w 25196"/>
                <a:gd name="connsiteY13" fmla="*/ 92981 h 88187"/>
                <a:gd name="connsiteX14" fmla="*/ 1260 w 25196"/>
                <a:gd name="connsiteY14" fmla="*/ 79123 h 88187"/>
                <a:gd name="connsiteX15" fmla="*/ 1260 w 25196"/>
                <a:gd name="connsiteY15" fmla="*/ 72824 h 88187"/>
                <a:gd name="connsiteX16" fmla="*/ 2519 w 25196"/>
                <a:gd name="connsiteY16" fmla="*/ 62746 h 88187"/>
                <a:gd name="connsiteX17" fmla="*/ 2519 w 25196"/>
                <a:gd name="connsiteY17" fmla="*/ 62746 h 88187"/>
                <a:gd name="connsiteX18" fmla="*/ 2519 w 25196"/>
                <a:gd name="connsiteY18" fmla="*/ 62746 h 88187"/>
                <a:gd name="connsiteX19" fmla="*/ 2519 w 25196"/>
                <a:gd name="connsiteY19" fmla="*/ 62746 h 88187"/>
                <a:gd name="connsiteX20" fmla="*/ 2519 w 25196"/>
                <a:gd name="connsiteY20" fmla="*/ 60226 h 88187"/>
                <a:gd name="connsiteX21" fmla="*/ 5039 w 25196"/>
                <a:gd name="connsiteY21" fmla="*/ 56446 h 88187"/>
                <a:gd name="connsiteX22" fmla="*/ 10078 w 25196"/>
                <a:gd name="connsiteY22" fmla="*/ 53927 h 88187"/>
                <a:gd name="connsiteX23" fmla="*/ 11338 w 25196"/>
                <a:gd name="connsiteY23" fmla="*/ 47628 h 88187"/>
                <a:gd name="connsiteX24" fmla="*/ 13858 w 25196"/>
                <a:gd name="connsiteY24" fmla="*/ 43848 h 88187"/>
                <a:gd name="connsiteX25" fmla="*/ 18897 w 25196"/>
                <a:gd name="connsiteY25" fmla="*/ 42588 h 88187"/>
                <a:gd name="connsiteX26" fmla="*/ 20157 w 25196"/>
                <a:gd name="connsiteY26" fmla="*/ 42588 h 88187"/>
                <a:gd name="connsiteX27" fmla="*/ 21417 w 25196"/>
                <a:gd name="connsiteY27" fmla="*/ 31250 h 88187"/>
                <a:gd name="connsiteX28" fmla="*/ 22677 w 25196"/>
                <a:gd name="connsiteY28" fmla="*/ 6054 h 88187"/>
                <a:gd name="connsiteX29" fmla="*/ 28976 w 25196"/>
                <a:gd name="connsiteY29" fmla="*/ 1014 h 88187"/>
                <a:gd name="connsiteX30" fmla="*/ 28976 w 25196"/>
                <a:gd name="connsiteY30" fmla="*/ 1014 h 88187"/>
                <a:gd name="connsiteX31" fmla="*/ 32755 w 25196"/>
                <a:gd name="connsiteY31" fmla="*/ 4794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96" h="88187">
                  <a:moveTo>
                    <a:pt x="32755" y="4794"/>
                  </a:moveTo>
                  <a:cubicBezTo>
                    <a:pt x="32755" y="12353"/>
                    <a:pt x="32755" y="18652"/>
                    <a:pt x="31496" y="26211"/>
                  </a:cubicBezTo>
                  <a:cubicBezTo>
                    <a:pt x="31496" y="33770"/>
                    <a:pt x="30236" y="41329"/>
                    <a:pt x="30236" y="48887"/>
                  </a:cubicBezTo>
                  <a:cubicBezTo>
                    <a:pt x="28976" y="56446"/>
                    <a:pt x="27716" y="64005"/>
                    <a:pt x="26456" y="71564"/>
                  </a:cubicBezTo>
                  <a:cubicBezTo>
                    <a:pt x="26456" y="75344"/>
                    <a:pt x="25196" y="79123"/>
                    <a:pt x="23937" y="82903"/>
                  </a:cubicBezTo>
                  <a:cubicBezTo>
                    <a:pt x="22677" y="85422"/>
                    <a:pt x="22677" y="89202"/>
                    <a:pt x="21417" y="91722"/>
                  </a:cubicBezTo>
                  <a:cubicBezTo>
                    <a:pt x="21417" y="91722"/>
                    <a:pt x="21417" y="92981"/>
                    <a:pt x="21417" y="92981"/>
                  </a:cubicBezTo>
                  <a:cubicBezTo>
                    <a:pt x="21417" y="94241"/>
                    <a:pt x="21417" y="95501"/>
                    <a:pt x="20157" y="96761"/>
                  </a:cubicBezTo>
                  <a:cubicBezTo>
                    <a:pt x="18897" y="98021"/>
                    <a:pt x="18897" y="99280"/>
                    <a:pt x="17637" y="99280"/>
                  </a:cubicBezTo>
                  <a:cubicBezTo>
                    <a:pt x="16378" y="100540"/>
                    <a:pt x="13858" y="100540"/>
                    <a:pt x="12598" y="100540"/>
                  </a:cubicBezTo>
                  <a:cubicBezTo>
                    <a:pt x="11338" y="100540"/>
                    <a:pt x="11338" y="100540"/>
                    <a:pt x="10078" y="100540"/>
                  </a:cubicBezTo>
                  <a:cubicBezTo>
                    <a:pt x="10078" y="100540"/>
                    <a:pt x="10078" y="100540"/>
                    <a:pt x="8819" y="100540"/>
                  </a:cubicBezTo>
                  <a:cubicBezTo>
                    <a:pt x="8819" y="100540"/>
                    <a:pt x="7559" y="100540"/>
                    <a:pt x="7559" y="100540"/>
                  </a:cubicBezTo>
                  <a:cubicBezTo>
                    <a:pt x="2519" y="100540"/>
                    <a:pt x="0" y="96761"/>
                    <a:pt x="0" y="92981"/>
                  </a:cubicBezTo>
                  <a:cubicBezTo>
                    <a:pt x="0" y="87942"/>
                    <a:pt x="0" y="82903"/>
                    <a:pt x="1260" y="79123"/>
                  </a:cubicBezTo>
                  <a:cubicBezTo>
                    <a:pt x="1260" y="76604"/>
                    <a:pt x="1260" y="74084"/>
                    <a:pt x="1260" y="72824"/>
                  </a:cubicBezTo>
                  <a:cubicBezTo>
                    <a:pt x="1260" y="69045"/>
                    <a:pt x="1260" y="66525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lnTo>
                    <a:pt x="2519" y="62746"/>
                  </a:lnTo>
                  <a:cubicBezTo>
                    <a:pt x="2519" y="61486"/>
                    <a:pt x="2519" y="61486"/>
                    <a:pt x="2519" y="60226"/>
                  </a:cubicBezTo>
                  <a:cubicBezTo>
                    <a:pt x="2519" y="58966"/>
                    <a:pt x="3779" y="57706"/>
                    <a:pt x="5039" y="56446"/>
                  </a:cubicBezTo>
                  <a:cubicBezTo>
                    <a:pt x="6299" y="55187"/>
                    <a:pt x="7559" y="55187"/>
                    <a:pt x="10078" y="53927"/>
                  </a:cubicBezTo>
                  <a:cubicBezTo>
                    <a:pt x="10078" y="51407"/>
                    <a:pt x="10078" y="50147"/>
                    <a:pt x="11338" y="47628"/>
                  </a:cubicBezTo>
                  <a:cubicBezTo>
                    <a:pt x="11338" y="46368"/>
                    <a:pt x="12598" y="45108"/>
                    <a:pt x="13858" y="43848"/>
                  </a:cubicBezTo>
                  <a:cubicBezTo>
                    <a:pt x="15118" y="42588"/>
                    <a:pt x="16378" y="42588"/>
                    <a:pt x="18897" y="42588"/>
                  </a:cubicBezTo>
                  <a:cubicBezTo>
                    <a:pt x="18897" y="42588"/>
                    <a:pt x="18897" y="42588"/>
                    <a:pt x="20157" y="42588"/>
                  </a:cubicBezTo>
                  <a:cubicBezTo>
                    <a:pt x="20157" y="38809"/>
                    <a:pt x="21417" y="35029"/>
                    <a:pt x="21417" y="31250"/>
                  </a:cubicBezTo>
                  <a:cubicBezTo>
                    <a:pt x="21417" y="22431"/>
                    <a:pt x="22677" y="14872"/>
                    <a:pt x="22677" y="6054"/>
                  </a:cubicBezTo>
                  <a:cubicBezTo>
                    <a:pt x="22677" y="2274"/>
                    <a:pt x="25196" y="-246"/>
                    <a:pt x="28976" y="1014"/>
                  </a:cubicBezTo>
                  <a:cubicBezTo>
                    <a:pt x="28976" y="1014"/>
                    <a:pt x="28976" y="1014"/>
                    <a:pt x="28976" y="1014"/>
                  </a:cubicBezTo>
                  <a:cubicBezTo>
                    <a:pt x="30236" y="-1505"/>
                    <a:pt x="32755" y="1014"/>
                    <a:pt x="32755" y="479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8" name="任意多边形: 形状 10237"/>
            <p:cNvSpPr/>
            <p:nvPr/>
          </p:nvSpPr>
          <p:spPr>
            <a:xfrm>
              <a:off x="5098885" y="2549643"/>
              <a:ext cx="37795" cy="151179"/>
            </a:xfrm>
            <a:custGeom>
              <a:avLst/>
              <a:gdLst>
                <a:gd name="connsiteX0" fmla="*/ 34350 w 37794"/>
                <a:gd name="connsiteY0" fmla="*/ 1260 h 151178"/>
                <a:gd name="connsiteX1" fmla="*/ 35610 w 37794"/>
                <a:gd name="connsiteY1" fmla="*/ 1260 h 151178"/>
                <a:gd name="connsiteX2" fmla="*/ 35610 w 37794"/>
                <a:gd name="connsiteY2" fmla="*/ 1260 h 151178"/>
                <a:gd name="connsiteX3" fmla="*/ 35610 w 37794"/>
                <a:gd name="connsiteY3" fmla="*/ 1260 h 151178"/>
                <a:gd name="connsiteX4" fmla="*/ 35610 w 37794"/>
                <a:gd name="connsiteY4" fmla="*/ 1260 h 151178"/>
                <a:gd name="connsiteX5" fmla="*/ 35610 w 37794"/>
                <a:gd name="connsiteY5" fmla="*/ 1260 h 151178"/>
                <a:gd name="connsiteX6" fmla="*/ 36870 w 37794"/>
                <a:gd name="connsiteY6" fmla="*/ 1260 h 151178"/>
                <a:gd name="connsiteX7" fmla="*/ 41909 w 37794"/>
                <a:gd name="connsiteY7" fmla="*/ 2520 h 151178"/>
                <a:gd name="connsiteX8" fmla="*/ 44429 w 37794"/>
                <a:gd name="connsiteY8" fmla="*/ 3780 h 151178"/>
                <a:gd name="connsiteX9" fmla="*/ 44429 w 37794"/>
                <a:gd name="connsiteY9" fmla="*/ 7559 h 151178"/>
                <a:gd name="connsiteX10" fmla="*/ 43169 w 37794"/>
                <a:gd name="connsiteY10" fmla="*/ 15118 h 151178"/>
                <a:gd name="connsiteX11" fmla="*/ 41909 w 37794"/>
                <a:gd name="connsiteY11" fmla="*/ 25196 h 151178"/>
                <a:gd name="connsiteX12" fmla="*/ 41909 w 37794"/>
                <a:gd name="connsiteY12" fmla="*/ 25196 h 151178"/>
                <a:gd name="connsiteX13" fmla="*/ 41909 w 37794"/>
                <a:gd name="connsiteY13" fmla="*/ 25196 h 151178"/>
                <a:gd name="connsiteX14" fmla="*/ 41909 w 37794"/>
                <a:gd name="connsiteY14" fmla="*/ 25196 h 151178"/>
                <a:gd name="connsiteX15" fmla="*/ 41909 w 37794"/>
                <a:gd name="connsiteY15" fmla="*/ 25196 h 151178"/>
                <a:gd name="connsiteX16" fmla="*/ 41909 w 37794"/>
                <a:gd name="connsiteY16" fmla="*/ 25196 h 151178"/>
                <a:gd name="connsiteX17" fmla="*/ 41909 w 37794"/>
                <a:gd name="connsiteY17" fmla="*/ 25196 h 151178"/>
                <a:gd name="connsiteX18" fmla="*/ 40649 w 37794"/>
                <a:gd name="connsiteY18" fmla="*/ 42834 h 151178"/>
                <a:gd name="connsiteX19" fmla="*/ 39390 w 37794"/>
                <a:gd name="connsiteY19" fmla="*/ 56692 h 151178"/>
                <a:gd name="connsiteX20" fmla="*/ 38130 w 37794"/>
                <a:gd name="connsiteY20" fmla="*/ 61731 h 151178"/>
                <a:gd name="connsiteX21" fmla="*/ 36870 w 37794"/>
                <a:gd name="connsiteY21" fmla="*/ 69290 h 151178"/>
                <a:gd name="connsiteX22" fmla="*/ 36870 w 37794"/>
                <a:gd name="connsiteY22" fmla="*/ 69290 h 151178"/>
                <a:gd name="connsiteX23" fmla="*/ 36870 w 37794"/>
                <a:gd name="connsiteY23" fmla="*/ 69290 h 151178"/>
                <a:gd name="connsiteX24" fmla="*/ 34350 w 37794"/>
                <a:gd name="connsiteY24" fmla="*/ 78109 h 151178"/>
                <a:gd name="connsiteX25" fmla="*/ 29311 w 37794"/>
                <a:gd name="connsiteY25" fmla="*/ 97006 h 151178"/>
                <a:gd name="connsiteX26" fmla="*/ 24272 w 37794"/>
                <a:gd name="connsiteY26" fmla="*/ 113384 h 151178"/>
                <a:gd name="connsiteX27" fmla="*/ 21752 w 37794"/>
                <a:gd name="connsiteY27" fmla="*/ 120943 h 151178"/>
                <a:gd name="connsiteX28" fmla="*/ 20492 w 37794"/>
                <a:gd name="connsiteY28" fmla="*/ 122203 h 151178"/>
                <a:gd name="connsiteX29" fmla="*/ 14193 w 37794"/>
                <a:gd name="connsiteY29" fmla="*/ 128502 h 151178"/>
                <a:gd name="connsiteX30" fmla="*/ 10414 w 37794"/>
                <a:gd name="connsiteY30" fmla="*/ 132281 h 151178"/>
                <a:gd name="connsiteX31" fmla="*/ 5374 w 37794"/>
                <a:gd name="connsiteY31" fmla="*/ 137321 h 151178"/>
                <a:gd name="connsiteX32" fmla="*/ 4114 w 37794"/>
                <a:gd name="connsiteY32" fmla="*/ 142360 h 151178"/>
                <a:gd name="connsiteX33" fmla="*/ 4114 w 37794"/>
                <a:gd name="connsiteY33" fmla="*/ 143620 h 151178"/>
                <a:gd name="connsiteX34" fmla="*/ 4114 w 37794"/>
                <a:gd name="connsiteY34" fmla="*/ 144880 h 151178"/>
                <a:gd name="connsiteX35" fmla="*/ 6634 w 37794"/>
                <a:gd name="connsiteY35" fmla="*/ 149919 h 151178"/>
                <a:gd name="connsiteX36" fmla="*/ 10414 w 37794"/>
                <a:gd name="connsiteY36" fmla="*/ 152439 h 151178"/>
                <a:gd name="connsiteX37" fmla="*/ 10414 w 37794"/>
                <a:gd name="connsiteY37" fmla="*/ 153698 h 151178"/>
                <a:gd name="connsiteX38" fmla="*/ 7894 w 37794"/>
                <a:gd name="connsiteY38" fmla="*/ 157478 h 151178"/>
                <a:gd name="connsiteX39" fmla="*/ 4114 w 37794"/>
                <a:gd name="connsiteY39" fmla="*/ 157478 h 151178"/>
                <a:gd name="connsiteX40" fmla="*/ 335 w 37794"/>
                <a:gd name="connsiteY40" fmla="*/ 151179 h 151178"/>
                <a:gd name="connsiteX41" fmla="*/ 11673 w 37794"/>
                <a:gd name="connsiteY41" fmla="*/ 115904 h 151178"/>
                <a:gd name="connsiteX42" fmla="*/ 17973 w 37794"/>
                <a:gd name="connsiteY42" fmla="*/ 99526 h 151178"/>
                <a:gd name="connsiteX43" fmla="*/ 23012 w 37794"/>
                <a:gd name="connsiteY43" fmla="*/ 81889 h 151178"/>
                <a:gd name="connsiteX44" fmla="*/ 26791 w 37794"/>
                <a:gd name="connsiteY44" fmla="*/ 68031 h 151178"/>
                <a:gd name="connsiteX45" fmla="*/ 29311 w 37794"/>
                <a:gd name="connsiteY45" fmla="*/ 55432 h 151178"/>
                <a:gd name="connsiteX46" fmla="*/ 31831 w 37794"/>
                <a:gd name="connsiteY46" fmla="*/ 37795 h 151178"/>
                <a:gd name="connsiteX47" fmla="*/ 33091 w 37794"/>
                <a:gd name="connsiteY47" fmla="*/ 28976 h 151178"/>
                <a:gd name="connsiteX48" fmla="*/ 33091 w 37794"/>
                <a:gd name="connsiteY48" fmla="*/ 20157 h 151178"/>
                <a:gd name="connsiteX49" fmla="*/ 34350 w 37794"/>
                <a:gd name="connsiteY49" fmla="*/ 1260 h 151178"/>
                <a:gd name="connsiteX50" fmla="*/ 34350 w 37794"/>
                <a:gd name="connsiteY50" fmla="*/ 0 h 151178"/>
                <a:gd name="connsiteX51" fmla="*/ 34350 w 37794"/>
                <a:gd name="connsiteY51" fmla="*/ 126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7794" h="151178">
                  <a:moveTo>
                    <a:pt x="34350" y="1260"/>
                  </a:moveTo>
                  <a:cubicBezTo>
                    <a:pt x="3435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5610" y="1260"/>
                  </a:lnTo>
                  <a:cubicBezTo>
                    <a:pt x="3561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6870" y="1260"/>
                  </a:lnTo>
                  <a:cubicBezTo>
                    <a:pt x="38130" y="1260"/>
                    <a:pt x="39390" y="2520"/>
                    <a:pt x="41909" y="2520"/>
                  </a:cubicBezTo>
                  <a:cubicBezTo>
                    <a:pt x="43169" y="2520"/>
                    <a:pt x="44429" y="2520"/>
                    <a:pt x="44429" y="3780"/>
                  </a:cubicBezTo>
                  <a:cubicBezTo>
                    <a:pt x="44429" y="5039"/>
                    <a:pt x="44429" y="6299"/>
                    <a:pt x="44429" y="7559"/>
                  </a:cubicBezTo>
                  <a:cubicBezTo>
                    <a:pt x="44429" y="10079"/>
                    <a:pt x="44429" y="12598"/>
                    <a:pt x="43169" y="15118"/>
                  </a:cubicBezTo>
                  <a:cubicBezTo>
                    <a:pt x="43169" y="18897"/>
                    <a:pt x="43169" y="21417"/>
                    <a:pt x="41909" y="25196"/>
                  </a:cubicBez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cubicBezTo>
                    <a:pt x="41909" y="31496"/>
                    <a:pt x="40649" y="37795"/>
                    <a:pt x="40649" y="42834"/>
                  </a:cubicBezTo>
                  <a:cubicBezTo>
                    <a:pt x="40649" y="47873"/>
                    <a:pt x="39390" y="52913"/>
                    <a:pt x="39390" y="56692"/>
                  </a:cubicBezTo>
                  <a:cubicBezTo>
                    <a:pt x="39390" y="57952"/>
                    <a:pt x="39390" y="60472"/>
                    <a:pt x="38130" y="61731"/>
                  </a:cubicBezTo>
                  <a:cubicBezTo>
                    <a:pt x="38130" y="64251"/>
                    <a:pt x="36870" y="66771"/>
                    <a:pt x="36870" y="69290"/>
                  </a:cubicBezTo>
                  <a:lnTo>
                    <a:pt x="36870" y="69290"/>
                  </a:lnTo>
                  <a:cubicBezTo>
                    <a:pt x="36870" y="69290"/>
                    <a:pt x="36870" y="69290"/>
                    <a:pt x="36870" y="69290"/>
                  </a:cubicBezTo>
                  <a:cubicBezTo>
                    <a:pt x="35610" y="71810"/>
                    <a:pt x="35610" y="75589"/>
                    <a:pt x="34350" y="78109"/>
                  </a:cubicBezTo>
                  <a:cubicBezTo>
                    <a:pt x="33091" y="84408"/>
                    <a:pt x="31831" y="90707"/>
                    <a:pt x="29311" y="97006"/>
                  </a:cubicBezTo>
                  <a:cubicBezTo>
                    <a:pt x="28051" y="102046"/>
                    <a:pt x="25532" y="108345"/>
                    <a:pt x="24272" y="113384"/>
                  </a:cubicBezTo>
                  <a:cubicBezTo>
                    <a:pt x="23012" y="115904"/>
                    <a:pt x="21752" y="118424"/>
                    <a:pt x="21752" y="120943"/>
                  </a:cubicBezTo>
                  <a:lnTo>
                    <a:pt x="20492" y="122203"/>
                  </a:lnTo>
                  <a:cubicBezTo>
                    <a:pt x="17973" y="124723"/>
                    <a:pt x="15453" y="125982"/>
                    <a:pt x="14193" y="128502"/>
                  </a:cubicBezTo>
                  <a:cubicBezTo>
                    <a:pt x="12933" y="129762"/>
                    <a:pt x="11673" y="131022"/>
                    <a:pt x="10414" y="132281"/>
                  </a:cubicBezTo>
                  <a:cubicBezTo>
                    <a:pt x="9154" y="133541"/>
                    <a:pt x="6634" y="136061"/>
                    <a:pt x="5374" y="137321"/>
                  </a:cubicBezTo>
                  <a:cubicBezTo>
                    <a:pt x="4114" y="138581"/>
                    <a:pt x="4114" y="141100"/>
                    <a:pt x="4114" y="142360"/>
                  </a:cubicBezTo>
                  <a:lnTo>
                    <a:pt x="4114" y="143620"/>
                  </a:lnTo>
                  <a:lnTo>
                    <a:pt x="4114" y="144880"/>
                  </a:lnTo>
                  <a:cubicBezTo>
                    <a:pt x="4114" y="146140"/>
                    <a:pt x="5374" y="148659"/>
                    <a:pt x="6634" y="149919"/>
                  </a:cubicBezTo>
                  <a:cubicBezTo>
                    <a:pt x="7894" y="151179"/>
                    <a:pt x="9154" y="152439"/>
                    <a:pt x="10414" y="152439"/>
                  </a:cubicBezTo>
                  <a:cubicBezTo>
                    <a:pt x="10414" y="152439"/>
                    <a:pt x="10414" y="153698"/>
                    <a:pt x="10414" y="153698"/>
                  </a:cubicBezTo>
                  <a:cubicBezTo>
                    <a:pt x="10414" y="154958"/>
                    <a:pt x="9154" y="156218"/>
                    <a:pt x="7894" y="157478"/>
                  </a:cubicBezTo>
                  <a:cubicBezTo>
                    <a:pt x="6634" y="158738"/>
                    <a:pt x="5374" y="158738"/>
                    <a:pt x="4114" y="157478"/>
                  </a:cubicBezTo>
                  <a:cubicBezTo>
                    <a:pt x="1595" y="156218"/>
                    <a:pt x="-925" y="153698"/>
                    <a:pt x="335" y="151179"/>
                  </a:cubicBezTo>
                  <a:cubicBezTo>
                    <a:pt x="4114" y="139840"/>
                    <a:pt x="7894" y="127242"/>
                    <a:pt x="11673" y="115904"/>
                  </a:cubicBezTo>
                  <a:cubicBezTo>
                    <a:pt x="14193" y="110864"/>
                    <a:pt x="15453" y="104565"/>
                    <a:pt x="17973" y="99526"/>
                  </a:cubicBezTo>
                  <a:cubicBezTo>
                    <a:pt x="19232" y="93227"/>
                    <a:pt x="21752" y="88188"/>
                    <a:pt x="23012" y="81889"/>
                  </a:cubicBezTo>
                  <a:cubicBezTo>
                    <a:pt x="24272" y="76849"/>
                    <a:pt x="25532" y="71810"/>
                    <a:pt x="26791" y="68031"/>
                  </a:cubicBezTo>
                  <a:cubicBezTo>
                    <a:pt x="28051" y="64251"/>
                    <a:pt x="29311" y="59212"/>
                    <a:pt x="29311" y="55432"/>
                  </a:cubicBezTo>
                  <a:cubicBezTo>
                    <a:pt x="30571" y="49133"/>
                    <a:pt x="30571" y="44094"/>
                    <a:pt x="31831" y="37795"/>
                  </a:cubicBezTo>
                  <a:cubicBezTo>
                    <a:pt x="31831" y="35275"/>
                    <a:pt x="31831" y="31496"/>
                    <a:pt x="33091" y="28976"/>
                  </a:cubicBezTo>
                  <a:cubicBezTo>
                    <a:pt x="33091" y="26456"/>
                    <a:pt x="33091" y="22677"/>
                    <a:pt x="33091" y="20157"/>
                  </a:cubicBezTo>
                  <a:cubicBezTo>
                    <a:pt x="33091" y="13858"/>
                    <a:pt x="34350" y="7559"/>
                    <a:pt x="34350" y="1260"/>
                  </a:cubicBezTo>
                  <a:cubicBezTo>
                    <a:pt x="34350" y="1260"/>
                    <a:pt x="34350" y="1260"/>
                    <a:pt x="34350" y="0"/>
                  </a:cubicBezTo>
                  <a:cubicBezTo>
                    <a:pt x="33091" y="0"/>
                    <a:pt x="33091" y="0"/>
                    <a:pt x="34350" y="12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9" name="任意多边形: 形状 10238"/>
            <p:cNvSpPr/>
            <p:nvPr/>
          </p:nvSpPr>
          <p:spPr>
            <a:xfrm>
              <a:off x="5108039" y="2576099"/>
              <a:ext cx="25196" cy="125982"/>
            </a:xfrm>
            <a:custGeom>
              <a:avLst/>
              <a:gdLst>
                <a:gd name="connsiteX0" fmla="*/ 34015 w 25196"/>
                <a:gd name="connsiteY0" fmla="*/ 0 h 125982"/>
                <a:gd name="connsiteX1" fmla="*/ 34015 w 25196"/>
                <a:gd name="connsiteY1" fmla="*/ 0 h 125982"/>
                <a:gd name="connsiteX2" fmla="*/ 34015 w 25196"/>
                <a:gd name="connsiteY2" fmla="*/ 2520 h 125982"/>
                <a:gd name="connsiteX3" fmla="*/ 34015 w 25196"/>
                <a:gd name="connsiteY3" fmla="*/ 5039 h 125982"/>
                <a:gd name="connsiteX4" fmla="*/ 34015 w 25196"/>
                <a:gd name="connsiteY4" fmla="*/ 15118 h 125982"/>
                <a:gd name="connsiteX5" fmla="*/ 34015 w 25196"/>
                <a:gd name="connsiteY5" fmla="*/ 21417 h 125982"/>
                <a:gd name="connsiteX6" fmla="*/ 32755 w 25196"/>
                <a:gd name="connsiteY6" fmla="*/ 34015 h 125982"/>
                <a:gd name="connsiteX7" fmla="*/ 32755 w 25196"/>
                <a:gd name="connsiteY7" fmla="*/ 39054 h 125982"/>
                <a:gd name="connsiteX8" fmla="*/ 30236 w 25196"/>
                <a:gd name="connsiteY8" fmla="*/ 60472 h 125982"/>
                <a:gd name="connsiteX9" fmla="*/ 30236 w 25196"/>
                <a:gd name="connsiteY9" fmla="*/ 60472 h 125982"/>
                <a:gd name="connsiteX10" fmla="*/ 28976 w 25196"/>
                <a:gd name="connsiteY10" fmla="*/ 75589 h 125982"/>
                <a:gd name="connsiteX11" fmla="*/ 27716 w 25196"/>
                <a:gd name="connsiteY11" fmla="*/ 88188 h 125982"/>
                <a:gd name="connsiteX12" fmla="*/ 27716 w 25196"/>
                <a:gd name="connsiteY12" fmla="*/ 88188 h 125982"/>
                <a:gd name="connsiteX13" fmla="*/ 27716 w 25196"/>
                <a:gd name="connsiteY13" fmla="*/ 93227 h 125982"/>
                <a:gd name="connsiteX14" fmla="*/ 23937 w 25196"/>
                <a:gd name="connsiteY14" fmla="*/ 113384 h 125982"/>
                <a:gd name="connsiteX15" fmla="*/ 23937 w 25196"/>
                <a:gd name="connsiteY15" fmla="*/ 114644 h 125982"/>
                <a:gd name="connsiteX16" fmla="*/ 23937 w 25196"/>
                <a:gd name="connsiteY16" fmla="*/ 115904 h 125982"/>
                <a:gd name="connsiteX17" fmla="*/ 23937 w 25196"/>
                <a:gd name="connsiteY17" fmla="*/ 115904 h 125982"/>
                <a:gd name="connsiteX18" fmla="*/ 23937 w 25196"/>
                <a:gd name="connsiteY18" fmla="*/ 115904 h 125982"/>
                <a:gd name="connsiteX19" fmla="*/ 23937 w 25196"/>
                <a:gd name="connsiteY19" fmla="*/ 115904 h 125982"/>
                <a:gd name="connsiteX20" fmla="*/ 23937 w 25196"/>
                <a:gd name="connsiteY20" fmla="*/ 115904 h 125982"/>
                <a:gd name="connsiteX21" fmla="*/ 23937 w 25196"/>
                <a:gd name="connsiteY21" fmla="*/ 115904 h 125982"/>
                <a:gd name="connsiteX22" fmla="*/ 23937 w 25196"/>
                <a:gd name="connsiteY22" fmla="*/ 115904 h 125982"/>
                <a:gd name="connsiteX23" fmla="*/ 22677 w 25196"/>
                <a:gd name="connsiteY23" fmla="*/ 117164 h 125982"/>
                <a:gd name="connsiteX24" fmla="*/ 18897 w 25196"/>
                <a:gd name="connsiteY24" fmla="*/ 120943 h 125982"/>
                <a:gd name="connsiteX25" fmla="*/ 13858 w 25196"/>
                <a:gd name="connsiteY25" fmla="*/ 124722 h 125982"/>
                <a:gd name="connsiteX26" fmla="*/ 8819 w 25196"/>
                <a:gd name="connsiteY26" fmla="*/ 125982 h 125982"/>
                <a:gd name="connsiteX27" fmla="*/ 8819 w 25196"/>
                <a:gd name="connsiteY27" fmla="*/ 125982 h 125982"/>
                <a:gd name="connsiteX28" fmla="*/ 2520 w 25196"/>
                <a:gd name="connsiteY28" fmla="*/ 123463 h 125982"/>
                <a:gd name="connsiteX29" fmla="*/ 0 w 25196"/>
                <a:gd name="connsiteY29" fmla="*/ 118423 h 125982"/>
                <a:gd name="connsiteX30" fmla="*/ 0 w 25196"/>
                <a:gd name="connsiteY30" fmla="*/ 117164 h 125982"/>
                <a:gd name="connsiteX31" fmla="*/ 0 w 25196"/>
                <a:gd name="connsiteY31" fmla="*/ 115904 h 125982"/>
                <a:gd name="connsiteX32" fmla="*/ 1260 w 25196"/>
                <a:gd name="connsiteY32" fmla="*/ 110864 h 125982"/>
                <a:gd name="connsiteX33" fmla="*/ 6299 w 25196"/>
                <a:gd name="connsiteY33" fmla="*/ 105825 h 125982"/>
                <a:gd name="connsiteX34" fmla="*/ 10079 w 25196"/>
                <a:gd name="connsiteY34" fmla="*/ 102046 h 125982"/>
                <a:gd name="connsiteX35" fmla="*/ 16378 w 25196"/>
                <a:gd name="connsiteY35" fmla="*/ 95746 h 125982"/>
                <a:gd name="connsiteX36" fmla="*/ 18897 w 25196"/>
                <a:gd name="connsiteY36" fmla="*/ 93227 h 125982"/>
                <a:gd name="connsiteX37" fmla="*/ 27716 w 25196"/>
                <a:gd name="connsiteY37" fmla="*/ 85668 h 125982"/>
                <a:gd name="connsiteX38" fmla="*/ 28976 w 25196"/>
                <a:gd name="connsiteY38" fmla="*/ 84408 h 125982"/>
                <a:gd name="connsiteX39" fmla="*/ 28976 w 25196"/>
                <a:gd name="connsiteY39" fmla="*/ 81889 h 125982"/>
                <a:gd name="connsiteX40" fmla="*/ 30236 w 25196"/>
                <a:gd name="connsiteY40" fmla="*/ 74330 h 125982"/>
                <a:gd name="connsiteX41" fmla="*/ 31496 w 25196"/>
                <a:gd name="connsiteY41" fmla="*/ 65511 h 125982"/>
                <a:gd name="connsiteX42" fmla="*/ 32755 w 25196"/>
                <a:gd name="connsiteY42" fmla="*/ 59212 h 125982"/>
                <a:gd name="connsiteX43" fmla="*/ 32755 w 25196"/>
                <a:gd name="connsiteY43" fmla="*/ 56692 h 125982"/>
                <a:gd name="connsiteX44" fmla="*/ 32755 w 25196"/>
                <a:gd name="connsiteY44" fmla="*/ 52913 h 125982"/>
                <a:gd name="connsiteX45" fmla="*/ 32755 w 25196"/>
                <a:gd name="connsiteY45" fmla="*/ 51653 h 125982"/>
                <a:gd name="connsiteX46" fmla="*/ 32755 w 25196"/>
                <a:gd name="connsiteY46" fmla="*/ 46613 h 125982"/>
                <a:gd name="connsiteX47" fmla="*/ 32755 w 25196"/>
                <a:gd name="connsiteY47" fmla="*/ 41574 h 125982"/>
                <a:gd name="connsiteX48" fmla="*/ 34015 w 25196"/>
                <a:gd name="connsiteY48" fmla="*/ 34015 h 125982"/>
                <a:gd name="connsiteX49" fmla="*/ 35275 w 25196"/>
                <a:gd name="connsiteY49" fmla="*/ 28976 h 125982"/>
                <a:gd name="connsiteX50" fmla="*/ 36535 w 25196"/>
                <a:gd name="connsiteY50" fmla="*/ 15118 h 125982"/>
                <a:gd name="connsiteX51" fmla="*/ 34015 w 25196"/>
                <a:gd name="connsiteY51" fmla="*/ 0 h 125982"/>
                <a:gd name="connsiteX52" fmla="*/ 34015 w 25196"/>
                <a:gd name="connsiteY52" fmla="*/ 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5196" h="125982">
                  <a:moveTo>
                    <a:pt x="34015" y="0"/>
                  </a:moveTo>
                  <a:cubicBezTo>
                    <a:pt x="34015" y="0"/>
                    <a:pt x="34015" y="1260"/>
                    <a:pt x="34015" y="0"/>
                  </a:cubicBezTo>
                  <a:cubicBezTo>
                    <a:pt x="34015" y="1260"/>
                    <a:pt x="34015" y="1260"/>
                    <a:pt x="34015" y="2520"/>
                  </a:cubicBezTo>
                  <a:cubicBezTo>
                    <a:pt x="34015" y="3780"/>
                    <a:pt x="34015" y="3780"/>
                    <a:pt x="34015" y="5039"/>
                  </a:cubicBezTo>
                  <a:cubicBezTo>
                    <a:pt x="34015" y="8819"/>
                    <a:pt x="34015" y="11338"/>
                    <a:pt x="34015" y="15118"/>
                  </a:cubicBezTo>
                  <a:cubicBezTo>
                    <a:pt x="34015" y="17637"/>
                    <a:pt x="34015" y="20157"/>
                    <a:pt x="34015" y="21417"/>
                  </a:cubicBezTo>
                  <a:cubicBezTo>
                    <a:pt x="34015" y="25196"/>
                    <a:pt x="34015" y="30236"/>
                    <a:pt x="32755" y="34015"/>
                  </a:cubicBezTo>
                  <a:cubicBezTo>
                    <a:pt x="32755" y="35275"/>
                    <a:pt x="32755" y="37795"/>
                    <a:pt x="32755" y="39054"/>
                  </a:cubicBezTo>
                  <a:cubicBezTo>
                    <a:pt x="32755" y="46613"/>
                    <a:pt x="31496" y="52913"/>
                    <a:pt x="30236" y="60472"/>
                  </a:cubicBezTo>
                  <a:lnTo>
                    <a:pt x="30236" y="60472"/>
                  </a:lnTo>
                  <a:cubicBezTo>
                    <a:pt x="30236" y="65511"/>
                    <a:pt x="28976" y="70550"/>
                    <a:pt x="28976" y="75589"/>
                  </a:cubicBezTo>
                  <a:cubicBezTo>
                    <a:pt x="28976" y="79369"/>
                    <a:pt x="27716" y="84408"/>
                    <a:pt x="27716" y="88188"/>
                  </a:cubicBezTo>
                  <a:lnTo>
                    <a:pt x="27716" y="88188"/>
                  </a:lnTo>
                  <a:cubicBezTo>
                    <a:pt x="27716" y="89447"/>
                    <a:pt x="27716" y="90707"/>
                    <a:pt x="27716" y="93227"/>
                  </a:cubicBezTo>
                  <a:cubicBezTo>
                    <a:pt x="26456" y="100786"/>
                    <a:pt x="25196" y="107085"/>
                    <a:pt x="23937" y="113384"/>
                  </a:cubicBezTo>
                  <a:cubicBezTo>
                    <a:pt x="23937" y="113384"/>
                    <a:pt x="23937" y="114644"/>
                    <a:pt x="23937" y="114644"/>
                  </a:cubicBezTo>
                  <a:cubicBezTo>
                    <a:pt x="23937" y="114644"/>
                    <a:pt x="23937" y="115904"/>
                    <a:pt x="23937" y="115904"/>
                  </a:cubicBezTo>
                  <a:cubicBezTo>
                    <a:pt x="23937" y="115904"/>
                    <a:pt x="23937" y="115904"/>
                    <a:pt x="23937" y="115904"/>
                  </a:cubicBez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cubicBezTo>
                    <a:pt x="23937" y="115904"/>
                    <a:pt x="23937" y="115904"/>
                    <a:pt x="23937" y="115904"/>
                  </a:cubicBezTo>
                  <a:cubicBezTo>
                    <a:pt x="23937" y="115904"/>
                    <a:pt x="22677" y="117164"/>
                    <a:pt x="22677" y="117164"/>
                  </a:cubicBezTo>
                  <a:cubicBezTo>
                    <a:pt x="21417" y="118423"/>
                    <a:pt x="20157" y="119683"/>
                    <a:pt x="18897" y="120943"/>
                  </a:cubicBezTo>
                  <a:cubicBezTo>
                    <a:pt x="17638" y="122203"/>
                    <a:pt x="15118" y="124722"/>
                    <a:pt x="13858" y="124722"/>
                  </a:cubicBezTo>
                  <a:cubicBezTo>
                    <a:pt x="12598" y="125982"/>
                    <a:pt x="10079" y="125982"/>
                    <a:pt x="8819" y="125982"/>
                  </a:cubicBezTo>
                  <a:cubicBezTo>
                    <a:pt x="8819" y="125982"/>
                    <a:pt x="8819" y="125982"/>
                    <a:pt x="8819" y="125982"/>
                  </a:cubicBezTo>
                  <a:cubicBezTo>
                    <a:pt x="6299" y="125982"/>
                    <a:pt x="3780" y="124722"/>
                    <a:pt x="2520" y="123463"/>
                  </a:cubicBezTo>
                  <a:cubicBezTo>
                    <a:pt x="1260" y="122203"/>
                    <a:pt x="0" y="120943"/>
                    <a:pt x="0" y="118423"/>
                  </a:cubicBezTo>
                  <a:lnTo>
                    <a:pt x="0" y="117164"/>
                  </a:lnTo>
                  <a:lnTo>
                    <a:pt x="0" y="115904"/>
                  </a:lnTo>
                  <a:cubicBezTo>
                    <a:pt x="0" y="114644"/>
                    <a:pt x="0" y="112124"/>
                    <a:pt x="1260" y="110864"/>
                  </a:cubicBezTo>
                  <a:cubicBezTo>
                    <a:pt x="2520" y="108345"/>
                    <a:pt x="3780" y="107085"/>
                    <a:pt x="6299" y="105825"/>
                  </a:cubicBezTo>
                  <a:cubicBezTo>
                    <a:pt x="7559" y="104565"/>
                    <a:pt x="8819" y="103305"/>
                    <a:pt x="10079" y="102046"/>
                  </a:cubicBezTo>
                  <a:cubicBezTo>
                    <a:pt x="12598" y="99526"/>
                    <a:pt x="15118" y="98266"/>
                    <a:pt x="16378" y="95746"/>
                  </a:cubicBezTo>
                  <a:lnTo>
                    <a:pt x="18897" y="93227"/>
                  </a:lnTo>
                  <a:cubicBezTo>
                    <a:pt x="21417" y="90707"/>
                    <a:pt x="23937" y="88188"/>
                    <a:pt x="27716" y="85668"/>
                  </a:cubicBezTo>
                  <a:cubicBezTo>
                    <a:pt x="27716" y="85668"/>
                    <a:pt x="28976" y="84408"/>
                    <a:pt x="28976" y="84408"/>
                  </a:cubicBezTo>
                  <a:lnTo>
                    <a:pt x="28976" y="81889"/>
                  </a:lnTo>
                  <a:cubicBezTo>
                    <a:pt x="28976" y="79369"/>
                    <a:pt x="28976" y="76849"/>
                    <a:pt x="30236" y="74330"/>
                  </a:cubicBezTo>
                  <a:cubicBezTo>
                    <a:pt x="30236" y="70550"/>
                    <a:pt x="31496" y="68030"/>
                    <a:pt x="31496" y="65511"/>
                  </a:cubicBezTo>
                  <a:cubicBezTo>
                    <a:pt x="31496" y="62991"/>
                    <a:pt x="31496" y="61731"/>
                    <a:pt x="32755" y="59212"/>
                  </a:cubicBezTo>
                  <a:cubicBezTo>
                    <a:pt x="32755" y="57952"/>
                    <a:pt x="32755" y="57952"/>
                    <a:pt x="32755" y="56692"/>
                  </a:cubicBezTo>
                  <a:cubicBezTo>
                    <a:pt x="32755" y="55432"/>
                    <a:pt x="32755" y="54172"/>
                    <a:pt x="32755" y="52913"/>
                  </a:cubicBezTo>
                  <a:lnTo>
                    <a:pt x="32755" y="51653"/>
                  </a:lnTo>
                  <a:cubicBezTo>
                    <a:pt x="32755" y="50393"/>
                    <a:pt x="32755" y="49133"/>
                    <a:pt x="32755" y="46613"/>
                  </a:cubicBezTo>
                  <a:cubicBezTo>
                    <a:pt x="32755" y="45354"/>
                    <a:pt x="32755" y="42834"/>
                    <a:pt x="32755" y="41574"/>
                  </a:cubicBezTo>
                  <a:cubicBezTo>
                    <a:pt x="32755" y="39054"/>
                    <a:pt x="34015" y="36535"/>
                    <a:pt x="34015" y="34015"/>
                  </a:cubicBezTo>
                  <a:cubicBezTo>
                    <a:pt x="34015" y="32755"/>
                    <a:pt x="35275" y="30236"/>
                    <a:pt x="35275" y="28976"/>
                  </a:cubicBezTo>
                  <a:cubicBezTo>
                    <a:pt x="36535" y="25196"/>
                    <a:pt x="36535" y="20157"/>
                    <a:pt x="36535" y="15118"/>
                  </a:cubicBezTo>
                  <a:cubicBezTo>
                    <a:pt x="32755" y="12598"/>
                    <a:pt x="32755" y="6299"/>
                    <a:pt x="34015" y="0"/>
                  </a:cubicBezTo>
                  <a:lnTo>
                    <a:pt x="34015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0" name="任意多边形: 形状 10239"/>
            <p:cNvSpPr/>
            <p:nvPr/>
          </p:nvSpPr>
          <p:spPr>
            <a:xfrm>
              <a:off x="5068985" y="2586178"/>
              <a:ext cx="62991" cy="188973"/>
            </a:xfrm>
            <a:custGeom>
              <a:avLst/>
              <a:gdLst>
                <a:gd name="connsiteX0" fmla="*/ 69290 w 62991"/>
                <a:gd name="connsiteY0" fmla="*/ 3779 h 188973"/>
                <a:gd name="connsiteX1" fmla="*/ 65511 w 62991"/>
                <a:gd name="connsiteY1" fmla="*/ 0 h 188973"/>
                <a:gd name="connsiteX2" fmla="*/ 65511 w 62991"/>
                <a:gd name="connsiteY2" fmla="*/ 0 h 188973"/>
                <a:gd name="connsiteX3" fmla="*/ 61731 w 62991"/>
                <a:gd name="connsiteY3" fmla="*/ 2520 h 188973"/>
                <a:gd name="connsiteX4" fmla="*/ 59211 w 62991"/>
                <a:gd name="connsiteY4" fmla="*/ 13858 h 188973"/>
                <a:gd name="connsiteX5" fmla="*/ 57952 w 62991"/>
                <a:gd name="connsiteY5" fmla="*/ 25196 h 188973"/>
                <a:gd name="connsiteX6" fmla="*/ 55432 w 62991"/>
                <a:gd name="connsiteY6" fmla="*/ 41574 h 188973"/>
                <a:gd name="connsiteX7" fmla="*/ 54172 w 62991"/>
                <a:gd name="connsiteY7" fmla="*/ 57952 h 188973"/>
                <a:gd name="connsiteX8" fmla="*/ 51652 w 62991"/>
                <a:gd name="connsiteY8" fmla="*/ 75589 h 188973"/>
                <a:gd name="connsiteX9" fmla="*/ 49133 w 62991"/>
                <a:gd name="connsiteY9" fmla="*/ 91967 h 188973"/>
                <a:gd name="connsiteX10" fmla="*/ 46613 w 62991"/>
                <a:gd name="connsiteY10" fmla="*/ 104565 h 188973"/>
                <a:gd name="connsiteX11" fmla="*/ 45353 w 62991"/>
                <a:gd name="connsiteY11" fmla="*/ 112124 h 188973"/>
                <a:gd name="connsiteX12" fmla="*/ 44094 w 62991"/>
                <a:gd name="connsiteY12" fmla="*/ 117163 h 188973"/>
                <a:gd name="connsiteX13" fmla="*/ 40314 w 62991"/>
                <a:gd name="connsiteY13" fmla="*/ 128502 h 188973"/>
                <a:gd name="connsiteX14" fmla="*/ 35275 w 62991"/>
                <a:gd name="connsiteY14" fmla="*/ 138581 h 188973"/>
                <a:gd name="connsiteX15" fmla="*/ 26456 w 62991"/>
                <a:gd name="connsiteY15" fmla="*/ 153698 h 188973"/>
                <a:gd name="connsiteX16" fmla="*/ 20157 w 62991"/>
                <a:gd name="connsiteY16" fmla="*/ 161257 h 188973"/>
                <a:gd name="connsiteX17" fmla="*/ 15118 w 62991"/>
                <a:gd name="connsiteY17" fmla="*/ 167556 h 188973"/>
                <a:gd name="connsiteX18" fmla="*/ 12598 w 62991"/>
                <a:gd name="connsiteY18" fmla="*/ 171336 h 188973"/>
                <a:gd name="connsiteX19" fmla="*/ 8819 w 62991"/>
                <a:gd name="connsiteY19" fmla="*/ 175115 h 188973"/>
                <a:gd name="connsiteX20" fmla="*/ 3779 w 62991"/>
                <a:gd name="connsiteY20" fmla="*/ 177635 h 188973"/>
                <a:gd name="connsiteX21" fmla="*/ 0 w 62991"/>
                <a:gd name="connsiteY21" fmla="*/ 181414 h 188973"/>
                <a:gd name="connsiteX22" fmla="*/ 0 w 62991"/>
                <a:gd name="connsiteY22" fmla="*/ 186454 h 188973"/>
                <a:gd name="connsiteX23" fmla="*/ 5039 w 62991"/>
                <a:gd name="connsiteY23" fmla="*/ 190233 h 188973"/>
                <a:gd name="connsiteX24" fmla="*/ 11338 w 62991"/>
                <a:gd name="connsiteY24" fmla="*/ 190233 h 188973"/>
                <a:gd name="connsiteX25" fmla="*/ 20157 w 62991"/>
                <a:gd name="connsiteY25" fmla="*/ 185194 h 188973"/>
                <a:gd name="connsiteX26" fmla="*/ 26456 w 62991"/>
                <a:gd name="connsiteY26" fmla="*/ 178895 h 188973"/>
                <a:gd name="connsiteX27" fmla="*/ 30236 w 62991"/>
                <a:gd name="connsiteY27" fmla="*/ 172596 h 188973"/>
                <a:gd name="connsiteX28" fmla="*/ 35275 w 62991"/>
                <a:gd name="connsiteY28" fmla="*/ 166297 h 188973"/>
                <a:gd name="connsiteX29" fmla="*/ 42834 w 62991"/>
                <a:gd name="connsiteY29" fmla="*/ 153698 h 188973"/>
                <a:gd name="connsiteX30" fmla="*/ 46613 w 62991"/>
                <a:gd name="connsiteY30" fmla="*/ 146139 h 188973"/>
                <a:gd name="connsiteX31" fmla="*/ 49133 w 62991"/>
                <a:gd name="connsiteY31" fmla="*/ 138581 h 188973"/>
                <a:gd name="connsiteX32" fmla="*/ 54172 w 62991"/>
                <a:gd name="connsiteY32" fmla="*/ 122203 h 188973"/>
                <a:gd name="connsiteX33" fmla="*/ 55432 w 62991"/>
                <a:gd name="connsiteY33" fmla="*/ 113384 h 188973"/>
                <a:gd name="connsiteX34" fmla="*/ 56692 w 62991"/>
                <a:gd name="connsiteY34" fmla="*/ 104565 h 188973"/>
                <a:gd name="connsiteX35" fmla="*/ 59211 w 62991"/>
                <a:gd name="connsiteY35" fmla="*/ 85668 h 188973"/>
                <a:gd name="connsiteX36" fmla="*/ 60471 w 62991"/>
                <a:gd name="connsiteY36" fmla="*/ 76849 h 188973"/>
                <a:gd name="connsiteX37" fmla="*/ 61731 w 62991"/>
                <a:gd name="connsiteY37" fmla="*/ 68030 h 188973"/>
                <a:gd name="connsiteX38" fmla="*/ 62991 w 62991"/>
                <a:gd name="connsiteY38" fmla="*/ 51653 h 188973"/>
                <a:gd name="connsiteX39" fmla="*/ 64251 w 62991"/>
                <a:gd name="connsiteY39" fmla="*/ 44094 h 188973"/>
                <a:gd name="connsiteX40" fmla="*/ 65511 w 62991"/>
                <a:gd name="connsiteY40" fmla="*/ 35275 h 188973"/>
                <a:gd name="connsiteX41" fmla="*/ 66770 w 62991"/>
                <a:gd name="connsiteY41" fmla="*/ 18897 h 188973"/>
                <a:gd name="connsiteX42" fmla="*/ 66770 w 62991"/>
                <a:gd name="connsiteY42" fmla="*/ 11338 h 188973"/>
                <a:gd name="connsiteX43" fmla="*/ 66770 w 62991"/>
                <a:gd name="connsiteY43" fmla="*/ 7559 h 188973"/>
                <a:gd name="connsiteX44" fmla="*/ 69290 w 62991"/>
                <a:gd name="connsiteY44" fmla="*/ 3779 h 188973"/>
                <a:gd name="connsiteX45" fmla="*/ 49133 w 62991"/>
                <a:gd name="connsiteY45" fmla="*/ 91967 h 188973"/>
                <a:gd name="connsiteX46" fmla="*/ 49133 w 62991"/>
                <a:gd name="connsiteY46" fmla="*/ 91967 h 188973"/>
                <a:gd name="connsiteX47" fmla="*/ 49133 w 62991"/>
                <a:gd name="connsiteY47" fmla="*/ 91967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91" h="188973">
                  <a:moveTo>
                    <a:pt x="69290" y="3779"/>
                  </a:moveTo>
                  <a:cubicBezTo>
                    <a:pt x="69290" y="1260"/>
                    <a:pt x="68030" y="0"/>
                    <a:pt x="65511" y="0"/>
                  </a:cubicBezTo>
                  <a:cubicBezTo>
                    <a:pt x="65511" y="0"/>
                    <a:pt x="65511" y="0"/>
                    <a:pt x="65511" y="0"/>
                  </a:cubicBezTo>
                  <a:cubicBezTo>
                    <a:pt x="64251" y="0"/>
                    <a:pt x="62991" y="1260"/>
                    <a:pt x="61731" y="2520"/>
                  </a:cubicBezTo>
                  <a:cubicBezTo>
                    <a:pt x="60471" y="6299"/>
                    <a:pt x="59211" y="10078"/>
                    <a:pt x="59211" y="13858"/>
                  </a:cubicBezTo>
                  <a:cubicBezTo>
                    <a:pt x="59211" y="17637"/>
                    <a:pt x="59211" y="21417"/>
                    <a:pt x="57952" y="25196"/>
                  </a:cubicBezTo>
                  <a:cubicBezTo>
                    <a:pt x="56692" y="30236"/>
                    <a:pt x="56692" y="36535"/>
                    <a:pt x="55432" y="41574"/>
                  </a:cubicBezTo>
                  <a:cubicBezTo>
                    <a:pt x="54172" y="46613"/>
                    <a:pt x="54172" y="52913"/>
                    <a:pt x="54172" y="57952"/>
                  </a:cubicBezTo>
                  <a:cubicBezTo>
                    <a:pt x="52912" y="64251"/>
                    <a:pt x="52912" y="69290"/>
                    <a:pt x="51652" y="75589"/>
                  </a:cubicBezTo>
                  <a:cubicBezTo>
                    <a:pt x="50393" y="80629"/>
                    <a:pt x="50393" y="85668"/>
                    <a:pt x="49133" y="91967"/>
                  </a:cubicBezTo>
                  <a:cubicBezTo>
                    <a:pt x="47873" y="95746"/>
                    <a:pt x="47873" y="99526"/>
                    <a:pt x="46613" y="104565"/>
                  </a:cubicBezTo>
                  <a:cubicBezTo>
                    <a:pt x="46613" y="107085"/>
                    <a:pt x="45353" y="109605"/>
                    <a:pt x="45353" y="112124"/>
                  </a:cubicBezTo>
                  <a:cubicBezTo>
                    <a:pt x="45353" y="113384"/>
                    <a:pt x="44094" y="115904"/>
                    <a:pt x="44094" y="117163"/>
                  </a:cubicBezTo>
                  <a:cubicBezTo>
                    <a:pt x="42834" y="120943"/>
                    <a:pt x="41574" y="124722"/>
                    <a:pt x="40314" y="128502"/>
                  </a:cubicBezTo>
                  <a:cubicBezTo>
                    <a:pt x="39054" y="132281"/>
                    <a:pt x="37795" y="134801"/>
                    <a:pt x="35275" y="138581"/>
                  </a:cubicBezTo>
                  <a:cubicBezTo>
                    <a:pt x="32755" y="143620"/>
                    <a:pt x="28976" y="148659"/>
                    <a:pt x="26456" y="153698"/>
                  </a:cubicBezTo>
                  <a:cubicBezTo>
                    <a:pt x="25196" y="156218"/>
                    <a:pt x="22677" y="158738"/>
                    <a:pt x="20157" y="161257"/>
                  </a:cubicBezTo>
                  <a:cubicBezTo>
                    <a:pt x="18897" y="163777"/>
                    <a:pt x="17637" y="165037"/>
                    <a:pt x="15118" y="167556"/>
                  </a:cubicBezTo>
                  <a:cubicBezTo>
                    <a:pt x="13858" y="168816"/>
                    <a:pt x="12598" y="170076"/>
                    <a:pt x="12598" y="171336"/>
                  </a:cubicBezTo>
                  <a:cubicBezTo>
                    <a:pt x="11338" y="172596"/>
                    <a:pt x="10078" y="173855"/>
                    <a:pt x="8819" y="175115"/>
                  </a:cubicBezTo>
                  <a:cubicBezTo>
                    <a:pt x="7559" y="176375"/>
                    <a:pt x="5039" y="177635"/>
                    <a:pt x="3779" y="177635"/>
                  </a:cubicBezTo>
                  <a:cubicBezTo>
                    <a:pt x="2519" y="178895"/>
                    <a:pt x="1260" y="180155"/>
                    <a:pt x="0" y="181414"/>
                  </a:cubicBezTo>
                  <a:cubicBezTo>
                    <a:pt x="0" y="182674"/>
                    <a:pt x="0" y="185194"/>
                    <a:pt x="0" y="186454"/>
                  </a:cubicBezTo>
                  <a:cubicBezTo>
                    <a:pt x="1260" y="187714"/>
                    <a:pt x="2519" y="188974"/>
                    <a:pt x="5039" y="190233"/>
                  </a:cubicBezTo>
                  <a:cubicBezTo>
                    <a:pt x="7559" y="190233"/>
                    <a:pt x="8819" y="190233"/>
                    <a:pt x="11338" y="190233"/>
                  </a:cubicBezTo>
                  <a:cubicBezTo>
                    <a:pt x="13858" y="188974"/>
                    <a:pt x="17637" y="187714"/>
                    <a:pt x="20157" y="185194"/>
                  </a:cubicBezTo>
                  <a:cubicBezTo>
                    <a:pt x="22677" y="182674"/>
                    <a:pt x="25196" y="181414"/>
                    <a:pt x="26456" y="178895"/>
                  </a:cubicBezTo>
                  <a:cubicBezTo>
                    <a:pt x="27716" y="176375"/>
                    <a:pt x="28976" y="175115"/>
                    <a:pt x="30236" y="172596"/>
                  </a:cubicBezTo>
                  <a:cubicBezTo>
                    <a:pt x="31496" y="170076"/>
                    <a:pt x="32755" y="168816"/>
                    <a:pt x="35275" y="166297"/>
                  </a:cubicBezTo>
                  <a:cubicBezTo>
                    <a:pt x="37795" y="162517"/>
                    <a:pt x="40314" y="157478"/>
                    <a:pt x="42834" y="153698"/>
                  </a:cubicBezTo>
                  <a:cubicBezTo>
                    <a:pt x="44094" y="151179"/>
                    <a:pt x="45353" y="148659"/>
                    <a:pt x="46613" y="146139"/>
                  </a:cubicBezTo>
                  <a:cubicBezTo>
                    <a:pt x="47873" y="143620"/>
                    <a:pt x="49133" y="141100"/>
                    <a:pt x="49133" y="138581"/>
                  </a:cubicBezTo>
                  <a:cubicBezTo>
                    <a:pt x="51652" y="133541"/>
                    <a:pt x="52912" y="128502"/>
                    <a:pt x="54172" y="122203"/>
                  </a:cubicBezTo>
                  <a:cubicBezTo>
                    <a:pt x="54172" y="119683"/>
                    <a:pt x="55432" y="117163"/>
                    <a:pt x="55432" y="113384"/>
                  </a:cubicBezTo>
                  <a:cubicBezTo>
                    <a:pt x="55432" y="110864"/>
                    <a:pt x="56692" y="107085"/>
                    <a:pt x="56692" y="104565"/>
                  </a:cubicBezTo>
                  <a:cubicBezTo>
                    <a:pt x="57952" y="98266"/>
                    <a:pt x="59211" y="91967"/>
                    <a:pt x="59211" y="85668"/>
                  </a:cubicBezTo>
                  <a:cubicBezTo>
                    <a:pt x="59211" y="83148"/>
                    <a:pt x="60471" y="80629"/>
                    <a:pt x="60471" y="76849"/>
                  </a:cubicBezTo>
                  <a:cubicBezTo>
                    <a:pt x="60471" y="74330"/>
                    <a:pt x="61731" y="71810"/>
                    <a:pt x="61731" y="68030"/>
                  </a:cubicBezTo>
                  <a:cubicBezTo>
                    <a:pt x="61731" y="62991"/>
                    <a:pt x="62991" y="56692"/>
                    <a:pt x="62991" y="51653"/>
                  </a:cubicBezTo>
                  <a:cubicBezTo>
                    <a:pt x="62991" y="49133"/>
                    <a:pt x="62991" y="46613"/>
                    <a:pt x="64251" y="44094"/>
                  </a:cubicBezTo>
                  <a:cubicBezTo>
                    <a:pt x="64251" y="41574"/>
                    <a:pt x="65511" y="39054"/>
                    <a:pt x="65511" y="35275"/>
                  </a:cubicBezTo>
                  <a:cubicBezTo>
                    <a:pt x="65511" y="30236"/>
                    <a:pt x="66770" y="25196"/>
                    <a:pt x="66770" y="18897"/>
                  </a:cubicBezTo>
                  <a:cubicBezTo>
                    <a:pt x="66770" y="16378"/>
                    <a:pt x="66770" y="13858"/>
                    <a:pt x="66770" y="11338"/>
                  </a:cubicBezTo>
                  <a:cubicBezTo>
                    <a:pt x="66770" y="10078"/>
                    <a:pt x="66770" y="8819"/>
                    <a:pt x="66770" y="7559"/>
                  </a:cubicBezTo>
                  <a:cubicBezTo>
                    <a:pt x="69290" y="6299"/>
                    <a:pt x="69290" y="5039"/>
                    <a:pt x="69290" y="3779"/>
                  </a:cubicBezTo>
                  <a:moveTo>
                    <a:pt x="49133" y="91967"/>
                  </a:moveTo>
                  <a:cubicBezTo>
                    <a:pt x="49133" y="91967"/>
                    <a:pt x="49133" y="91967"/>
                    <a:pt x="49133" y="91967"/>
                  </a:cubicBezTo>
                  <a:cubicBezTo>
                    <a:pt x="49133" y="91967"/>
                    <a:pt x="49133" y="91967"/>
                    <a:pt x="49133" y="91967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1" name="任意多边形: 形状 10240"/>
            <p:cNvSpPr/>
            <p:nvPr/>
          </p:nvSpPr>
          <p:spPr>
            <a:xfrm>
              <a:off x="5109299" y="2600351"/>
              <a:ext cx="25196" cy="100786"/>
            </a:xfrm>
            <a:custGeom>
              <a:avLst/>
              <a:gdLst>
                <a:gd name="connsiteX0" fmla="*/ 25196 w 25196"/>
                <a:gd name="connsiteY0" fmla="*/ 945 h 100785"/>
                <a:gd name="connsiteX1" fmla="*/ 26456 w 25196"/>
                <a:gd name="connsiteY1" fmla="*/ 4724 h 100785"/>
                <a:gd name="connsiteX2" fmla="*/ 25196 w 25196"/>
                <a:gd name="connsiteY2" fmla="*/ 13543 h 100785"/>
                <a:gd name="connsiteX3" fmla="*/ 25196 w 25196"/>
                <a:gd name="connsiteY3" fmla="*/ 23622 h 100785"/>
                <a:gd name="connsiteX4" fmla="*/ 23937 w 25196"/>
                <a:gd name="connsiteY4" fmla="*/ 42519 h 100785"/>
                <a:gd name="connsiteX5" fmla="*/ 22677 w 25196"/>
                <a:gd name="connsiteY5" fmla="*/ 51338 h 100785"/>
                <a:gd name="connsiteX6" fmla="*/ 22677 w 25196"/>
                <a:gd name="connsiteY6" fmla="*/ 60157 h 100785"/>
                <a:gd name="connsiteX7" fmla="*/ 21417 w 25196"/>
                <a:gd name="connsiteY7" fmla="*/ 70235 h 100785"/>
                <a:gd name="connsiteX8" fmla="*/ 18897 w 25196"/>
                <a:gd name="connsiteY8" fmla="*/ 79054 h 100785"/>
                <a:gd name="connsiteX9" fmla="*/ 16378 w 25196"/>
                <a:gd name="connsiteY9" fmla="*/ 92912 h 100785"/>
                <a:gd name="connsiteX10" fmla="*/ 13858 w 25196"/>
                <a:gd name="connsiteY10" fmla="*/ 100471 h 100785"/>
                <a:gd name="connsiteX11" fmla="*/ 11338 w 25196"/>
                <a:gd name="connsiteY11" fmla="*/ 108030 h 100785"/>
                <a:gd name="connsiteX12" fmla="*/ 8819 w 25196"/>
                <a:gd name="connsiteY12" fmla="*/ 111809 h 100785"/>
                <a:gd name="connsiteX13" fmla="*/ 3780 w 25196"/>
                <a:gd name="connsiteY13" fmla="*/ 111809 h 100785"/>
                <a:gd name="connsiteX14" fmla="*/ 0 w 25196"/>
                <a:gd name="connsiteY14" fmla="*/ 109290 h 100785"/>
                <a:gd name="connsiteX15" fmla="*/ 0 w 25196"/>
                <a:gd name="connsiteY15" fmla="*/ 108030 h 100785"/>
                <a:gd name="connsiteX16" fmla="*/ 0 w 25196"/>
                <a:gd name="connsiteY16" fmla="*/ 105510 h 100785"/>
                <a:gd name="connsiteX17" fmla="*/ 0 w 25196"/>
                <a:gd name="connsiteY17" fmla="*/ 104250 h 100785"/>
                <a:gd name="connsiteX18" fmla="*/ 0 w 25196"/>
                <a:gd name="connsiteY18" fmla="*/ 104250 h 100785"/>
                <a:gd name="connsiteX19" fmla="*/ 3780 w 25196"/>
                <a:gd name="connsiteY19" fmla="*/ 85353 h 100785"/>
                <a:gd name="connsiteX20" fmla="*/ 6299 w 25196"/>
                <a:gd name="connsiteY20" fmla="*/ 75274 h 100785"/>
                <a:gd name="connsiteX21" fmla="*/ 8819 w 25196"/>
                <a:gd name="connsiteY21" fmla="*/ 66456 h 100785"/>
                <a:gd name="connsiteX22" fmla="*/ 10079 w 25196"/>
                <a:gd name="connsiteY22" fmla="*/ 55117 h 100785"/>
                <a:gd name="connsiteX23" fmla="*/ 12598 w 25196"/>
                <a:gd name="connsiteY23" fmla="*/ 39999 h 100785"/>
                <a:gd name="connsiteX24" fmla="*/ 15118 w 25196"/>
                <a:gd name="connsiteY24" fmla="*/ 23622 h 100785"/>
                <a:gd name="connsiteX25" fmla="*/ 16378 w 25196"/>
                <a:gd name="connsiteY25" fmla="*/ 14803 h 100785"/>
                <a:gd name="connsiteX26" fmla="*/ 17637 w 25196"/>
                <a:gd name="connsiteY26" fmla="*/ 5984 h 100785"/>
                <a:gd name="connsiteX27" fmla="*/ 18897 w 25196"/>
                <a:gd name="connsiteY27" fmla="*/ 2205 h 100785"/>
                <a:gd name="connsiteX28" fmla="*/ 22677 w 25196"/>
                <a:gd name="connsiteY28" fmla="*/ 945 h 100785"/>
                <a:gd name="connsiteX29" fmla="*/ 22677 w 25196"/>
                <a:gd name="connsiteY29" fmla="*/ 945 h 100785"/>
                <a:gd name="connsiteX30" fmla="*/ 25196 w 25196"/>
                <a:gd name="connsiteY30" fmla="*/ 94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196" h="100785">
                  <a:moveTo>
                    <a:pt x="25196" y="945"/>
                  </a:moveTo>
                  <a:cubicBezTo>
                    <a:pt x="26456" y="2205"/>
                    <a:pt x="26456" y="3465"/>
                    <a:pt x="26456" y="4724"/>
                  </a:cubicBezTo>
                  <a:cubicBezTo>
                    <a:pt x="26456" y="7244"/>
                    <a:pt x="25196" y="11024"/>
                    <a:pt x="25196" y="13543"/>
                  </a:cubicBezTo>
                  <a:cubicBezTo>
                    <a:pt x="25196" y="17323"/>
                    <a:pt x="25196" y="19842"/>
                    <a:pt x="25196" y="23622"/>
                  </a:cubicBezTo>
                  <a:cubicBezTo>
                    <a:pt x="25196" y="29921"/>
                    <a:pt x="23937" y="36220"/>
                    <a:pt x="23937" y="42519"/>
                  </a:cubicBezTo>
                  <a:cubicBezTo>
                    <a:pt x="23937" y="45039"/>
                    <a:pt x="23937" y="48818"/>
                    <a:pt x="22677" y="51338"/>
                  </a:cubicBezTo>
                  <a:cubicBezTo>
                    <a:pt x="22677" y="53857"/>
                    <a:pt x="22677" y="57637"/>
                    <a:pt x="22677" y="60157"/>
                  </a:cubicBezTo>
                  <a:cubicBezTo>
                    <a:pt x="22677" y="63936"/>
                    <a:pt x="21417" y="66456"/>
                    <a:pt x="21417" y="70235"/>
                  </a:cubicBezTo>
                  <a:cubicBezTo>
                    <a:pt x="21417" y="72755"/>
                    <a:pt x="20157" y="76534"/>
                    <a:pt x="18897" y="79054"/>
                  </a:cubicBezTo>
                  <a:cubicBezTo>
                    <a:pt x="17637" y="84093"/>
                    <a:pt x="17637" y="87873"/>
                    <a:pt x="16378" y="92912"/>
                  </a:cubicBezTo>
                  <a:cubicBezTo>
                    <a:pt x="16378" y="95432"/>
                    <a:pt x="15118" y="97951"/>
                    <a:pt x="13858" y="100471"/>
                  </a:cubicBezTo>
                  <a:cubicBezTo>
                    <a:pt x="12598" y="102991"/>
                    <a:pt x="11338" y="105510"/>
                    <a:pt x="11338" y="108030"/>
                  </a:cubicBezTo>
                  <a:cubicBezTo>
                    <a:pt x="10079" y="109290"/>
                    <a:pt x="10079" y="110550"/>
                    <a:pt x="8819" y="111809"/>
                  </a:cubicBezTo>
                  <a:cubicBezTo>
                    <a:pt x="7559" y="113069"/>
                    <a:pt x="6299" y="113069"/>
                    <a:pt x="3780" y="111809"/>
                  </a:cubicBezTo>
                  <a:cubicBezTo>
                    <a:pt x="2520" y="111809"/>
                    <a:pt x="1260" y="110550"/>
                    <a:pt x="0" y="109290"/>
                  </a:cubicBezTo>
                  <a:cubicBezTo>
                    <a:pt x="0" y="109290"/>
                    <a:pt x="0" y="108030"/>
                    <a:pt x="0" y="108030"/>
                  </a:cubicBezTo>
                  <a:cubicBezTo>
                    <a:pt x="0" y="106770"/>
                    <a:pt x="0" y="105510"/>
                    <a:pt x="0" y="105510"/>
                  </a:cubicBezTo>
                  <a:cubicBezTo>
                    <a:pt x="0" y="105510"/>
                    <a:pt x="0" y="104250"/>
                    <a:pt x="0" y="104250"/>
                  </a:cubicBezTo>
                  <a:cubicBezTo>
                    <a:pt x="0" y="104250"/>
                    <a:pt x="0" y="104250"/>
                    <a:pt x="0" y="104250"/>
                  </a:cubicBezTo>
                  <a:cubicBezTo>
                    <a:pt x="1260" y="97951"/>
                    <a:pt x="2520" y="91652"/>
                    <a:pt x="3780" y="85353"/>
                  </a:cubicBezTo>
                  <a:cubicBezTo>
                    <a:pt x="5039" y="81574"/>
                    <a:pt x="5039" y="79054"/>
                    <a:pt x="6299" y="75274"/>
                  </a:cubicBezTo>
                  <a:cubicBezTo>
                    <a:pt x="7559" y="72755"/>
                    <a:pt x="7559" y="68975"/>
                    <a:pt x="8819" y="66456"/>
                  </a:cubicBezTo>
                  <a:cubicBezTo>
                    <a:pt x="8819" y="62676"/>
                    <a:pt x="10079" y="58897"/>
                    <a:pt x="10079" y="55117"/>
                  </a:cubicBezTo>
                  <a:cubicBezTo>
                    <a:pt x="11338" y="50078"/>
                    <a:pt x="11338" y="45039"/>
                    <a:pt x="12598" y="39999"/>
                  </a:cubicBezTo>
                  <a:cubicBezTo>
                    <a:pt x="13858" y="34960"/>
                    <a:pt x="13858" y="28661"/>
                    <a:pt x="15118" y="23622"/>
                  </a:cubicBezTo>
                  <a:cubicBezTo>
                    <a:pt x="15118" y="21102"/>
                    <a:pt x="15118" y="17323"/>
                    <a:pt x="16378" y="14803"/>
                  </a:cubicBezTo>
                  <a:cubicBezTo>
                    <a:pt x="16378" y="12283"/>
                    <a:pt x="17637" y="8504"/>
                    <a:pt x="17637" y="5984"/>
                  </a:cubicBezTo>
                  <a:cubicBezTo>
                    <a:pt x="17637" y="4724"/>
                    <a:pt x="17637" y="3465"/>
                    <a:pt x="18897" y="2205"/>
                  </a:cubicBezTo>
                  <a:cubicBezTo>
                    <a:pt x="20157" y="945"/>
                    <a:pt x="21417" y="945"/>
                    <a:pt x="22677" y="945"/>
                  </a:cubicBezTo>
                  <a:cubicBezTo>
                    <a:pt x="22677" y="945"/>
                    <a:pt x="22677" y="945"/>
                    <a:pt x="22677" y="945"/>
                  </a:cubicBezTo>
                  <a:cubicBezTo>
                    <a:pt x="22677" y="-315"/>
                    <a:pt x="23937" y="-315"/>
                    <a:pt x="25196" y="945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2" name="任意多边形: 形状 10241"/>
            <p:cNvSpPr/>
            <p:nvPr/>
          </p:nvSpPr>
          <p:spPr>
            <a:xfrm>
              <a:off x="5075284" y="2550903"/>
              <a:ext cx="62991" cy="214170"/>
            </a:xfrm>
            <a:custGeom>
              <a:avLst/>
              <a:gdLst>
                <a:gd name="connsiteX0" fmla="*/ 59211 w 62991"/>
                <a:gd name="connsiteY0" fmla="*/ 0 h 214169"/>
                <a:gd name="connsiteX1" fmla="*/ 59211 w 62991"/>
                <a:gd name="connsiteY1" fmla="*/ 0 h 214169"/>
                <a:gd name="connsiteX2" fmla="*/ 59211 w 62991"/>
                <a:gd name="connsiteY2" fmla="*/ 0 h 214169"/>
                <a:gd name="connsiteX3" fmla="*/ 59211 w 62991"/>
                <a:gd name="connsiteY3" fmla="*/ 0 h 214169"/>
                <a:gd name="connsiteX4" fmla="*/ 60471 w 62991"/>
                <a:gd name="connsiteY4" fmla="*/ 0 h 214169"/>
                <a:gd name="connsiteX5" fmla="*/ 65511 w 62991"/>
                <a:gd name="connsiteY5" fmla="*/ 1260 h 214169"/>
                <a:gd name="connsiteX6" fmla="*/ 68030 w 62991"/>
                <a:gd name="connsiteY6" fmla="*/ 2520 h 214169"/>
                <a:gd name="connsiteX7" fmla="*/ 68030 w 62991"/>
                <a:gd name="connsiteY7" fmla="*/ 6299 h 214169"/>
                <a:gd name="connsiteX8" fmla="*/ 66770 w 62991"/>
                <a:gd name="connsiteY8" fmla="*/ 13858 h 214169"/>
                <a:gd name="connsiteX9" fmla="*/ 66770 w 62991"/>
                <a:gd name="connsiteY9" fmla="*/ 17637 h 214169"/>
                <a:gd name="connsiteX10" fmla="*/ 66770 w 62991"/>
                <a:gd name="connsiteY10" fmla="*/ 22677 h 214169"/>
                <a:gd name="connsiteX11" fmla="*/ 66770 w 62991"/>
                <a:gd name="connsiteY11" fmla="*/ 23937 h 214169"/>
                <a:gd name="connsiteX12" fmla="*/ 66770 w 62991"/>
                <a:gd name="connsiteY12" fmla="*/ 23937 h 214169"/>
                <a:gd name="connsiteX13" fmla="*/ 66770 w 62991"/>
                <a:gd name="connsiteY13" fmla="*/ 23937 h 214169"/>
                <a:gd name="connsiteX14" fmla="*/ 66770 w 62991"/>
                <a:gd name="connsiteY14" fmla="*/ 23937 h 214169"/>
                <a:gd name="connsiteX15" fmla="*/ 66770 w 62991"/>
                <a:gd name="connsiteY15" fmla="*/ 23937 h 214169"/>
                <a:gd name="connsiteX16" fmla="*/ 66770 w 62991"/>
                <a:gd name="connsiteY16" fmla="*/ 23937 h 214169"/>
                <a:gd name="connsiteX17" fmla="*/ 66770 w 62991"/>
                <a:gd name="connsiteY17" fmla="*/ 23937 h 214169"/>
                <a:gd name="connsiteX18" fmla="*/ 66770 w 62991"/>
                <a:gd name="connsiteY18" fmla="*/ 23937 h 214169"/>
                <a:gd name="connsiteX19" fmla="*/ 66770 w 62991"/>
                <a:gd name="connsiteY19" fmla="*/ 23937 h 214169"/>
                <a:gd name="connsiteX20" fmla="*/ 66770 w 62991"/>
                <a:gd name="connsiteY20" fmla="*/ 25196 h 214169"/>
                <a:gd name="connsiteX21" fmla="*/ 66770 w 62991"/>
                <a:gd name="connsiteY21" fmla="*/ 26456 h 214169"/>
                <a:gd name="connsiteX22" fmla="*/ 66770 w 62991"/>
                <a:gd name="connsiteY22" fmla="*/ 28976 h 214169"/>
                <a:gd name="connsiteX23" fmla="*/ 66770 w 62991"/>
                <a:gd name="connsiteY23" fmla="*/ 39054 h 214169"/>
                <a:gd name="connsiteX24" fmla="*/ 66770 w 62991"/>
                <a:gd name="connsiteY24" fmla="*/ 45354 h 214169"/>
                <a:gd name="connsiteX25" fmla="*/ 65511 w 62991"/>
                <a:gd name="connsiteY25" fmla="*/ 57952 h 214169"/>
                <a:gd name="connsiteX26" fmla="*/ 65511 w 62991"/>
                <a:gd name="connsiteY26" fmla="*/ 62991 h 214169"/>
                <a:gd name="connsiteX27" fmla="*/ 62991 w 62991"/>
                <a:gd name="connsiteY27" fmla="*/ 84408 h 214169"/>
                <a:gd name="connsiteX28" fmla="*/ 62991 w 62991"/>
                <a:gd name="connsiteY28" fmla="*/ 84408 h 214169"/>
                <a:gd name="connsiteX29" fmla="*/ 61731 w 62991"/>
                <a:gd name="connsiteY29" fmla="*/ 99526 h 214169"/>
                <a:gd name="connsiteX30" fmla="*/ 60471 w 62991"/>
                <a:gd name="connsiteY30" fmla="*/ 112124 h 214169"/>
                <a:gd name="connsiteX31" fmla="*/ 60471 w 62991"/>
                <a:gd name="connsiteY31" fmla="*/ 112124 h 214169"/>
                <a:gd name="connsiteX32" fmla="*/ 60471 w 62991"/>
                <a:gd name="connsiteY32" fmla="*/ 117164 h 214169"/>
                <a:gd name="connsiteX33" fmla="*/ 56692 w 62991"/>
                <a:gd name="connsiteY33" fmla="*/ 137321 h 214169"/>
                <a:gd name="connsiteX34" fmla="*/ 56692 w 62991"/>
                <a:gd name="connsiteY34" fmla="*/ 138581 h 214169"/>
                <a:gd name="connsiteX35" fmla="*/ 56692 w 62991"/>
                <a:gd name="connsiteY35" fmla="*/ 139840 h 214169"/>
                <a:gd name="connsiteX36" fmla="*/ 56692 w 62991"/>
                <a:gd name="connsiteY36" fmla="*/ 139840 h 214169"/>
                <a:gd name="connsiteX37" fmla="*/ 56692 w 62991"/>
                <a:gd name="connsiteY37" fmla="*/ 139840 h 214169"/>
                <a:gd name="connsiteX38" fmla="*/ 56692 w 62991"/>
                <a:gd name="connsiteY38" fmla="*/ 139840 h 214169"/>
                <a:gd name="connsiteX39" fmla="*/ 56692 w 62991"/>
                <a:gd name="connsiteY39" fmla="*/ 139840 h 214169"/>
                <a:gd name="connsiteX40" fmla="*/ 56692 w 62991"/>
                <a:gd name="connsiteY40" fmla="*/ 139840 h 214169"/>
                <a:gd name="connsiteX41" fmla="*/ 55432 w 62991"/>
                <a:gd name="connsiteY41" fmla="*/ 144880 h 214169"/>
                <a:gd name="connsiteX42" fmla="*/ 52912 w 62991"/>
                <a:gd name="connsiteY42" fmla="*/ 153698 h 214169"/>
                <a:gd name="connsiteX43" fmla="*/ 46613 w 62991"/>
                <a:gd name="connsiteY43" fmla="*/ 171336 h 214169"/>
                <a:gd name="connsiteX44" fmla="*/ 39054 w 62991"/>
                <a:gd name="connsiteY44" fmla="*/ 188974 h 214169"/>
                <a:gd name="connsiteX45" fmla="*/ 30236 w 62991"/>
                <a:gd name="connsiteY45" fmla="*/ 202831 h 214169"/>
                <a:gd name="connsiteX46" fmla="*/ 22677 w 62991"/>
                <a:gd name="connsiteY46" fmla="*/ 211650 h 214169"/>
                <a:gd name="connsiteX47" fmla="*/ 17637 w 62991"/>
                <a:gd name="connsiteY47" fmla="*/ 215430 h 214169"/>
                <a:gd name="connsiteX48" fmla="*/ 12598 w 62991"/>
                <a:gd name="connsiteY48" fmla="*/ 219209 h 214169"/>
                <a:gd name="connsiteX49" fmla="*/ 7559 w 62991"/>
                <a:gd name="connsiteY49" fmla="*/ 221729 h 214169"/>
                <a:gd name="connsiteX50" fmla="*/ 2519 w 62991"/>
                <a:gd name="connsiteY50" fmla="*/ 219209 h 214169"/>
                <a:gd name="connsiteX51" fmla="*/ 0 w 62991"/>
                <a:gd name="connsiteY51" fmla="*/ 214170 h 214169"/>
                <a:gd name="connsiteX52" fmla="*/ 2519 w 62991"/>
                <a:gd name="connsiteY52" fmla="*/ 209131 h 214169"/>
                <a:gd name="connsiteX53" fmla="*/ 13858 w 62991"/>
                <a:gd name="connsiteY53" fmla="*/ 200312 h 214169"/>
                <a:gd name="connsiteX54" fmla="*/ 17637 w 62991"/>
                <a:gd name="connsiteY54" fmla="*/ 195273 h 214169"/>
                <a:gd name="connsiteX55" fmla="*/ 21417 w 62991"/>
                <a:gd name="connsiteY55" fmla="*/ 188974 h 214169"/>
                <a:gd name="connsiteX56" fmla="*/ 28976 w 62991"/>
                <a:gd name="connsiteY56" fmla="*/ 175115 h 214169"/>
                <a:gd name="connsiteX57" fmla="*/ 30236 w 62991"/>
                <a:gd name="connsiteY57" fmla="*/ 171336 h 214169"/>
                <a:gd name="connsiteX58" fmla="*/ 32755 w 62991"/>
                <a:gd name="connsiteY58" fmla="*/ 165037 h 214169"/>
                <a:gd name="connsiteX59" fmla="*/ 35275 w 62991"/>
                <a:gd name="connsiteY59" fmla="*/ 158738 h 214169"/>
                <a:gd name="connsiteX60" fmla="*/ 37795 w 62991"/>
                <a:gd name="connsiteY60" fmla="*/ 152439 h 214169"/>
                <a:gd name="connsiteX61" fmla="*/ 41574 w 62991"/>
                <a:gd name="connsiteY61" fmla="*/ 138581 h 214169"/>
                <a:gd name="connsiteX62" fmla="*/ 44094 w 62991"/>
                <a:gd name="connsiteY62" fmla="*/ 127242 h 214169"/>
                <a:gd name="connsiteX63" fmla="*/ 46613 w 62991"/>
                <a:gd name="connsiteY63" fmla="*/ 109605 h 214169"/>
                <a:gd name="connsiteX64" fmla="*/ 49133 w 62991"/>
                <a:gd name="connsiteY64" fmla="*/ 90707 h 214169"/>
                <a:gd name="connsiteX65" fmla="*/ 51652 w 62991"/>
                <a:gd name="connsiteY65" fmla="*/ 73070 h 214169"/>
                <a:gd name="connsiteX66" fmla="*/ 52912 w 62991"/>
                <a:gd name="connsiteY66" fmla="*/ 64251 h 214169"/>
                <a:gd name="connsiteX67" fmla="*/ 54172 w 62991"/>
                <a:gd name="connsiteY67" fmla="*/ 54172 h 214169"/>
                <a:gd name="connsiteX68" fmla="*/ 56692 w 62991"/>
                <a:gd name="connsiteY68" fmla="*/ 36535 h 214169"/>
                <a:gd name="connsiteX69" fmla="*/ 57952 w 62991"/>
                <a:gd name="connsiteY69" fmla="*/ 27716 h 214169"/>
                <a:gd name="connsiteX70" fmla="*/ 59211 w 62991"/>
                <a:gd name="connsiteY70" fmla="*/ 20157 h 214169"/>
                <a:gd name="connsiteX71" fmla="*/ 60471 w 62991"/>
                <a:gd name="connsiteY71" fmla="*/ 16378 h 214169"/>
                <a:gd name="connsiteX72" fmla="*/ 61731 w 62991"/>
                <a:gd name="connsiteY72" fmla="*/ 7559 h 214169"/>
                <a:gd name="connsiteX73" fmla="*/ 61731 w 62991"/>
                <a:gd name="connsiteY73" fmla="*/ 7559 h 214169"/>
                <a:gd name="connsiteX74" fmla="*/ 62991 w 62991"/>
                <a:gd name="connsiteY74" fmla="*/ 1260 h 214169"/>
                <a:gd name="connsiteX75" fmla="*/ 59211 w 62991"/>
                <a:gd name="connsiteY75" fmla="*/ 0 h 214169"/>
                <a:gd name="connsiteX76" fmla="*/ 59211 w 62991"/>
                <a:gd name="connsiteY76" fmla="*/ 0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2991" h="214169">
                  <a:moveTo>
                    <a:pt x="59211" y="0"/>
                  </a:moveTo>
                  <a:lnTo>
                    <a:pt x="59211" y="0"/>
                  </a:lnTo>
                  <a:cubicBezTo>
                    <a:pt x="59211" y="0"/>
                    <a:pt x="59211" y="0"/>
                    <a:pt x="59211" y="0"/>
                  </a:cubicBezTo>
                  <a:lnTo>
                    <a:pt x="59211" y="0"/>
                  </a:lnTo>
                  <a:lnTo>
                    <a:pt x="60471" y="0"/>
                  </a:lnTo>
                  <a:cubicBezTo>
                    <a:pt x="61731" y="0"/>
                    <a:pt x="62991" y="1260"/>
                    <a:pt x="65511" y="1260"/>
                  </a:cubicBezTo>
                  <a:cubicBezTo>
                    <a:pt x="66770" y="1260"/>
                    <a:pt x="68030" y="1260"/>
                    <a:pt x="68030" y="2520"/>
                  </a:cubicBezTo>
                  <a:cubicBezTo>
                    <a:pt x="68030" y="3780"/>
                    <a:pt x="68030" y="5039"/>
                    <a:pt x="68030" y="6299"/>
                  </a:cubicBezTo>
                  <a:cubicBezTo>
                    <a:pt x="68030" y="8819"/>
                    <a:pt x="66770" y="11338"/>
                    <a:pt x="66770" y="13858"/>
                  </a:cubicBezTo>
                  <a:cubicBezTo>
                    <a:pt x="66770" y="15118"/>
                    <a:pt x="66770" y="16378"/>
                    <a:pt x="66770" y="17637"/>
                  </a:cubicBezTo>
                  <a:cubicBezTo>
                    <a:pt x="66770" y="18897"/>
                    <a:pt x="66770" y="20157"/>
                    <a:pt x="66770" y="22677"/>
                  </a:cubicBezTo>
                  <a:cubicBezTo>
                    <a:pt x="66770" y="22677"/>
                    <a:pt x="66770" y="23937"/>
                    <a:pt x="66770" y="23937"/>
                  </a:cubicBezTo>
                  <a:cubicBezTo>
                    <a:pt x="66770" y="23937"/>
                    <a:pt x="66770" y="23937"/>
                    <a:pt x="66770" y="23937"/>
                  </a:cubicBez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cubicBezTo>
                    <a:pt x="66770" y="23937"/>
                    <a:pt x="66770" y="25196"/>
                    <a:pt x="66770" y="25196"/>
                  </a:cubicBezTo>
                  <a:cubicBezTo>
                    <a:pt x="66770" y="25196"/>
                    <a:pt x="66770" y="26456"/>
                    <a:pt x="66770" y="26456"/>
                  </a:cubicBezTo>
                  <a:cubicBezTo>
                    <a:pt x="66770" y="27716"/>
                    <a:pt x="66770" y="27716"/>
                    <a:pt x="66770" y="28976"/>
                  </a:cubicBezTo>
                  <a:cubicBezTo>
                    <a:pt x="66770" y="32755"/>
                    <a:pt x="66770" y="35275"/>
                    <a:pt x="66770" y="39054"/>
                  </a:cubicBezTo>
                  <a:cubicBezTo>
                    <a:pt x="66770" y="41574"/>
                    <a:pt x="66770" y="44094"/>
                    <a:pt x="66770" y="45354"/>
                  </a:cubicBezTo>
                  <a:cubicBezTo>
                    <a:pt x="66770" y="49133"/>
                    <a:pt x="66770" y="54172"/>
                    <a:pt x="65511" y="57952"/>
                  </a:cubicBezTo>
                  <a:cubicBezTo>
                    <a:pt x="65511" y="59212"/>
                    <a:pt x="65511" y="61731"/>
                    <a:pt x="65511" y="62991"/>
                  </a:cubicBezTo>
                  <a:cubicBezTo>
                    <a:pt x="65511" y="70550"/>
                    <a:pt x="64251" y="76849"/>
                    <a:pt x="62991" y="84408"/>
                  </a:cubicBezTo>
                  <a:lnTo>
                    <a:pt x="62991" y="84408"/>
                  </a:lnTo>
                  <a:cubicBezTo>
                    <a:pt x="62991" y="89447"/>
                    <a:pt x="61731" y="94487"/>
                    <a:pt x="61731" y="99526"/>
                  </a:cubicBezTo>
                  <a:cubicBezTo>
                    <a:pt x="61731" y="103305"/>
                    <a:pt x="60471" y="108345"/>
                    <a:pt x="60471" y="112124"/>
                  </a:cubicBezTo>
                  <a:lnTo>
                    <a:pt x="60471" y="112124"/>
                  </a:lnTo>
                  <a:cubicBezTo>
                    <a:pt x="60471" y="113384"/>
                    <a:pt x="60471" y="114644"/>
                    <a:pt x="60471" y="117164"/>
                  </a:cubicBezTo>
                  <a:cubicBezTo>
                    <a:pt x="59211" y="124722"/>
                    <a:pt x="57952" y="131022"/>
                    <a:pt x="56692" y="137321"/>
                  </a:cubicBezTo>
                  <a:cubicBezTo>
                    <a:pt x="56692" y="137321"/>
                    <a:pt x="56692" y="138581"/>
                    <a:pt x="56692" y="138581"/>
                  </a:cubicBezTo>
                  <a:cubicBezTo>
                    <a:pt x="56692" y="138581"/>
                    <a:pt x="56692" y="139840"/>
                    <a:pt x="56692" y="139840"/>
                  </a:cubicBezTo>
                  <a:cubicBezTo>
                    <a:pt x="56692" y="139840"/>
                    <a:pt x="56692" y="139840"/>
                    <a:pt x="56692" y="139840"/>
                  </a:cubicBez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cubicBezTo>
                    <a:pt x="56692" y="141100"/>
                    <a:pt x="55432" y="143620"/>
                    <a:pt x="55432" y="144880"/>
                  </a:cubicBezTo>
                  <a:cubicBezTo>
                    <a:pt x="54172" y="147399"/>
                    <a:pt x="54172" y="151179"/>
                    <a:pt x="52912" y="153698"/>
                  </a:cubicBezTo>
                  <a:cubicBezTo>
                    <a:pt x="51652" y="159998"/>
                    <a:pt x="49133" y="165037"/>
                    <a:pt x="46613" y="171336"/>
                  </a:cubicBezTo>
                  <a:cubicBezTo>
                    <a:pt x="44094" y="177635"/>
                    <a:pt x="41574" y="183934"/>
                    <a:pt x="39054" y="188974"/>
                  </a:cubicBezTo>
                  <a:cubicBezTo>
                    <a:pt x="36535" y="194013"/>
                    <a:pt x="34015" y="199052"/>
                    <a:pt x="30236" y="202831"/>
                  </a:cubicBezTo>
                  <a:cubicBezTo>
                    <a:pt x="27716" y="205351"/>
                    <a:pt x="25196" y="209131"/>
                    <a:pt x="22677" y="211650"/>
                  </a:cubicBezTo>
                  <a:cubicBezTo>
                    <a:pt x="21417" y="212910"/>
                    <a:pt x="20157" y="214170"/>
                    <a:pt x="17637" y="215430"/>
                  </a:cubicBezTo>
                  <a:cubicBezTo>
                    <a:pt x="16378" y="216690"/>
                    <a:pt x="13858" y="217949"/>
                    <a:pt x="12598" y="219209"/>
                  </a:cubicBezTo>
                  <a:cubicBezTo>
                    <a:pt x="11338" y="220469"/>
                    <a:pt x="8819" y="221729"/>
                    <a:pt x="7559" y="221729"/>
                  </a:cubicBezTo>
                  <a:cubicBezTo>
                    <a:pt x="5039" y="221729"/>
                    <a:pt x="3779" y="220469"/>
                    <a:pt x="2519" y="219209"/>
                  </a:cubicBezTo>
                  <a:cubicBezTo>
                    <a:pt x="1260" y="217949"/>
                    <a:pt x="0" y="215430"/>
                    <a:pt x="0" y="214170"/>
                  </a:cubicBezTo>
                  <a:cubicBezTo>
                    <a:pt x="0" y="212910"/>
                    <a:pt x="1260" y="210390"/>
                    <a:pt x="2519" y="209131"/>
                  </a:cubicBezTo>
                  <a:cubicBezTo>
                    <a:pt x="6299" y="206611"/>
                    <a:pt x="10078" y="202831"/>
                    <a:pt x="13858" y="200312"/>
                  </a:cubicBezTo>
                  <a:cubicBezTo>
                    <a:pt x="15118" y="199052"/>
                    <a:pt x="16378" y="196532"/>
                    <a:pt x="17637" y="195273"/>
                  </a:cubicBezTo>
                  <a:cubicBezTo>
                    <a:pt x="18897" y="192753"/>
                    <a:pt x="20157" y="190233"/>
                    <a:pt x="21417" y="188974"/>
                  </a:cubicBezTo>
                  <a:cubicBezTo>
                    <a:pt x="23937" y="183934"/>
                    <a:pt x="26456" y="178895"/>
                    <a:pt x="28976" y="175115"/>
                  </a:cubicBezTo>
                  <a:cubicBezTo>
                    <a:pt x="28976" y="173856"/>
                    <a:pt x="30236" y="172596"/>
                    <a:pt x="30236" y="171336"/>
                  </a:cubicBezTo>
                  <a:cubicBezTo>
                    <a:pt x="31496" y="168816"/>
                    <a:pt x="31496" y="167557"/>
                    <a:pt x="32755" y="165037"/>
                  </a:cubicBezTo>
                  <a:cubicBezTo>
                    <a:pt x="34015" y="162517"/>
                    <a:pt x="34015" y="161257"/>
                    <a:pt x="35275" y="158738"/>
                  </a:cubicBezTo>
                  <a:cubicBezTo>
                    <a:pt x="36535" y="156218"/>
                    <a:pt x="36535" y="154958"/>
                    <a:pt x="37795" y="152439"/>
                  </a:cubicBezTo>
                  <a:cubicBezTo>
                    <a:pt x="39054" y="147399"/>
                    <a:pt x="40314" y="143620"/>
                    <a:pt x="41574" y="138581"/>
                  </a:cubicBezTo>
                  <a:cubicBezTo>
                    <a:pt x="42834" y="134801"/>
                    <a:pt x="42834" y="131022"/>
                    <a:pt x="44094" y="127242"/>
                  </a:cubicBezTo>
                  <a:cubicBezTo>
                    <a:pt x="45353" y="122203"/>
                    <a:pt x="45353" y="115904"/>
                    <a:pt x="46613" y="109605"/>
                  </a:cubicBezTo>
                  <a:cubicBezTo>
                    <a:pt x="47873" y="103305"/>
                    <a:pt x="47873" y="97006"/>
                    <a:pt x="49133" y="90707"/>
                  </a:cubicBezTo>
                  <a:cubicBezTo>
                    <a:pt x="50393" y="84408"/>
                    <a:pt x="50393" y="78109"/>
                    <a:pt x="51652" y="73070"/>
                  </a:cubicBezTo>
                  <a:cubicBezTo>
                    <a:pt x="51652" y="70550"/>
                    <a:pt x="52912" y="66771"/>
                    <a:pt x="52912" y="64251"/>
                  </a:cubicBezTo>
                  <a:cubicBezTo>
                    <a:pt x="52912" y="60472"/>
                    <a:pt x="54172" y="57952"/>
                    <a:pt x="54172" y="54172"/>
                  </a:cubicBezTo>
                  <a:cubicBezTo>
                    <a:pt x="55432" y="47873"/>
                    <a:pt x="55432" y="42834"/>
                    <a:pt x="56692" y="36535"/>
                  </a:cubicBezTo>
                  <a:cubicBezTo>
                    <a:pt x="56692" y="34015"/>
                    <a:pt x="57952" y="30236"/>
                    <a:pt x="57952" y="27716"/>
                  </a:cubicBezTo>
                  <a:cubicBezTo>
                    <a:pt x="57952" y="25196"/>
                    <a:pt x="59211" y="22677"/>
                    <a:pt x="59211" y="20157"/>
                  </a:cubicBezTo>
                  <a:cubicBezTo>
                    <a:pt x="59211" y="18897"/>
                    <a:pt x="59211" y="17637"/>
                    <a:pt x="60471" y="16378"/>
                  </a:cubicBezTo>
                  <a:cubicBezTo>
                    <a:pt x="60471" y="13858"/>
                    <a:pt x="61731" y="10079"/>
                    <a:pt x="61731" y="7559"/>
                  </a:cubicBezTo>
                  <a:cubicBezTo>
                    <a:pt x="61731" y="7559"/>
                    <a:pt x="61731" y="7559"/>
                    <a:pt x="61731" y="7559"/>
                  </a:cubicBezTo>
                  <a:cubicBezTo>
                    <a:pt x="61731" y="5039"/>
                    <a:pt x="62991" y="3780"/>
                    <a:pt x="62991" y="1260"/>
                  </a:cubicBezTo>
                  <a:cubicBezTo>
                    <a:pt x="57952" y="2520"/>
                    <a:pt x="59211" y="1260"/>
                    <a:pt x="59211" y="0"/>
                  </a:cubicBezTo>
                  <a:lnTo>
                    <a:pt x="59211" y="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3" name="任意多边形: 形状 10242"/>
            <p:cNvSpPr/>
            <p:nvPr/>
          </p:nvSpPr>
          <p:spPr>
            <a:xfrm>
              <a:off x="5089142" y="2650429"/>
              <a:ext cx="25196" cy="62991"/>
            </a:xfrm>
            <a:custGeom>
              <a:avLst/>
              <a:gdLst>
                <a:gd name="connsiteX0" fmla="*/ 30236 w 25196"/>
                <a:gd name="connsiteY0" fmla="*/ 1260 h 62991"/>
                <a:gd name="connsiteX1" fmla="*/ 27716 w 25196"/>
                <a:gd name="connsiteY1" fmla="*/ 0 h 62991"/>
                <a:gd name="connsiteX2" fmla="*/ 25196 w 25196"/>
                <a:gd name="connsiteY2" fmla="*/ 0 h 62991"/>
                <a:gd name="connsiteX3" fmla="*/ 22677 w 25196"/>
                <a:gd name="connsiteY3" fmla="*/ 5039 h 62991"/>
                <a:gd name="connsiteX4" fmla="*/ 22677 w 25196"/>
                <a:gd name="connsiteY4" fmla="*/ 7559 h 62991"/>
                <a:gd name="connsiteX5" fmla="*/ 22677 w 25196"/>
                <a:gd name="connsiteY5" fmla="*/ 13858 h 62991"/>
                <a:gd name="connsiteX6" fmla="*/ 22677 w 25196"/>
                <a:gd name="connsiteY6" fmla="*/ 13858 h 62991"/>
                <a:gd name="connsiteX7" fmla="*/ 21417 w 25196"/>
                <a:gd name="connsiteY7" fmla="*/ 18897 h 62991"/>
                <a:gd name="connsiteX8" fmla="*/ 21417 w 25196"/>
                <a:gd name="connsiteY8" fmla="*/ 20157 h 62991"/>
                <a:gd name="connsiteX9" fmla="*/ 15118 w 25196"/>
                <a:gd name="connsiteY9" fmla="*/ 23937 h 62991"/>
                <a:gd name="connsiteX10" fmla="*/ 13858 w 25196"/>
                <a:gd name="connsiteY10" fmla="*/ 25196 h 62991"/>
                <a:gd name="connsiteX11" fmla="*/ 10079 w 25196"/>
                <a:gd name="connsiteY11" fmla="*/ 27716 h 62991"/>
                <a:gd name="connsiteX12" fmla="*/ 7559 w 25196"/>
                <a:gd name="connsiteY12" fmla="*/ 31496 h 62991"/>
                <a:gd name="connsiteX13" fmla="*/ 3780 w 25196"/>
                <a:gd name="connsiteY13" fmla="*/ 42834 h 62991"/>
                <a:gd name="connsiteX14" fmla="*/ 1260 w 25196"/>
                <a:gd name="connsiteY14" fmla="*/ 50393 h 62991"/>
                <a:gd name="connsiteX15" fmla="*/ 0 w 25196"/>
                <a:gd name="connsiteY15" fmla="*/ 52913 h 62991"/>
                <a:gd name="connsiteX16" fmla="*/ 0 w 25196"/>
                <a:gd name="connsiteY16" fmla="*/ 57952 h 62991"/>
                <a:gd name="connsiteX17" fmla="*/ 2520 w 25196"/>
                <a:gd name="connsiteY17" fmla="*/ 61731 h 62991"/>
                <a:gd name="connsiteX18" fmla="*/ 2520 w 25196"/>
                <a:gd name="connsiteY18" fmla="*/ 61731 h 62991"/>
                <a:gd name="connsiteX19" fmla="*/ 6299 w 25196"/>
                <a:gd name="connsiteY19" fmla="*/ 64251 h 62991"/>
                <a:gd name="connsiteX20" fmla="*/ 7559 w 25196"/>
                <a:gd name="connsiteY20" fmla="*/ 64251 h 62991"/>
                <a:gd name="connsiteX21" fmla="*/ 11339 w 25196"/>
                <a:gd name="connsiteY21" fmla="*/ 66771 h 62991"/>
                <a:gd name="connsiteX22" fmla="*/ 16378 w 25196"/>
                <a:gd name="connsiteY22" fmla="*/ 66771 h 62991"/>
                <a:gd name="connsiteX23" fmla="*/ 18897 w 25196"/>
                <a:gd name="connsiteY23" fmla="*/ 65511 h 62991"/>
                <a:gd name="connsiteX24" fmla="*/ 22677 w 25196"/>
                <a:gd name="connsiteY24" fmla="*/ 61731 h 62991"/>
                <a:gd name="connsiteX25" fmla="*/ 23937 w 25196"/>
                <a:gd name="connsiteY25" fmla="*/ 59212 h 62991"/>
                <a:gd name="connsiteX26" fmla="*/ 23937 w 25196"/>
                <a:gd name="connsiteY26" fmla="*/ 57952 h 62991"/>
                <a:gd name="connsiteX27" fmla="*/ 25196 w 25196"/>
                <a:gd name="connsiteY27" fmla="*/ 54172 h 62991"/>
                <a:gd name="connsiteX28" fmla="*/ 26456 w 25196"/>
                <a:gd name="connsiteY28" fmla="*/ 45354 h 62991"/>
                <a:gd name="connsiteX29" fmla="*/ 27716 w 25196"/>
                <a:gd name="connsiteY29" fmla="*/ 36535 h 62991"/>
                <a:gd name="connsiteX30" fmla="*/ 28976 w 25196"/>
                <a:gd name="connsiteY30" fmla="*/ 26456 h 62991"/>
                <a:gd name="connsiteX31" fmla="*/ 28976 w 25196"/>
                <a:gd name="connsiteY31" fmla="*/ 23937 h 62991"/>
                <a:gd name="connsiteX32" fmla="*/ 28976 w 25196"/>
                <a:gd name="connsiteY32" fmla="*/ 21417 h 62991"/>
                <a:gd name="connsiteX33" fmla="*/ 30236 w 25196"/>
                <a:gd name="connsiteY33" fmla="*/ 10079 h 62991"/>
                <a:gd name="connsiteX34" fmla="*/ 30236 w 25196"/>
                <a:gd name="connsiteY34" fmla="*/ 5039 h 62991"/>
                <a:gd name="connsiteX35" fmla="*/ 30236 w 25196"/>
                <a:gd name="connsiteY35" fmla="*/ 2520 h 62991"/>
                <a:gd name="connsiteX36" fmla="*/ 30236 w 25196"/>
                <a:gd name="connsiteY36" fmla="*/ 0 h 62991"/>
                <a:gd name="connsiteX37" fmla="*/ 30236 w 25196"/>
                <a:gd name="connsiteY37" fmla="*/ 1260 h 62991"/>
                <a:gd name="connsiteX38" fmla="*/ 22677 w 25196"/>
                <a:gd name="connsiteY38" fmla="*/ 3780 h 62991"/>
                <a:gd name="connsiteX39" fmla="*/ 22677 w 25196"/>
                <a:gd name="connsiteY39" fmla="*/ 3780 h 62991"/>
                <a:gd name="connsiteX40" fmla="*/ 22677 w 25196"/>
                <a:gd name="connsiteY40" fmla="*/ 378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5196" h="62991">
                  <a:moveTo>
                    <a:pt x="30236" y="1260"/>
                  </a:moveTo>
                  <a:cubicBezTo>
                    <a:pt x="30236" y="0"/>
                    <a:pt x="28976" y="0"/>
                    <a:pt x="27716" y="0"/>
                  </a:cubicBezTo>
                  <a:cubicBezTo>
                    <a:pt x="26456" y="0"/>
                    <a:pt x="26456" y="0"/>
                    <a:pt x="25196" y="0"/>
                  </a:cubicBezTo>
                  <a:cubicBezTo>
                    <a:pt x="22677" y="1260"/>
                    <a:pt x="22677" y="3780"/>
                    <a:pt x="22677" y="5039"/>
                  </a:cubicBezTo>
                  <a:cubicBezTo>
                    <a:pt x="22677" y="6299"/>
                    <a:pt x="22677" y="6299"/>
                    <a:pt x="22677" y="7559"/>
                  </a:cubicBezTo>
                  <a:cubicBezTo>
                    <a:pt x="22677" y="10079"/>
                    <a:pt x="22677" y="11339"/>
                    <a:pt x="22677" y="13858"/>
                  </a:cubicBezTo>
                  <a:cubicBezTo>
                    <a:pt x="22677" y="13858"/>
                    <a:pt x="22677" y="13858"/>
                    <a:pt x="22677" y="13858"/>
                  </a:cubicBezTo>
                  <a:cubicBezTo>
                    <a:pt x="22677" y="15118"/>
                    <a:pt x="22677" y="17638"/>
                    <a:pt x="21417" y="18897"/>
                  </a:cubicBezTo>
                  <a:cubicBezTo>
                    <a:pt x="21417" y="18897"/>
                    <a:pt x="21417" y="20157"/>
                    <a:pt x="21417" y="20157"/>
                  </a:cubicBezTo>
                  <a:cubicBezTo>
                    <a:pt x="18897" y="20157"/>
                    <a:pt x="16378" y="21417"/>
                    <a:pt x="15118" y="23937"/>
                  </a:cubicBezTo>
                  <a:cubicBezTo>
                    <a:pt x="15118" y="23937"/>
                    <a:pt x="15118" y="25196"/>
                    <a:pt x="13858" y="25196"/>
                  </a:cubicBezTo>
                  <a:cubicBezTo>
                    <a:pt x="12598" y="25196"/>
                    <a:pt x="11339" y="26456"/>
                    <a:pt x="10079" y="27716"/>
                  </a:cubicBezTo>
                  <a:cubicBezTo>
                    <a:pt x="8819" y="28976"/>
                    <a:pt x="7559" y="30236"/>
                    <a:pt x="7559" y="31496"/>
                  </a:cubicBezTo>
                  <a:cubicBezTo>
                    <a:pt x="6299" y="35275"/>
                    <a:pt x="5040" y="39055"/>
                    <a:pt x="3780" y="42834"/>
                  </a:cubicBezTo>
                  <a:cubicBezTo>
                    <a:pt x="2520" y="45354"/>
                    <a:pt x="1260" y="47873"/>
                    <a:pt x="1260" y="50393"/>
                  </a:cubicBezTo>
                  <a:cubicBezTo>
                    <a:pt x="0" y="51653"/>
                    <a:pt x="0" y="51653"/>
                    <a:pt x="0" y="52913"/>
                  </a:cubicBezTo>
                  <a:cubicBezTo>
                    <a:pt x="0" y="54172"/>
                    <a:pt x="0" y="56692"/>
                    <a:pt x="0" y="57952"/>
                  </a:cubicBezTo>
                  <a:cubicBezTo>
                    <a:pt x="0" y="59212"/>
                    <a:pt x="1260" y="60472"/>
                    <a:pt x="2520" y="61731"/>
                  </a:cubicBezTo>
                  <a:cubicBezTo>
                    <a:pt x="2520" y="61731"/>
                    <a:pt x="2520" y="61731"/>
                    <a:pt x="2520" y="61731"/>
                  </a:cubicBezTo>
                  <a:cubicBezTo>
                    <a:pt x="3780" y="62991"/>
                    <a:pt x="5040" y="64251"/>
                    <a:pt x="6299" y="64251"/>
                  </a:cubicBezTo>
                  <a:cubicBezTo>
                    <a:pt x="6299" y="64251"/>
                    <a:pt x="7559" y="64251"/>
                    <a:pt x="7559" y="64251"/>
                  </a:cubicBezTo>
                  <a:cubicBezTo>
                    <a:pt x="8819" y="65511"/>
                    <a:pt x="10079" y="66771"/>
                    <a:pt x="11339" y="66771"/>
                  </a:cubicBezTo>
                  <a:cubicBezTo>
                    <a:pt x="12598" y="66771"/>
                    <a:pt x="15118" y="66771"/>
                    <a:pt x="16378" y="66771"/>
                  </a:cubicBezTo>
                  <a:lnTo>
                    <a:pt x="18897" y="65511"/>
                  </a:lnTo>
                  <a:cubicBezTo>
                    <a:pt x="20157" y="64251"/>
                    <a:pt x="21417" y="64251"/>
                    <a:pt x="22677" y="61731"/>
                  </a:cubicBezTo>
                  <a:cubicBezTo>
                    <a:pt x="22677" y="60472"/>
                    <a:pt x="23937" y="60472"/>
                    <a:pt x="23937" y="59212"/>
                  </a:cubicBezTo>
                  <a:cubicBezTo>
                    <a:pt x="23937" y="59212"/>
                    <a:pt x="23937" y="57952"/>
                    <a:pt x="23937" y="57952"/>
                  </a:cubicBezTo>
                  <a:cubicBezTo>
                    <a:pt x="23937" y="56692"/>
                    <a:pt x="23937" y="55432"/>
                    <a:pt x="25196" y="54172"/>
                  </a:cubicBezTo>
                  <a:cubicBezTo>
                    <a:pt x="26456" y="51653"/>
                    <a:pt x="26456" y="49133"/>
                    <a:pt x="26456" y="45354"/>
                  </a:cubicBezTo>
                  <a:cubicBezTo>
                    <a:pt x="26456" y="42834"/>
                    <a:pt x="27716" y="39055"/>
                    <a:pt x="27716" y="36535"/>
                  </a:cubicBezTo>
                  <a:cubicBezTo>
                    <a:pt x="27716" y="32755"/>
                    <a:pt x="28976" y="30236"/>
                    <a:pt x="28976" y="26456"/>
                  </a:cubicBezTo>
                  <a:cubicBezTo>
                    <a:pt x="28976" y="25196"/>
                    <a:pt x="28976" y="25196"/>
                    <a:pt x="28976" y="23937"/>
                  </a:cubicBezTo>
                  <a:cubicBezTo>
                    <a:pt x="28976" y="22677"/>
                    <a:pt x="28976" y="22677"/>
                    <a:pt x="28976" y="21417"/>
                  </a:cubicBezTo>
                  <a:cubicBezTo>
                    <a:pt x="28976" y="17638"/>
                    <a:pt x="30236" y="13858"/>
                    <a:pt x="30236" y="10079"/>
                  </a:cubicBezTo>
                  <a:cubicBezTo>
                    <a:pt x="30236" y="8819"/>
                    <a:pt x="30236" y="6299"/>
                    <a:pt x="30236" y="5039"/>
                  </a:cubicBezTo>
                  <a:cubicBezTo>
                    <a:pt x="30236" y="3780"/>
                    <a:pt x="30236" y="3780"/>
                    <a:pt x="30236" y="2520"/>
                  </a:cubicBezTo>
                  <a:cubicBezTo>
                    <a:pt x="30236" y="1260"/>
                    <a:pt x="30236" y="1260"/>
                    <a:pt x="30236" y="0"/>
                  </a:cubicBezTo>
                  <a:cubicBezTo>
                    <a:pt x="30236" y="2520"/>
                    <a:pt x="30236" y="1260"/>
                    <a:pt x="30236" y="1260"/>
                  </a:cubicBezTo>
                  <a:moveTo>
                    <a:pt x="22677" y="3780"/>
                  </a:moveTo>
                  <a:cubicBezTo>
                    <a:pt x="22677" y="3780"/>
                    <a:pt x="22677" y="3780"/>
                    <a:pt x="22677" y="3780"/>
                  </a:cubicBezTo>
                  <a:cubicBezTo>
                    <a:pt x="22677" y="3780"/>
                    <a:pt x="22677" y="3780"/>
                    <a:pt x="22677" y="378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4" name="任意多边形: 形状 10243"/>
            <p:cNvSpPr/>
            <p:nvPr/>
          </p:nvSpPr>
          <p:spPr>
            <a:xfrm>
              <a:off x="4813240" y="2297678"/>
              <a:ext cx="403143" cy="390545"/>
            </a:xfrm>
            <a:custGeom>
              <a:avLst/>
              <a:gdLst>
                <a:gd name="connsiteX0" fmla="*/ 200312 w 403143"/>
                <a:gd name="connsiteY0" fmla="*/ 0 h 390545"/>
                <a:gd name="connsiteX1" fmla="*/ 200312 w 403143"/>
                <a:gd name="connsiteY1" fmla="*/ 0 h 390545"/>
                <a:gd name="connsiteX2" fmla="*/ 214170 w 403143"/>
                <a:gd name="connsiteY2" fmla="*/ 2520 h 390545"/>
                <a:gd name="connsiteX3" fmla="*/ 219209 w 403143"/>
                <a:gd name="connsiteY3" fmla="*/ 3780 h 390545"/>
                <a:gd name="connsiteX4" fmla="*/ 229288 w 403143"/>
                <a:gd name="connsiteY4" fmla="*/ 5039 h 390545"/>
                <a:gd name="connsiteX5" fmla="*/ 245666 w 403143"/>
                <a:gd name="connsiteY5" fmla="*/ 11338 h 390545"/>
                <a:gd name="connsiteX6" fmla="*/ 254484 w 403143"/>
                <a:gd name="connsiteY6" fmla="*/ 16378 h 390545"/>
                <a:gd name="connsiteX7" fmla="*/ 273382 w 403143"/>
                <a:gd name="connsiteY7" fmla="*/ 30236 h 390545"/>
                <a:gd name="connsiteX8" fmla="*/ 277161 w 403143"/>
                <a:gd name="connsiteY8" fmla="*/ 32755 h 390545"/>
                <a:gd name="connsiteX9" fmla="*/ 280941 w 403143"/>
                <a:gd name="connsiteY9" fmla="*/ 36535 h 390545"/>
                <a:gd name="connsiteX10" fmla="*/ 284720 w 403143"/>
                <a:gd name="connsiteY10" fmla="*/ 40314 h 390545"/>
                <a:gd name="connsiteX11" fmla="*/ 289759 w 403143"/>
                <a:gd name="connsiteY11" fmla="*/ 47873 h 390545"/>
                <a:gd name="connsiteX12" fmla="*/ 291019 w 403143"/>
                <a:gd name="connsiteY12" fmla="*/ 49133 h 390545"/>
                <a:gd name="connsiteX13" fmla="*/ 291019 w 403143"/>
                <a:gd name="connsiteY13" fmla="*/ 49133 h 390545"/>
                <a:gd name="connsiteX14" fmla="*/ 297318 w 403143"/>
                <a:gd name="connsiteY14" fmla="*/ 52913 h 390545"/>
                <a:gd name="connsiteX15" fmla="*/ 313696 w 403143"/>
                <a:gd name="connsiteY15" fmla="*/ 50393 h 390545"/>
                <a:gd name="connsiteX16" fmla="*/ 323775 w 403143"/>
                <a:gd name="connsiteY16" fmla="*/ 50393 h 390545"/>
                <a:gd name="connsiteX17" fmla="*/ 325035 w 403143"/>
                <a:gd name="connsiteY17" fmla="*/ 50393 h 390545"/>
                <a:gd name="connsiteX18" fmla="*/ 325035 w 403143"/>
                <a:gd name="connsiteY18" fmla="*/ 50393 h 390545"/>
                <a:gd name="connsiteX19" fmla="*/ 332593 w 403143"/>
                <a:gd name="connsiteY19" fmla="*/ 51653 h 390545"/>
                <a:gd name="connsiteX20" fmla="*/ 337633 w 403143"/>
                <a:gd name="connsiteY20" fmla="*/ 52913 h 390545"/>
                <a:gd name="connsiteX21" fmla="*/ 350231 w 403143"/>
                <a:gd name="connsiteY21" fmla="*/ 57952 h 390545"/>
                <a:gd name="connsiteX22" fmla="*/ 360310 w 403143"/>
                <a:gd name="connsiteY22" fmla="*/ 64251 h 390545"/>
                <a:gd name="connsiteX23" fmla="*/ 376687 w 403143"/>
                <a:gd name="connsiteY23" fmla="*/ 79369 h 390545"/>
                <a:gd name="connsiteX24" fmla="*/ 389285 w 403143"/>
                <a:gd name="connsiteY24" fmla="*/ 98266 h 390545"/>
                <a:gd name="connsiteX25" fmla="*/ 394325 w 403143"/>
                <a:gd name="connsiteY25" fmla="*/ 110864 h 390545"/>
                <a:gd name="connsiteX26" fmla="*/ 398104 w 403143"/>
                <a:gd name="connsiteY26" fmla="*/ 120943 h 390545"/>
                <a:gd name="connsiteX27" fmla="*/ 403143 w 403143"/>
                <a:gd name="connsiteY27" fmla="*/ 144880 h 390545"/>
                <a:gd name="connsiteX28" fmla="*/ 405663 w 403143"/>
                <a:gd name="connsiteY28" fmla="*/ 173856 h 390545"/>
                <a:gd name="connsiteX29" fmla="*/ 405663 w 403143"/>
                <a:gd name="connsiteY29" fmla="*/ 176375 h 390545"/>
                <a:gd name="connsiteX30" fmla="*/ 405663 w 403143"/>
                <a:gd name="connsiteY30" fmla="*/ 177635 h 390545"/>
                <a:gd name="connsiteX31" fmla="*/ 405663 w 403143"/>
                <a:gd name="connsiteY31" fmla="*/ 191493 h 390545"/>
                <a:gd name="connsiteX32" fmla="*/ 404403 w 403143"/>
                <a:gd name="connsiteY32" fmla="*/ 207871 h 390545"/>
                <a:gd name="connsiteX33" fmla="*/ 404403 w 403143"/>
                <a:gd name="connsiteY33" fmla="*/ 207871 h 390545"/>
                <a:gd name="connsiteX34" fmla="*/ 400624 w 403143"/>
                <a:gd name="connsiteY34" fmla="*/ 229288 h 390545"/>
                <a:gd name="connsiteX35" fmla="*/ 396844 w 403143"/>
                <a:gd name="connsiteY35" fmla="*/ 244406 h 390545"/>
                <a:gd name="connsiteX36" fmla="*/ 395584 w 403143"/>
                <a:gd name="connsiteY36" fmla="*/ 249445 h 390545"/>
                <a:gd name="connsiteX37" fmla="*/ 390545 w 403143"/>
                <a:gd name="connsiteY37" fmla="*/ 268342 h 390545"/>
                <a:gd name="connsiteX38" fmla="*/ 381727 w 403143"/>
                <a:gd name="connsiteY38" fmla="*/ 288500 h 390545"/>
                <a:gd name="connsiteX39" fmla="*/ 381727 w 403143"/>
                <a:gd name="connsiteY39" fmla="*/ 288500 h 390545"/>
                <a:gd name="connsiteX40" fmla="*/ 379207 w 403143"/>
                <a:gd name="connsiteY40" fmla="*/ 294799 h 390545"/>
                <a:gd name="connsiteX41" fmla="*/ 377947 w 403143"/>
                <a:gd name="connsiteY41" fmla="*/ 298578 h 390545"/>
                <a:gd name="connsiteX42" fmla="*/ 374168 w 403143"/>
                <a:gd name="connsiteY42" fmla="*/ 308657 h 390545"/>
                <a:gd name="connsiteX43" fmla="*/ 370388 w 403143"/>
                <a:gd name="connsiteY43" fmla="*/ 317475 h 390545"/>
                <a:gd name="connsiteX44" fmla="*/ 370388 w 403143"/>
                <a:gd name="connsiteY44" fmla="*/ 318735 h 390545"/>
                <a:gd name="connsiteX45" fmla="*/ 360310 w 403143"/>
                <a:gd name="connsiteY45" fmla="*/ 337633 h 390545"/>
                <a:gd name="connsiteX46" fmla="*/ 360310 w 403143"/>
                <a:gd name="connsiteY46" fmla="*/ 337633 h 390545"/>
                <a:gd name="connsiteX47" fmla="*/ 359050 w 403143"/>
                <a:gd name="connsiteY47" fmla="*/ 338893 h 390545"/>
                <a:gd name="connsiteX48" fmla="*/ 348971 w 403143"/>
                <a:gd name="connsiteY48" fmla="*/ 356530 h 390545"/>
                <a:gd name="connsiteX49" fmla="*/ 336373 w 403143"/>
                <a:gd name="connsiteY49" fmla="*/ 374167 h 390545"/>
                <a:gd name="connsiteX50" fmla="*/ 327554 w 403143"/>
                <a:gd name="connsiteY50" fmla="*/ 382986 h 390545"/>
                <a:gd name="connsiteX51" fmla="*/ 322515 w 403143"/>
                <a:gd name="connsiteY51" fmla="*/ 388026 h 390545"/>
                <a:gd name="connsiteX52" fmla="*/ 321255 w 403143"/>
                <a:gd name="connsiteY52" fmla="*/ 389286 h 390545"/>
                <a:gd name="connsiteX53" fmla="*/ 314956 w 403143"/>
                <a:gd name="connsiteY53" fmla="*/ 394325 h 390545"/>
                <a:gd name="connsiteX54" fmla="*/ 314956 w 403143"/>
                <a:gd name="connsiteY54" fmla="*/ 394325 h 390545"/>
                <a:gd name="connsiteX55" fmla="*/ 314956 w 403143"/>
                <a:gd name="connsiteY55" fmla="*/ 394325 h 390545"/>
                <a:gd name="connsiteX56" fmla="*/ 314956 w 403143"/>
                <a:gd name="connsiteY56" fmla="*/ 394325 h 390545"/>
                <a:gd name="connsiteX57" fmla="*/ 314956 w 403143"/>
                <a:gd name="connsiteY57" fmla="*/ 394325 h 390545"/>
                <a:gd name="connsiteX58" fmla="*/ 314956 w 403143"/>
                <a:gd name="connsiteY58" fmla="*/ 393065 h 390545"/>
                <a:gd name="connsiteX59" fmla="*/ 314956 w 403143"/>
                <a:gd name="connsiteY59" fmla="*/ 391805 h 390545"/>
                <a:gd name="connsiteX60" fmla="*/ 318736 w 403143"/>
                <a:gd name="connsiteY60" fmla="*/ 371648 h 390545"/>
                <a:gd name="connsiteX61" fmla="*/ 318736 w 403143"/>
                <a:gd name="connsiteY61" fmla="*/ 366609 h 390545"/>
                <a:gd name="connsiteX62" fmla="*/ 318736 w 403143"/>
                <a:gd name="connsiteY62" fmla="*/ 366609 h 390545"/>
                <a:gd name="connsiteX63" fmla="*/ 319995 w 403143"/>
                <a:gd name="connsiteY63" fmla="*/ 354010 h 390545"/>
                <a:gd name="connsiteX64" fmla="*/ 321255 w 403143"/>
                <a:gd name="connsiteY64" fmla="*/ 338893 h 390545"/>
                <a:gd name="connsiteX65" fmla="*/ 321255 w 403143"/>
                <a:gd name="connsiteY65" fmla="*/ 338893 h 390545"/>
                <a:gd name="connsiteX66" fmla="*/ 323775 w 403143"/>
                <a:gd name="connsiteY66" fmla="*/ 317475 h 390545"/>
                <a:gd name="connsiteX67" fmla="*/ 323775 w 403143"/>
                <a:gd name="connsiteY67" fmla="*/ 312436 h 390545"/>
                <a:gd name="connsiteX68" fmla="*/ 325035 w 403143"/>
                <a:gd name="connsiteY68" fmla="*/ 299838 h 390545"/>
                <a:gd name="connsiteX69" fmla="*/ 325035 w 403143"/>
                <a:gd name="connsiteY69" fmla="*/ 293539 h 390545"/>
                <a:gd name="connsiteX70" fmla="*/ 325035 w 403143"/>
                <a:gd name="connsiteY70" fmla="*/ 283460 h 390545"/>
                <a:gd name="connsiteX71" fmla="*/ 325035 w 403143"/>
                <a:gd name="connsiteY71" fmla="*/ 280941 h 390545"/>
                <a:gd name="connsiteX72" fmla="*/ 325035 w 403143"/>
                <a:gd name="connsiteY72" fmla="*/ 279681 h 390545"/>
                <a:gd name="connsiteX73" fmla="*/ 325035 w 403143"/>
                <a:gd name="connsiteY73" fmla="*/ 278421 h 390545"/>
                <a:gd name="connsiteX74" fmla="*/ 325035 w 403143"/>
                <a:gd name="connsiteY74" fmla="*/ 278421 h 390545"/>
                <a:gd name="connsiteX75" fmla="*/ 325035 w 403143"/>
                <a:gd name="connsiteY75" fmla="*/ 278421 h 390545"/>
                <a:gd name="connsiteX76" fmla="*/ 325035 w 403143"/>
                <a:gd name="connsiteY76" fmla="*/ 278421 h 390545"/>
                <a:gd name="connsiteX77" fmla="*/ 325035 w 403143"/>
                <a:gd name="connsiteY77" fmla="*/ 278421 h 390545"/>
                <a:gd name="connsiteX78" fmla="*/ 325035 w 403143"/>
                <a:gd name="connsiteY78" fmla="*/ 278421 h 390545"/>
                <a:gd name="connsiteX79" fmla="*/ 325035 w 403143"/>
                <a:gd name="connsiteY79" fmla="*/ 278421 h 390545"/>
                <a:gd name="connsiteX80" fmla="*/ 326294 w 403143"/>
                <a:gd name="connsiteY80" fmla="*/ 268342 h 390545"/>
                <a:gd name="connsiteX81" fmla="*/ 327554 w 403143"/>
                <a:gd name="connsiteY81" fmla="*/ 260783 h 390545"/>
                <a:gd name="connsiteX82" fmla="*/ 327554 w 403143"/>
                <a:gd name="connsiteY82" fmla="*/ 257004 h 390545"/>
                <a:gd name="connsiteX83" fmla="*/ 325035 w 403143"/>
                <a:gd name="connsiteY83" fmla="*/ 255744 h 390545"/>
                <a:gd name="connsiteX84" fmla="*/ 319995 w 403143"/>
                <a:gd name="connsiteY84" fmla="*/ 254484 h 390545"/>
                <a:gd name="connsiteX85" fmla="*/ 318736 w 403143"/>
                <a:gd name="connsiteY85" fmla="*/ 254484 h 390545"/>
                <a:gd name="connsiteX86" fmla="*/ 318736 w 403143"/>
                <a:gd name="connsiteY86" fmla="*/ 254484 h 390545"/>
                <a:gd name="connsiteX87" fmla="*/ 318736 w 403143"/>
                <a:gd name="connsiteY87" fmla="*/ 254484 h 390545"/>
                <a:gd name="connsiteX88" fmla="*/ 318736 w 403143"/>
                <a:gd name="connsiteY88" fmla="*/ 254484 h 390545"/>
                <a:gd name="connsiteX89" fmla="*/ 317476 w 403143"/>
                <a:gd name="connsiteY89" fmla="*/ 254484 h 390545"/>
                <a:gd name="connsiteX90" fmla="*/ 309917 w 403143"/>
                <a:gd name="connsiteY90" fmla="*/ 251965 h 390545"/>
                <a:gd name="connsiteX91" fmla="*/ 299838 w 403143"/>
                <a:gd name="connsiteY91" fmla="*/ 246925 h 390545"/>
                <a:gd name="connsiteX92" fmla="*/ 299838 w 403143"/>
                <a:gd name="connsiteY92" fmla="*/ 246925 h 390545"/>
                <a:gd name="connsiteX93" fmla="*/ 296058 w 403143"/>
                <a:gd name="connsiteY93" fmla="*/ 245666 h 390545"/>
                <a:gd name="connsiteX94" fmla="*/ 288499 w 403143"/>
                <a:gd name="connsiteY94" fmla="*/ 243146 h 390545"/>
                <a:gd name="connsiteX95" fmla="*/ 273382 w 403143"/>
                <a:gd name="connsiteY95" fmla="*/ 236847 h 390545"/>
                <a:gd name="connsiteX96" fmla="*/ 262043 w 403143"/>
                <a:gd name="connsiteY96" fmla="*/ 229288 h 390545"/>
                <a:gd name="connsiteX97" fmla="*/ 255744 w 403143"/>
                <a:gd name="connsiteY97" fmla="*/ 224249 h 390545"/>
                <a:gd name="connsiteX98" fmla="*/ 244406 w 403143"/>
                <a:gd name="connsiteY98" fmla="*/ 214170 h 390545"/>
                <a:gd name="connsiteX99" fmla="*/ 241886 w 403143"/>
                <a:gd name="connsiteY99" fmla="*/ 210390 h 390545"/>
                <a:gd name="connsiteX100" fmla="*/ 241886 w 403143"/>
                <a:gd name="connsiteY100" fmla="*/ 210390 h 390545"/>
                <a:gd name="connsiteX101" fmla="*/ 239366 w 403143"/>
                <a:gd name="connsiteY101" fmla="*/ 206611 h 390545"/>
                <a:gd name="connsiteX102" fmla="*/ 239366 w 403143"/>
                <a:gd name="connsiteY102" fmla="*/ 205351 h 390545"/>
                <a:gd name="connsiteX103" fmla="*/ 234327 w 403143"/>
                <a:gd name="connsiteY103" fmla="*/ 194013 h 390545"/>
                <a:gd name="connsiteX104" fmla="*/ 233067 w 403143"/>
                <a:gd name="connsiteY104" fmla="*/ 192753 h 390545"/>
                <a:gd name="connsiteX105" fmla="*/ 231807 w 403143"/>
                <a:gd name="connsiteY105" fmla="*/ 194013 h 390545"/>
                <a:gd name="connsiteX106" fmla="*/ 230548 w 403143"/>
                <a:gd name="connsiteY106" fmla="*/ 195273 h 390545"/>
                <a:gd name="connsiteX107" fmla="*/ 226768 w 403143"/>
                <a:gd name="connsiteY107" fmla="*/ 200312 h 390545"/>
                <a:gd name="connsiteX108" fmla="*/ 219209 w 403143"/>
                <a:gd name="connsiteY108" fmla="*/ 207871 h 390545"/>
                <a:gd name="connsiteX109" fmla="*/ 210391 w 403143"/>
                <a:gd name="connsiteY109" fmla="*/ 215430 h 390545"/>
                <a:gd name="connsiteX110" fmla="*/ 191493 w 403143"/>
                <a:gd name="connsiteY110" fmla="*/ 226768 h 390545"/>
                <a:gd name="connsiteX111" fmla="*/ 173856 w 403143"/>
                <a:gd name="connsiteY111" fmla="*/ 235587 h 390545"/>
                <a:gd name="connsiteX112" fmla="*/ 173856 w 403143"/>
                <a:gd name="connsiteY112" fmla="*/ 235587 h 390545"/>
                <a:gd name="connsiteX113" fmla="*/ 172596 w 403143"/>
                <a:gd name="connsiteY113" fmla="*/ 235587 h 390545"/>
                <a:gd name="connsiteX114" fmla="*/ 172596 w 403143"/>
                <a:gd name="connsiteY114" fmla="*/ 235587 h 390545"/>
                <a:gd name="connsiteX115" fmla="*/ 171336 w 403143"/>
                <a:gd name="connsiteY115" fmla="*/ 235587 h 390545"/>
                <a:gd name="connsiteX116" fmla="*/ 171336 w 403143"/>
                <a:gd name="connsiteY116" fmla="*/ 235587 h 390545"/>
                <a:gd name="connsiteX117" fmla="*/ 171336 w 403143"/>
                <a:gd name="connsiteY117" fmla="*/ 235587 h 390545"/>
                <a:gd name="connsiteX118" fmla="*/ 171336 w 403143"/>
                <a:gd name="connsiteY118" fmla="*/ 235587 h 390545"/>
                <a:gd name="connsiteX119" fmla="*/ 172596 w 403143"/>
                <a:gd name="connsiteY119" fmla="*/ 235587 h 390545"/>
                <a:gd name="connsiteX120" fmla="*/ 152439 w 403143"/>
                <a:gd name="connsiteY120" fmla="*/ 243146 h 390545"/>
                <a:gd name="connsiteX121" fmla="*/ 131022 w 403143"/>
                <a:gd name="connsiteY121" fmla="*/ 248185 h 390545"/>
                <a:gd name="connsiteX122" fmla="*/ 109605 w 403143"/>
                <a:gd name="connsiteY122" fmla="*/ 249445 h 390545"/>
                <a:gd name="connsiteX123" fmla="*/ 109605 w 403143"/>
                <a:gd name="connsiteY123" fmla="*/ 249445 h 390545"/>
                <a:gd name="connsiteX124" fmla="*/ 97007 w 403143"/>
                <a:gd name="connsiteY124" fmla="*/ 249445 h 390545"/>
                <a:gd name="connsiteX125" fmla="*/ 86928 w 403143"/>
                <a:gd name="connsiteY125" fmla="*/ 248185 h 390545"/>
                <a:gd name="connsiteX126" fmla="*/ 81889 w 403143"/>
                <a:gd name="connsiteY126" fmla="*/ 246925 h 390545"/>
                <a:gd name="connsiteX127" fmla="*/ 80629 w 403143"/>
                <a:gd name="connsiteY127" fmla="*/ 246925 h 390545"/>
                <a:gd name="connsiteX128" fmla="*/ 69290 w 403143"/>
                <a:gd name="connsiteY128" fmla="*/ 246925 h 390545"/>
                <a:gd name="connsiteX129" fmla="*/ 66771 w 403143"/>
                <a:gd name="connsiteY129" fmla="*/ 246925 h 390545"/>
                <a:gd name="connsiteX130" fmla="*/ 61731 w 403143"/>
                <a:gd name="connsiteY130" fmla="*/ 246925 h 390545"/>
                <a:gd name="connsiteX131" fmla="*/ 60472 w 403143"/>
                <a:gd name="connsiteY131" fmla="*/ 246925 h 390545"/>
                <a:gd name="connsiteX132" fmla="*/ 59212 w 403143"/>
                <a:gd name="connsiteY132" fmla="*/ 246925 h 390545"/>
                <a:gd name="connsiteX133" fmla="*/ 50393 w 403143"/>
                <a:gd name="connsiteY133" fmla="*/ 244406 h 390545"/>
                <a:gd name="connsiteX134" fmla="*/ 31496 w 403143"/>
                <a:gd name="connsiteY134" fmla="*/ 235587 h 390545"/>
                <a:gd name="connsiteX135" fmla="*/ 25196 w 403143"/>
                <a:gd name="connsiteY135" fmla="*/ 231808 h 390545"/>
                <a:gd name="connsiteX136" fmla="*/ 22677 w 403143"/>
                <a:gd name="connsiteY136" fmla="*/ 229288 h 390545"/>
                <a:gd name="connsiteX137" fmla="*/ 22677 w 403143"/>
                <a:gd name="connsiteY137" fmla="*/ 229288 h 390545"/>
                <a:gd name="connsiteX138" fmla="*/ 20157 w 403143"/>
                <a:gd name="connsiteY138" fmla="*/ 228028 h 390545"/>
                <a:gd name="connsiteX139" fmla="*/ 13858 w 403143"/>
                <a:gd name="connsiteY139" fmla="*/ 220469 h 390545"/>
                <a:gd name="connsiteX140" fmla="*/ 8819 w 403143"/>
                <a:gd name="connsiteY140" fmla="*/ 212910 h 390545"/>
                <a:gd name="connsiteX141" fmla="*/ 2520 w 403143"/>
                <a:gd name="connsiteY141" fmla="*/ 197792 h 390545"/>
                <a:gd name="connsiteX142" fmla="*/ 0 w 403143"/>
                <a:gd name="connsiteY142" fmla="*/ 185194 h 390545"/>
                <a:gd name="connsiteX143" fmla="*/ 0 w 403143"/>
                <a:gd name="connsiteY143" fmla="*/ 183934 h 390545"/>
                <a:gd name="connsiteX144" fmla="*/ 0 w 403143"/>
                <a:gd name="connsiteY144" fmla="*/ 180155 h 390545"/>
                <a:gd name="connsiteX145" fmla="*/ 0 w 403143"/>
                <a:gd name="connsiteY145" fmla="*/ 178895 h 390545"/>
                <a:gd name="connsiteX146" fmla="*/ 0 w 403143"/>
                <a:gd name="connsiteY146" fmla="*/ 170076 h 390545"/>
                <a:gd name="connsiteX147" fmla="*/ 0 w 403143"/>
                <a:gd name="connsiteY147" fmla="*/ 168816 h 390545"/>
                <a:gd name="connsiteX148" fmla="*/ 0 w 403143"/>
                <a:gd name="connsiteY148" fmla="*/ 168816 h 390545"/>
                <a:gd name="connsiteX149" fmla="*/ 0 w 403143"/>
                <a:gd name="connsiteY149" fmla="*/ 165037 h 390545"/>
                <a:gd name="connsiteX150" fmla="*/ 0 w 403143"/>
                <a:gd name="connsiteY150" fmla="*/ 158738 h 390545"/>
                <a:gd name="connsiteX151" fmla="*/ 1260 w 403143"/>
                <a:gd name="connsiteY151" fmla="*/ 147399 h 390545"/>
                <a:gd name="connsiteX152" fmla="*/ 1260 w 403143"/>
                <a:gd name="connsiteY152" fmla="*/ 146140 h 390545"/>
                <a:gd name="connsiteX153" fmla="*/ 2520 w 403143"/>
                <a:gd name="connsiteY153" fmla="*/ 136061 h 390545"/>
                <a:gd name="connsiteX154" fmla="*/ 5039 w 403143"/>
                <a:gd name="connsiteY154" fmla="*/ 125982 h 390545"/>
                <a:gd name="connsiteX155" fmla="*/ 8819 w 403143"/>
                <a:gd name="connsiteY155" fmla="*/ 115904 h 390545"/>
                <a:gd name="connsiteX156" fmla="*/ 13858 w 403143"/>
                <a:gd name="connsiteY156" fmla="*/ 107085 h 390545"/>
                <a:gd name="connsiteX157" fmla="*/ 26456 w 403143"/>
                <a:gd name="connsiteY157" fmla="*/ 88188 h 390545"/>
                <a:gd name="connsiteX158" fmla="*/ 32755 w 403143"/>
                <a:gd name="connsiteY158" fmla="*/ 79369 h 390545"/>
                <a:gd name="connsiteX159" fmla="*/ 39055 w 403143"/>
                <a:gd name="connsiteY159" fmla="*/ 73070 h 390545"/>
                <a:gd name="connsiteX160" fmla="*/ 39055 w 403143"/>
                <a:gd name="connsiteY160" fmla="*/ 73070 h 390545"/>
                <a:gd name="connsiteX161" fmla="*/ 39055 w 403143"/>
                <a:gd name="connsiteY161" fmla="*/ 73070 h 390545"/>
                <a:gd name="connsiteX162" fmla="*/ 46614 w 403143"/>
                <a:gd name="connsiteY162" fmla="*/ 65511 h 390545"/>
                <a:gd name="connsiteX163" fmla="*/ 66771 w 403143"/>
                <a:gd name="connsiteY163" fmla="*/ 49133 h 390545"/>
                <a:gd name="connsiteX164" fmla="*/ 69290 w 403143"/>
                <a:gd name="connsiteY164" fmla="*/ 47873 h 390545"/>
                <a:gd name="connsiteX165" fmla="*/ 75589 w 403143"/>
                <a:gd name="connsiteY165" fmla="*/ 42834 h 390545"/>
                <a:gd name="connsiteX166" fmla="*/ 78109 w 403143"/>
                <a:gd name="connsiteY166" fmla="*/ 41574 h 390545"/>
                <a:gd name="connsiteX167" fmla="*/ 78109 w 403143"/>
                <a:gd name="connsiteY167" fmla="*/ 41574 h 390545"/>
                <a:gd name="connsiteX168" fmla="*/ 84408 w 403143"/>
                <a:gd name="connsiteY168" fmla="*/ 36535 h 390545"/>
                <a:gd name="connsiteX169" fmla="*/ 85668 w 403143"/>
                <a:gd name="connsiteY169" fmla="*/ 36535 h 390545"/>
                <a:gd name="connsiteX170" fmla="*/ 94487 w 403143"/>
                <a:gd name="connsiteY170" fmla="*/ 31496 h 390545"/>
                <a:gd name="connsiteX171" fmla="*/ 103306 w 403143"/>
                <a:gd name="connsiteY171" fmla="*/ 26456 h 390545"/>
                <a:gd name="connsiteX172" fmla="*/ 124722 w 403143"/>
                <a:gd name="connsiteY172" fmla="*/ 17638 h 390545"/>
                <a:gd name="connsiteX173" fmla="*/ 131022 w 403143"/>
                <a:gd name="connsiteY173" fmla="*/ 16378 h 390545"/>
                <a:gd name="connsiteX174" fmla="*/ 132281 w 403143"/>
                <a:gd name="connsiteY174" fmla="*/ 16378 h 390545"/>
                <a:gd name="connsiteX175" fmla="*/ 134801 w 403143"/>
                <a:gd name="connsiteY175" fmla="*/ 15118 h 390545"/>
                <a:gd name="connsiteX176" fmla="*/ 144880 w 403143"/>
                <a:gd name="connsiteY176" fmla="*/ 12598 h 390545"/>
                <a:gd name="connsiteX177" fmla="*/ 168816 w 403143"/>
                <a:gd name="connsiteY177" fmla="*/ 8819 h 390545"/>
                <a:gd name="connsiteX178" fmla="*/ 175115 w 403143"/>
                <a:gd name="connsiteY178" fmla="*/ 8819 h 390545"/>
                <a:gd name="connsiteX179" fmla="*/ 175115 w 403143"/>
                <a:gd name="connsiteY179" fmla="*/ 8819 h 390545"/>
                <a:gd name="connsiteX180" fmla="*/ 177635 w 403143"/>
                <a:gd name="connsiteY180" fmla="*/ 8819 h 390545"/>
                <a:gd name="connsiteX181" fmla="*/ 187714 w 403143"/>
                <a:gd name="connsiteY181" fmla="*/ 8819 h 390545"/>
                <a:gd name="connsiteX182" fmla="*/ 200312 w 403143"/>
                <a:gd name="connsiteY182" fmla="*/ 0 h 39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403143" h="390545">
                  <a:moveTo>
                    <a:pt x="200312" y="0"/>
                  </a:moveTo>
                  <a:cubicBezTo>
                    <a:pt x="201572" y="0"/>
                    <a:pt x="201572" y="0"/>
                    <a:pt x="200312" y="0"/>
                  </a:cubicBezTo>
                  <a:cubicBezTo>
                    <a:pt x="205351" y="0"/>
                    <a:pt x="209131" y="1260"/>
                    <a:pt x="214170" y="2520"/>
                  </a:cubicBezTo>
                  <a:cubicBezTo>
                    <a:pt x="215430" y="2520"/>
                    <a:pt x="216690" y="3780"/>
                    <a:pt x="219209" y="3780"/>
                  </a:cubicBezTo>
                  <a:cubicBezTo>
                    <a:pt x="222989" y="3780"/>
                    <a:pt x="226768" y="5039"/>
                    <a:pt x="229288" y="5039"/>
                  </a:cubicBezTo>
                  <a:cubicBezTo>
                    <a:pt x="235587" y="6299"/>
                    <a:pt x="240626" y="8819"/>
                    <a:pt x="245666" y="11338"/>
                  </a:cubicBezTo>
                  <a:cubicBezTo>
                    <a:pt x="249445" y="12598"/>
                    <a:pt x="251965" y="15118"/>
                    <a:pt x="254484" y="16378"/>
                  </a:cubicBezTo>
                  <a:cubicBezTo>
                    <a:pt x="262043" y="20157"/>
                    <a:pt x="267083" y="25196"/>
                    <a:pt x="273382" y="30236"/>
                  </a:cubicBezTo>
                  <a:cubicBezTo>
                    <a:pt x="274642" y="31496"/>
                    <a:pt x="275901" y="32755"/>
                    <a:pt x="277161" y="32755"/>
                  </a:cubicBezTo>
                  <a:cubicBezTo>
                    <a:pt x="278421" y="34015"/>
                    <a:pt x="279681" y="35275"/>
                    <a:pt x="280941" y="36535"/>
                  </a:cubicBezTo>
                  <a:cubicBezTo>
                    <a:pt x="282200" y="37795"/>
                    <a:pt x="283460" y="39055"/>
                    <a:pt x="284720" y="40314"/>
                  </a:cubicBezTo>
                  <a:cubicBezTo>
                    <a:pt x="287240" y="42834"/>
                    <a:pt x="288499" y="45354"/>
                    <a:pt x="289759" y="47873"/>
                  </a:cubicBezTo>
                  <a:lnTo>
                    <a:pt x="291019" y="49133"/>
                  </a:lnTo>
                  <a:lnTo>
                    <a:pt x="291019" y="49133"/>
                  </a:lnTo>
                  <a:cubicBezTo>
                    <a:pt x="293539" y="50393"/>
                    <a:pt x="296058" y="51653"/>
                    <a:pt x="297318" y="52913"/>
                  </a:cubicBezTo>
                  <a:cubicBezTo>
                    <a:pt x="303617" y="51653"/>
                    <a:pt x="308657" y="50393"/>
                    <a:pt x="313696" y="50393"/>
                  </a:cubicBezTo>
                  <a:cubicBezTo>
                    <a:pt x="317476" y="50393"/>
                    <a:pt x="319995" y="50393"/>
                    <a:pt x="323775" y="50393"/>
                  </a:cubicBezTo>
                  <a:cubicBezTo>
                    <a:pt x="323775" y="50393"/>
                    <a:pt x="323775" y="50393"/>
                    <a:pt x="325035" y="50393"/>
                  </a:cubicBezTo>
                  <a:lnTo>
                    <a:pt x="325035" y="50393"/>
                  </a:lnTo>
                  <a:cubicBezTo>
                    <a:pt x="327554" y="50393"/>
                    <a:pt x="330074" y="50393"/>
                    <a:pt x="332593" y="51653"/>
                  </a:cubicBezTo>
                  <a:cubicBezTo>
                    <a:pt x="333853" y="51653"/>
                    <a:pt x="336373" y="52913"/>
                    <a:pt x="337633" y="52913"/>
                  </a:cubicBezTo>
                  <a:cubicBezTo>
                    <a:pt x="341412" y="54172"/>
                    <a:pt x="346451" y="55432"/>
                    <a:pt x="350231" y="57952"/>
                  </a:cubicBezTo>
                  <a:cubicBezTo>
                    <a:pt x="354010" y="59212"/>
                    <a:pt x="356530" y="61731"/>
                    <a:pt x="360310" y="64251"/>
                  </a:cubicBezTo>
                  <a:cubicBezTo>
                    <a:pt x="365349" y="68031"/>
                    <a:pt x="370388" y="73070"/>
                    <a:pt x="376687" y="79369"/>
                  </a:cubicBezTo>
                  <a:cubicBezTo>
                    <a:pt x="382986" y="85668"/>
                    <a:pt x="386766" y="91967"/>
                    <a:pt x="389285" y="98266"/>
                  </a:cubicBezTo>
                  <a:cubicBezTo>
                    <a:pt x="391805" y="103305"/>
                    <a:pt x="393065" y="107085"/>
                    <a:pt x="394325" y="110864"/>
                  </a:cubicBezTo>
                  <a:cubicBezTo>
                    <a:pt x="395584" y="114644"/>
                    <a:pt x="396844" y="118424"/>
                    <a:pt x="398104" y="120943"/>
                  </a:cubicBezTo>
                  <a:cubicBezTo>
                    <a:pt x="400624" y="127242"/>
                    <a:pt x="401884" y="134801"/>
                    <a:pt x="403143" y="144880"/>
                  </a:cubicBezTo>
                  <a:cubicBezTo>
                    <a:pt x="404403" y="154958"/>
                    <a:pt x="404403" y="163777"/>
                    <a:pt x="405663" y="173856"/>
                  </a:cubicBezTo>
                  <a:lnTo>
                    <a:pt x="405663" y="176375"/>
                  </a:lnTo>
                  <a:lnTo>
                    <a:pt x="405663" y="177635"/>
                  </a:lnTo>
                  <a:cubicBezTo>
                    <a:pt x="405663" y="182674"/>
                    <a:pt x="405663" y="187714"/>
                    <a:pt x="405663" y="191493"/>
                  </a:cubicBezTo>
                  <a:cubicBezTo>
                    <a:pt x="405663" y="196533"/>
                    <a:pt x="405663" y="201572"/>
                    <a:pt x="404403" y="207871"/>
                  </a:cubicBezTo>
                  <a:lnTo>
                    <a:pt x="404403" y="207871"/>
                  </a:lnTo>
                  <a:cubicBezTo>
                    <a:pt x="403143" y="215430"/>
                    <a:pt x="403143" y="222989"/>
                    <a:pt x="400624" y="229288"/>
                  </a:cubicBezTo>
                  <a:cubicBezTo>
                    <a:pt x="399364" y="234327"/>
                    <a:pt x="398104" y="239366"/>
                    <a:pt x="396844" y="244406"/>
                  </a:cubicBezTo>
                  <a:cubicBezTo>
                    <a:pt x="396844" y="245666"/>
                    <a:pt x="395584" y="248185"/>
                    <a:pt x="395584" y="249445"/>
                  </a:cubicBezTo>
                  <a:cubicBezTo>
                    <a:pt x="394325" y="255744"/>
                    <a:pt x="391805" y="262043"/>
                    <a:pt x="390545" y="268342"/>
                  </a:cubicBezTo>
                  <a:cubicBezTo>
                    <a:pt x="388026" y="274642"/>
                    <a:pt x="385506" y="282201"/>
                    <a:pt x="381727" y="288500"/>
                  </a:cubicBezTo>
                  <a:lnTo>
                    <a:pt x="381727" y="288500"/>
                  </a:lnTo>
                  <a:cubicBezTo>
                    <a:pt x="380467" y="289759"/>
                    <a:pt x="380467" y="292279"/>
                    <a:pt x="379207" y="294799"/>
                  </a:cubicBezTo>
                  <a:cubicBezTo>
                    <a:pt x="379207" y="296058"/>
                    <a:pt x="377947" y="297318"/>
                    <a:pt x="377947" y="298578"/>
                  </a:cubicBezTo>
                  <a:cubicBezTo>
                    <a:pt x="376687" y="302358"/>
                    <a:pt x="375428" y="306137"/>
                    <a:pt x="374168" y="308657"/>
                  </a:cubicBezTo>
                  <a:cubicBezTo>
                    <a:pt x="372908" y="312436"/>
                    <a:pt x="371648" y="314956"/>
                    <a:pt x="370388" y="317475"/>
                  </a:cubicBezTo>
                  <a:lnTo>
                    <a:pt x="370388" y="318735"/>
                  </a:lnTo>
                  <a:cubicBezTo>
                    <a:pt x="367869" y="325034"/>
                    <a:pt x="364089" y="331334"/>
                    <a:pt x="360310" y="337633"/>
                  </a:cubicBezTo>
                  <a:lnTo>
                    <a:pt x="360310" y="337633"/>
                  </a:lnTo>
                  <a:lnTo>
                    <a:pt x="359050" y="338893"/>
                  </a:lnTo>
                  <a:cubicBezTo>
                    <a:pt x="355270" y="345192"/>
                    <a:pt x="351491" y="351491"/>
                    <a:pt x="348971" y="356530"/>
                  </a:cubicBezTo>
                  <a:cubicBezTo>
                    <a:pt x="345192" y="362829"/>
                    <a:pt x="340152" y="369128"/>
                    <a:pt x="336373" y="374167"/>
                  </a:cubicBezTo>
                  <a:cubicBezTo>
                    <a:pt x="333853" y="376687"/>
                    <a:pt x="331334" y="380467"/>
                    <a:pt x="327554" y="382986"/>
                  </a:cubicBezTo>
                  <a:cubicBezTo>
                    <a:pt x="326294" y="385506"/>
                    <a:pt x="323775" y="386766"/>
                    <a:pt x="322515" y="388026"/>
                  </a:cubicBezTo>
                  <a:lnTo>
                    <a:pt x="321255" y="389286"/>
                  </a:lnTo>
                  <a:cubicBezTo>
                    <a:pt x="318736" y="390545"/>
                    <a:pt x="317476" y="393065"/>
                    <a:pt x="314956" y="394325"/>
                  </a:cubicBez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cubicBezTo>
                    <a:pt x="314956" y="394325"/>
                    <a:pt x="314956" y="393065"/>
                    <a:pt x="314956" y="393065"/>
                  </a:cubicBezTo>
                  <a:cubicBezTo>
                    <a:pt x="314956" y="393065"/>
                    <a:pt x="314956" y="391805"/>
                    <a:pt x="314956" y="391805"/>
                  </a:cubicBezTo>
                  <a:cubicBezTo>
                    <a:pt x="316216" y="385506"/>
                    <a:pt x="317476" y="379207"/>
                    <a:pt x="318736" y="371648"/>
                  </a:cubicBezTo>
                  <a:cubicBezTo>
                    <a:pt x="318736" y="370388"/>
                    <a:pt x="318736" y="369128"/>
                    <a:pt x="318736" y="366609"/>
                  </a:cubicBezTo>
                  <a:lnTo>
                    <a:pt x="318736" y="366609"/>
                  </a:lnTo>
                  <a:cubicBezTo>
                    <a:pt x="318736" y="362829"/>
                    <a:pt x="319995" y="357790"/>
                    <a:pt x="319995" y="354010"/>
                  </a:cubicBezTo>
                  <a:cubicBezTo>
                    <a:pt x="319995" y="348971"/>
                    <a:pt x="321255" y="343932"/>
                    <a:pt x="321255" y="338893"/>
                  </a:cubicBezTo>
                  <a:lnTo>
                    <a:pt x="321255" y="338893"/>
                  </a:lnTo>
                  <a:cubicBezTo>
                    <a:pt x="322515" y="332593"/>
                    <a:pt x="322515" y="325034"/>
                    <a:pt x="323775" y="317475"/>
                  </a:cubicBezTo>
                  <a:cubicBezTo>
                    <a:pt x="323775" y="316216"/>
                    <a:pt x="323775" y="313696"/>
                    <a:pt x="323775" y="312436"/>
                  </a:cubicBezTo>
                  <a:cubicBezTo>
                    <a:pt x="323775" y="308657"/>
                    <a:pt x="325035" y="303618"/>
                    <a:pt x="325035" y="299838"/>
                  </a:cubicBezTo>
                  <a:cubicBezTo>
                    <a:pt x="325035" y="297318"/>
                    <a:pt x="325035" y="294799"/>
                    <a:pt x="325035" y="293539"/>
                  </a:cubicBezTo>
                  <a:cubicBezTo>
                    <a:pt x="325035" y="291019"/>
                    <a:pt x="325035" y="287240"/>
                    <a:pt x="325035" y="283460"/>
                  </a:cubicBezTo>
                  <a:cubicBezTo>
                    <a:pt x="325035" y="282201"/>
                    <a:pt x="325035" y="282201"/>
                    <a:pt x="325035" y="280941"/>
                  </a:cubicBezTo>
                  <a:cubicBezTo>
                    <a:pt x="325035" y="280941"/>
                    <a:pt x="325035" y="279681"/>
                    <a:pt x="325035" y="279681"/>
                  </a:cubicBezTo>
                  <a:cubicBezTo>
                    <a:pt x="325035" y="279681"/>
                    <a:pt x="325035" y="278421"/>
                    <a:pt x="325035" y="278421"/>
                  </a:cubicBez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cubicBezTo>
                    <a:pt x="325035" y="274642"/>
                    <a:pt x="325035" y="272122"/>
                    <a:pt x="326294" y="268342"/>
                  </a:cubicBezTo>
                  <a:cubicBezTo>
                    <a:pt x="326294" y="265823"/>
                    <a:pt x="326294" y="263303"/>
                    <a:pt x="327554" y="260783"/>
                  </a:cubicBezTo>
                  <a:cubicBezTo>
                    <a:pt x="327554" y="259524"/>
                    <a:pt x="327554" y="258264"/>
                    <a:pt x="327554" y="257004"/>
                  </a:cubicBezTo>
                  <a:cubicBezTo>
                    <a:pt x="326294" y="257004"/>
                    <a:pt x="325035" y="257004"/>
                    <a:pt x="325035" y="255744"/>
                  </a:cubicBezTo>
                  <a:cubicBezTo>
                    <a:pt x="323775" y="255744"/>
                    <a:pt x="322515" y="254484"/>
                    <a:pt x="319995" y="254484"/>
                  </a:cubicBez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cubicBezTo>
                    <a:pt x="318736" y="254484"/>
                    <a:pt x="317476" y="254484"/>
                    <a:pt x="317476" y="254484"/>
                  </a:cubicBezTo>
                  <a:cubicBezTo>
                    <a:pt x="314956" y="253225"/>
                    <a:pt x="312436" y="253225"/>
                    <a:pt x="309917" y="251965"/>
                  </a:cubicBezTo>
                  <a:cubicBezTo>
                    <a:pt x="306137" y="250705"/>
                    <a:pt x="302358" y="248185"/>
                    <a:pt x="299838" y="246925"/>
                  </a:cubicBezTo>
                  <a:lnTo>
                    <a:pt x="299838" y="246925"/>
                  </a:lnTo>
                  <a:cubicBezTo>
                    <a:pt x="298578" y="246925"/>
                    <a:pt x="297318" y="245666"/>
                    <a:pt x="296058" y="245666"/>
                  </a:cubicBezTo>
                  <a:cubicBezTo>
                    <a:pt x="293539" y="244406"/>
                    <a:pt x="291019" y="244406"/>
                    <a:pt x="288499" y="243146"/>
                  </a:cubicBezTo>
                  <a:cubicBezTo>
                    <a:pt x="283460" y="241886"/>
                    <a:pt x="277161" y="239366"/>
                    <a:pt x="273382" y="236847"/>
                  </a:cubicBezTo>
                  <a:cubicBezTo>
                    <a:pt x="269602" y="234327"/>
                    <a:pt x="265823" y="231808"/>
                    <a:pt x="262043" y="229288"/>
                  </a:cubicBezTo>
                  <a:cubicBezTo>
                    <a:pt x="259524" y="228028"/>
                    <a:pt x="258264" y="226768"/>
                    <a:pt x="255744" y="224249"/>
                  </a:cubicBezTo>
                  <a:cubicBezTo>
                    <a:pt x="251965" y="221729"/>
                    <a:pt x="246925" y="217949"/>
                    <a:pt x="244406" y="214170"/>
                  </a:cubicBezTo>
                  <a:cubicBezTo>
                    <a:pt x="243146" y="212910"/>
                    <a:pt x="243146" y="211650"/>
                    <a:pt x="241886" y="210390"/>
                  </a:cubicBezTo>
                  <a:lnTo>
                    <a:pt x="241886" y="210390"/>
                  </a:lnTo>
                  <a:cubicBezTo>
                    <a:pt x="240626" y="209131"/>
                    <a:pt x="240626" y="207871"/>
                    <a:pt x="239366" y="206611"/>
                  </a:cubicBezTo>
                  <a:lnTo>
                    <a:pt x="239366" y="205351"/>
                  </a:lnTo>
                  <a:cubicBezTo>
                    <a:pt x="238107" y="201572"/>
                    <a:pt x="235587" y="197792"/>
                    <a:pt x="234327" y="194013"/>
                  </a:cubicBezTo>
                  <a:cubicBezTo>
                    <a:pt x="234327" y="194013"/>
                    <a:pt x="234327" y="192753"/>
                    <a:pt x="233067" y="192753"/>
                  </a:cubicBezTo>
                  <a:lnTo>
                    <a:pt x="231807" y="194013"/>
                  </a:lnTo>
                  <a:lnTo>
                    <a:pt x="230548" y="195273"/>
                  </a:lnTo>
                  <a:cubicBezTo>
                    <a:pt x="229288" y="196533"/>
                    <a:pt x="228028" y="197792"/>
                    <a:pt x="226768" y="200312"/>
                  </a:cubicBezTo>
                  <a:cubicBezTo>
                    <a:pt x="224249" y="202832"/>
                    <a:pt x="221729" y="205351"/>
                    <a:pt x="219209" y="207871"/>
                  </a:cubicBezTo>
                  <a:cubicBezTo>
                    <a:pt x="216690" y="210390"/>
                    <a:pt x="212910" y="212910"/>
                    <a:pt x="210391" y="215430"/>
                  </a:cubicBezTo>
                  <a:cubicBezTo>
                    <a:pt x="204092" y="219209"/>
                    <a:pt x="197792" y="222989"/>
                    <a:pt x="191493" y="226768"/>
                  </a:cubicBezTo>
                  <a:cubicBezTo>
                    <a:pt x="186454" y="229288"/>
                    <a:pt x="180155" y="233067"/>
                    <a:pt x="173856" y="235587"/>
                  </a:cubicBezTo>
                  <a:lnTo>
                    <a:pt x="173856" y="235587"/>
                  </a:lnTo>
                  <a:cubicBezTo>
                    <a:pt x="173856" y="235587"/>
                    <a:pt x="173856" y="235587"/>
                    <a:pt x="172596" y="235587"/>
                  </a:cubicBezTo>
                  <a:lnTo>
                    <a:pt x="17259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2596" y="235587"/>
                  </a:lnTo>
                  <a:cubicBezTo>
                    <a:pt x="166297" y="238107"/>
                    <a:pt x="159998" y="240626"/>
                    <a:pt x="152439" y="243146"/>
                  </a:cubicBezTo>
                  <a:cubicBezTo>
                    <a:pt x="144880" y="245666"/>
                    <a:pt x="137321" y="246925"/>
                    <a:pt x="131022" y="248185"/>
                  </a:cubicBezTo>
                  <a:cubicBezTo>
                    <a:pt x="123463" y="249445"/>
                    <a:pt x="115904" y="249445"/>
                    <a:pt x="109605" y="249445"/>
                  </a:cubicBezTo>
                  <a:lnTo>
                    <a:pt x="109605" y="249445"/>
                  </a:lnTo>
                  <a:cubicBezTo>
                    <a:pt x="105825" y="249445"/>
                    <a:pt x="100786" y="249445"/>
                    <a:pt x="97007" y="249445"/>
                  </a:cubicBezTo>
                  <a:cubicBezTo>
                    <a:pt x="93227" y="249445"/>
                    <a:pt x="89448" y="248185"/>
                    <a:pt x="86928" y="248185"/>
                  </a:cubicBezTo>
                  <a:cubicBezTo>
                    <a:pt x="85668" y="248185"/>
                    <a:pt x="83148" y="248185"/>
                    <a:pt x="81889" y="246925"/>
                  </a:cubicBezTo>
                  <a:cubicBezTo>
                    <a:pt x="81889" y="246925"/>
                    <a:pt x="80629" y="246925"/>
                    <a:pt x="80629" y="246925"/>
                  </a:cubicBezTo>
                  <a:cubicBezTo>
                    <a:pt x="76849" y="246925"/>
                    <a:pt x="73070" y="246925"/>
                    <a:pt x="69290" y="246925"/>
                  </a:cubicBezTo>
                  <a:cubicBezTo>
                    <a:pt x="68030" y="246925"/>
                    <a:pt x="68030" y="246925"/>
                    <a:pt x="66771" y="246925"/>
                  </a:cubicBezTo>
                  <a:cubicBezTo>
                    <a:pt x="65511" y="246925"/>
                    <a:pt x="64251" y="246925"/>
                    <a:pt x="61731" y="246925"/>
                  </a:cubicBezTo>
                  <a:lnTo>
                    <a:pt x="60472" y="246925"/>
                  </a:lnTo>
                  <a:lnTo>
                    <a:pt x="59212" y="246925"/>
                  </a:lnTo>
                  <a:cubicBezTo>
                    <a:pt x="56692" y="246925"/>
                    <a:pt x="52913" y="245666"/>
                    <a:pt x="50393" y="244406"/>
                  </a:cubicBezTo>
                  <a:cubicBezTo>
                    <a:pt x="44094" y="241886"/>
                    <a:pt x="37795" y="239366"/>
                    <a:pt x="31496" y="235587"/>
                  </a:cubicBezTo>
                  <a:cubicBezTo>
                    <a:pt x="28976" y="234327"/>
                    <a:pt x="27716" y="233067"/>
                    <a:pt x="25196" y="231808"/>
                  </a:cubicBezTo>
                  <a:cubicBezTo>
                    <a:pt x="23937" y="230548"/>
                    <a:pt x="22677" y="229288"/>
                    <a:pt x="22677" y="229288"/>
                  </a:cubicBezTo>
                  <a:lnTo>
                    <a:pt x="22677" y="229288"/>
                  </a:lnTo>
                  <a:cubicBezTo>
                    <a:pt x="21417" y="229288"/>
                    <a:pt x="21417" y="228028"/>
                    <a:pt x="20157" y="228028"/>
                  </a:cubicBezTo>
                  <a:cubicBezTo>
                    <a:pt x="17637" y="225508"/>
                    <a:pt x="16378" y="224249"/>
                    <a:pt x="13858" y="220469"/>
                  </a:cubicBezTo>
                  <a:cubicBezTo>
                    <a:pt x="11338" y="217949"/>
                    <a:pt x="10079" y="215430"/>
                    <a:pt x="8819" y="212910"/>
                  </a:cubicBezTo>
                  <a:cubicBezTo>
                    <a:pt x="6299" y="209131"/>
                    <a:pt x="3780" y="204091"/>
                    <a:pt x="2520" y="197792"/>
                  </a:cubicBezTo>
                  <a:cubicBezTo>
                    <a:pt x="1260" y="192753"/>
                    <a:pt x="1260" y="188974"/>
                    <a:pt x="0" y="185194"/>
                  </a:cubicBezTo>
                  <a:lnTo>
                    <a:pt x="0" y="183934"/>
                  </a:lnTo>
                  <a:cubicBezTo>
                    <a:pt x="0" y="182674"/>
                    <a:pt x="0" y="181415"/>
                    <a:pt x="0" y="180155"/>
                  </a:cubicBezTo>
                  <a:lnTo>
                    <a:pt x="0" y="178895"/>
                  </a:lnTo>
                  <a:cubicBezTo>
                    <a:pt x="0" y="176375"/>
                    <a:pt x="0" y="172596"/>
                    <a:pt x="0" y="170076"/>
                  </a:cubicBezTo>
                  <a:cubicBezTo>
                    <a:pt x="0" y="170076"/>
                    <a:pt x="0" y="168816"/>
                    <a:pt x="0" y="168816"/>
                  </a:cubicBezTo>
                  <a:lnTo>
                    <a:pt x="0" y="168816"/>
                  </a:lnTo>
                  <a:cubicBezTo>
                    <a:pt x="0" y="167557"/>
                    <a:pt x="0" y="166297"/>
                    <a:pt x="0" y="165037"/>
                  </a:cubicBezTo>
                  <a:lnTo>
                    <a:pt x="0" y="158738"/>
                  </a:lnTo>
                  <a:cubicBezTo>
                    <a:pt x="0" y="154958"/>
                    <a:pt x="1260" y="151179"/>
                    <a:pt x="1260" y="147399"/>
                  </a:cubicBezTo>
                  <a:lnTo>
                    <a:pt x="1260" y="146140"/>
                  </a:lnTo>
                  <a:cubicBezTo>
                    <a:pt x="1260" y="142360"/>
                    <a:pt x="2520" y="139840"/>
                    <a:pt x="2520" y="136061"/>
                  </a:cubicBezTo>
                  <a:cubicBezTo>
                    <a:pt x="3780" y="132281"/>
                    <a:pt x="3780" y="129762"/>
                    <a:pt x="5039" y="125982"/>
                  </a:cubicBezTo>
                  <a:cubicBezTo>
                    <a:pt x="6299" y="122203"/>
                    <a:pt x="7559" y="119683"/>
                    <a:pt x="8819" y="115904"/>
                  </a:cubicBezTo>
                  <a:cubicBezTo>
                    <a:pt x="10079" y="113384"/>
                    <a:pt x="11338" y="110864"/>
                    <a:pt x="13858" y="107085"/>
                  </a:cubicBezTo>
                  <a:cubicBezTo>
                    <a:pt x="17637" y="99526"/>
                    <a:pt x="22677" y="93227"/>
                    <a:pt x="26456" y="88188"/>
                  </a:cubicBezTo>
                  <a:cubicBezTo>
                    <a:pt x="28976" y="84408"/>
                    <a:pt x="30236" y="81889"/>
                    <a:pt x="32755" y="79369"/>
                  </a:cubicBezTo>
                  <a:cubicBezTo>
                    <a:pt x="34015" y="76849"/>
                    <a:pt x="36535" y="74330"/>
                    <a:pt x="39055" y="73070"/>
                  </a:cubicBezTo>
                  <a:lnTo>
                    <a:pt x="39055" y="73070"/>
                  </a:lnTo>
                  <a:lnTo>
                    <a:pt x="39055" y="73070"/>
                  </a:lnTo>
                  <a:cubicBezTo>
                    <a:pt x="41574" y="70550"/>
                    <a:pt x="44094" y="68031"/>
                    <a:pt x="46614" y="65511"/>
                  </a:cubicBezTo>
                  <a:cubicBezTo>
                    <a:pt x="52913" y="60472"/>
                    <a:pt x="59212" y="55432"/>
                    <a:pt x="66771" y="49133"/>
                  </a:cubicBezTo>
                  <a:cubicBezTo>
                    <a:pt x="68030" y="49133"/>
                    <a:pt x="68030" y="47873"/>
                    <a:pt x="69290" y="47873"/>
                  </a:cubicBezTo>
                  <a:cubicBezTo>
                    <a:pt x="70550" y="46614"/>
                    <a:pt x="73070" y="45354"/>
                    <a:pt x="75589" y="42834"/>
                  </a:cubicBezTo>
                  <a:lnTo>
                    <a:pt x="78109" y="41574"/>
                  </a:lnTo>
                  <a:lnTo>
                    <a:pt x="78109" y="41574"/>
                  </a:lnTo>
                  <a:cubicBezTo>
                    <a:pt x="80629" y="40314"/>
                    <a:pt x="81889" y="39055"/>
                    <a:pt x="84408" y="36535"/>
                  </a:cubicBezTo>
                  <a:lnTo>
                    <a:pt x="85668" y="36535"/>
                  </a:lnTo>
                  <a:cubicBezTo>
                    <a:pt x="88188" y="34015"/>
                    <a:pt x="91967" y="32755"/>
                    <a:pt x="94487" y="31496"/>
                  </a:cubicBezTo>
                  <a:cubicBezTo>
                    <a:pt x="98266" y="28976"/>
                    <a:pt x="100786" y="27716"/>
                    <a:pt x="103306" y="26456"/>
                  </a:cubicBezTo>
                  <a:cubicBezTo>
                    <a:pt x="109605" y="23937"/>
                    <a:pt x="117164" y="20157"/>
                    <a:pt x="124722" y="17638"/>
                  </a:cubicBezTo>
                  <a:cubicBezTo>
                    <a:pt x="127242" y="16378"/>
                    <a:pt x="128502" y="16378"/>
                    <a:pt x="131022" y="16378"/>
                  </a:cubicBezTo>
                  <a:lnTo>
                    <a:pt x="132281" y="16378"/>
                  </a:lnTo>
                  <a:cubicBezTo>
                    <a:pt x="133541" y="16378"/>
                    <a:pt x="133541" y="16378"/>
                    <a:pt x="134801" y="15118"/>
                  </a:cubicBezTo>
                  <a:cubicBezTo>
                    <a:pt x="138581" y="13858"/>
                    <a:pt x="142360" y="13858"/>
                    <a:pt x="144880" y="12598"/>
                  </a:cubicBezTo>
                  <a:cubicBezTo>
                    <a:pt x="152439" y="10079"/>
                    <a:pt x="161258" y="10079"/>
                    <a:pt x="168816" y="8819"/>
                  </a:cubicBezTo>
                  <a:cubicBezTo>
                    <a:pt x="171336" y="8819"/>
                    <a:pt x="173856" y="8819"/>
                    <a:pt x="175115" y="8819"/>
                  </a:cubicBezTo>
                  <a:lnTo>
                    <a:pt x="175115" y="8819"/>
                  </a:lnTo>
                  <a:cubicBezTo>
                    <a:pt x="176375" y="8819"/>
                    <a:pt x="176375" y="8819"/>
                    <a:pt x="177635" y="8819"/>
                  </a:cubicBezTo>
                  <a:cubicBezTo>
                    <a:pt x="181414" y="8819"/>
                    <a:pt x="185194" y="8819"/>
                    <a:pt x="187714" y="8819"/>
                  </a:cubicBezTo>
                  <a:cubicBezTo>
                    <a:pt x="194013" y="0"/>
                    <a:pt x="197792" y="0"/>
                    <a:pt x="200312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5" name="任意多边形: 形状 10244"/>
            <p:cNvSpPr/>
            <p:nvPr/>
          </p:nvSpPr>
          <p:spPr>
            <a:xfrm>
              <a:off x="5066465" y="2317835"/>
              <a:ext cx="50393" cy="62991"/>
            </a:xfrm>
            <a:custGeom>
              <a:avLst/>
              <a:gdLst>
                <a:gd name="connsiteX0" fmla="*/ 7559 w 50392"/>
                <a:gd name="connsiteY0" fmla="*/ 1260 h 62991"/>
                <a:gd name="connsiteX1" fmla="*/ 23937 w 50392"/>
                <a:gd name="connsiteY1" fmla="*/ 13858 h 62991"/>
                <a:gd name="connsiteX2" fmla="*/ 31496 w 50392"/>
                <a:gd name="connsiteY2" fmla="*/ 18897 h 62991"/>
                <a:gd name="connsiteX3" fmla="*/ 39055 w 50392"/>
                <a:gd name="connsiteY3" fmla="*/ 25196 h 62991"/>
                <a:gd name="connsiteX4" fmla="*/ 45354 w 50392"/>
                <a:gd name="connsiteY4" fmla="*/ 31496 h 62991"/>
                <a:gd name="connsiteX5" fmla="*/ 50393 w 50392"/>
                <a:gd name="connsiteY5" fmla="*/ 37795 h 62991"/>
                <a:gd name="connsiteX6" fmla="*/ 55432 w 50392"/>
                <a:gd name="connsiteY6" fmla="*/ 45354 h 62991"/>
                <a:gd name="connsiteX7" fmla="*/ 59212 w 50392"/>
                <a:gd name="connsiteY7" fmla="*/ 54172 h 62991"/>
                <a:gd name="connsiteX8" fmla="*/ 61731 w 50392"/>
                <a:gd name="connsiteY8" fmla="*/ 62991 h 62991"/>
                <a:gd name="connsiteX9" fmla="*/ 61731 w 50392"/>
                <a:gd name="connsiteY9" fmla="*/ 64251 h 62991"/>
                <a:gd name="connsiteX10" fmla="*/ 61731 w 50392"/>
                <a:gd name="connsiteY10" fmla="*/ 65511 h 62991"/>
                <a:gd name="connsiteX11" fmla="*/ 60471 w 50392"/>
                <a:gd name="connsiteY11" fmla="*/ 68030 h 62991"/>
                <a:gd name="connsiteX12" fmla="*/ 57952 w 50392"/>
                <a:gd name="connsiteY12" fmla="*/ 70550 h 62991"/>
                <a:gd name="connsiteX13" fmla="*/ 51653 w 50392"/>
                <a:gd name="connsiteY13" fmla="*/ 66771 h 62991"/>
                <a:gd name="connsiteX14" fmla="*/ 49133 w 50392"/>
                <a:gd name="connsiteY14" fmla="*/ 60472 h 62991"/>
                <a:gd name="connsiteX15" fmla="*/ 44094 w 50392"/>
                <a:gd name="connsiteY15" fmla="*/ 50393 h 62991"/>
                <a:gd name="connsiteX16" fmla="*/ 36535 w 50392"/>
                <a:gd name="connsiteY16" fmla="*/ 39055 h 62991"/>
                <a:gd name="connsiteX17" fmla="*/ 20157 w 50392"/>
                <a:gd name="connsiteY17" fmla="*/ 23937 h 62991"/>
                <a:gd name="connsiteX18" fmla="*/ 1260 w 50392"/>
                <a:gd name="connsiteY18" fmla="*/ 8819 h 62991"/>
                <a:gd name="connsiteX19" fmla="*/ 0 w 50392"/>
                <a:gd name="connsiteY19" fmla="*/ 5039 h 62991"/>
                <a:gd name="connsiteX20" fmla="*/ 1260 w 50392"/>
                <a:gd name="connsiteY20" fmla="*/ 1260 h 62991"/>
                <a:gd name="connsiteX21" fmla="*/ 5039 w 50392"/>
                <a:gd name="connsiteY21" fmla="*/ 0 h 62991"/>
                <a:gd name="connsiteX22" fmla="*/ 6299 w 50392"/>
                <a:gd name="connsiteY22" fmla="*/ 0 h 62991"/>
                <a:gd name="connsiteX23" fmla="*/ 7559 w 50392"/>
                <a:gd name="connsiteY23" fmla="*/ 126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7559" y="1260"/>
                  </a:moveTo>
                  <a:cubicBezTo>
                    <a:pt x="12598" y="5039"/>
                    <a:pt x="18897" y="10079"/>
                    <a:pt x="23937" y="13858"/>
                  </a:cubicBezTo>
                  <a:cubicBezTo>
                    <a:pt x="26456" y="15118"/>
                    <a:pt x="28976" y="17637"/>
                    <a:pt x="31496" y="18897"/>
                  </a:cubicBezTo>
                  <a:cubicBezTo>
                    <a:pt x="34015" y="21417"/>
                    <a:pt x="36535" y="22677"/>
                    <a:pt x="39055" y="25196"/>
                  </a:cubicBezTo>
                  <a:cubicBezTo>
                    <a:pt x="41574" y="27716"/>
                    <a:pt x="44094" y="28976"/>
                    <a:pt x="45354" y="31496"/>
                  </a:cubicBezTo>
                  <a:cubicBezTo>
                    <a:pt x="46614" y="32755"/>
                    <a:pt x="47873" y="35275"/>
                    <a:pt x="50393" y="37795"/>
                  </a:cubicBezTo>
                  <a:cubicBezTo>
                    <a:pt x="51653" y="40314"/>
                    <a:pt x="54172" y="42834"/>
                    <a:pt x="55432" y="45354"/>
                  </a:cubicBezTo>
                  <a:cubicBezTo>
                    <a:pt x="56692" y="47873"/>
                    <a:pt x="57952" y="51653"/>
                    <a:pt x="59212" y="54172"/>
                  </a:cubicBezTo>
                  <a:cubicBezTo>
                    <a:pt x="60471" y="56692"/>
                    <a:pt x="60471" y="60472"/>
                    <a:pt x="61731" y="62991"/>
                  </a:cubicBezTo>
                  <a:cubicBezTo>
                    <a:pt x="61731" y="62991"/>
                    <a:pt x="61731" y="62991"/>
                    <a:pt x="61731" y="64251"/>
                  </a:cubicBezTo>
                  <a:cubicBezTo>
                    <a:pt x="61731" y="64251"/>
                    <a:pt x="61731" y="65511"/>
                    <a:pt x="61731" y="65511"/>
                  </a:cubicBezTo>
                  <a:cubicBezTo>
                    <a:pt x="61731" y="66771"/>
                    <a:pt x="61731" y="66771"/>
                    <a:pt x="60471" y="68030"/>
                  </a:cubicBezTo>
                  <a:cubicBezTo>
                    <a:pt x="59212" y="69290"/>
                    <a:pt x="59212" y="70550"/>
                    <a:pt x="57952" y="70550"/>
                  </a:cubicBezTo>
                  <a:cubicBezTo>
                    <a:pt x="55432" y="71810"/>
                    <a:pt x="51653" y="69290"/>
                    <a:pt x="51653" y="66771"/>
                  </a:cubicBezTo>
                  <a:cubicBezTo>
                    <a:pt x="50393" y="64251"/>
                    <a:pt x="50393" y="62991"/>
                    <a:pt x="49133" y="60472"/>
                  </a:cubicBezTo>
                  <a:cubicBezTo>
                    <a:pt x="47873" y="56692"/>
                    <a:pt x="45354" y="54172"/>
                    <a:pt x="44094" y="50393"/>
                  </a:cubicBezTo>
                  <a:cubicBezTo>
                    <a:pt x="41574" y="46613"/>
                    <a:pt x="39055" y="42834"/>
                    <a:pt x="36535" y="39055"/>
                  </a:cubicBezTo>
                  <a:cubicBezTo>
                    <a:pt x="31496" y="34015"/>
                    <a:pt x="25196" y="28976"/>
                    <a:pt x="20157" y="23937"/>
                  </a:cubicBezTo>
                  <a:cubicBezTo>
                    <a:pt x="13858" y="18897"/>
                    <a:pt x="7559" y="13858"/>
                    <a:pt x="1260" y="8819"/>
                  </a:cubicBezTo>
                  <a:cubicBezTo>
                    <a:pt x="0" y="7559"/>
                    <a:pt x="0" y="6299"/>
                    <a:pt x="0" y="5039"/>
                  </a:cubicBezTo>
                  <a:cubicBezTo>
                    <a:pt x="0" y="3779"/>
                    <a:pt x="0" y="2520"/>
                    <a:pt x="1260" y="1260"/>
                  </a:cubicBezTo>
                  <a:cubicBezTo>
                    <a:pt x="2520" y="0"/>
                    <a:pt x="3779" y="0"/>
                    <a:pt x="5039" y="0"/>
                  </a:cubicBezTo>
                  <a:cubicBezTo>
                    <a:pt x="5039" y="0"/>
                    <a:pt x="5039" y="0"/>
                    <a:pt x="6299" y="0"/>
                  </a:cubicBezTo>
                  <a:cubicBezTo>
                    <a:pt x="5039" y="0"/>
                    <a:pt x="6299" y="0"/>
                    <a:pt x="7559" y="126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6" name="任意多边形: 形状 10245"/>
            <p:cNvSpPr/>
            <p:nvPr/>
          </p:nvSpPr>
          <p:spPr>
            <a:xfrm>
              <a:off x="5040008" y="2445077"/>
              <a:ext cx="138581" cy="138581"/>
            </a:xfrm>
            <a:custGeom>
              <a:avLst/>
              <a:gdLst>
                <a:gd name="connsiteX0" fmla="*/ 15118 w 138580"/>
                <a:gd name="connsiteY0" fmla="*/ 0 h 138580"/>
                <a:gd name="connsiteX1" fmla="*/ 15118 w 138580"/>
                <a:gd name="connsiteY1" fmla="*/ 0 h 138580"/>
                <a:gd name="connsiteX2" fmla="*/ 8819 w 138580"/>
                <a:gd name="connsiteY2" fmla="*/ 1260 h 138580"/>
                <a:gd name="connsiteX3" fmla="*/ 5039 w 138580"/>
                <a:gd name="connsiteY3" fmla="*/ 6299 h 138580"/>
                <a:gd name="connsiteX4" fmla="*/ 2520 w 138580"/>
                <a:gd name="connsiteY4" fmla="*/ 15118 h 138580"/>
                <a:gd name="connsiteX5" fmla="*/ 1260 w 138580"/>
                <a:gd name="connsiteY5" fmla="*/ 22677 h 138580"/>
                <a:gd name="connsiteX6" fmla="*/ 0 w 138580"/>
                <a:gd name="connsiteY6" fmla="*/ 35275 h 138580"/>
                <a:gd name="connsiteX7" fmla="*/ 1260 w 138580"/>
                <a:gd name="connsiteY7" fmla="*/ 46614 h 138580"/>
                <a:gd name="connsiteX8" fmla="*/ 3780 w 138580"/>
                <a:gd name="connsiteY8" fmla="*/ 56692 h 138580"/>
                <a:gd name="connsiteX9" fmla="*/ 8819 w 138580"/>
                <a:gd name="connsiteY9" fmla="*/ 68031 h 138580"/>
                <a:gd name="connsiteX10" fmla="*/ 20157 w 138580"/>
                <a:gd name="connsiteY10" fmla="*/ 84408 h 138580"/>
                <a:gd name="connsiteX11" fmla="*/ 35275 w 138580"/>
                <a:gd name="connsiteY11" fmla="*/ 103306 h 138580"/>
                <a:gd name="connsiteX12" fmla="*/ 42834 w 138580"/>
                <a:gd name="connsiteY12" fmla="*/ 110864 h 138580"/>
                <a:gd name="connsiteX13" fmla="*/ 52913 w 138580"/>
                <a:gd name="connsiteY13" fmla="*/ 118424 h 138580"/>
                <a:gd name="connsiteX14" fmla="*/ 71810 w 138580"/>
                <a:gd name="connsiteY14" fmla="*/ 129762 h 138580"/>
                <a:gd name="connsiteX15" fmla="*/ 83148 w 138580"/>
                <a:gd name="connsiteY15" fmla="*/ 134801 h 138580"/>
                <a:gd name="connsiteX16" fmla="*/ 93227 w 138580"/>
                <a:gd name="connsiteY16" fmla="*/ 137321 h 138580"/>
                <a:gd name="connsiteX17" fmla="*/ 109605 w 138580"/>
                <a:gd name="connsiteY17" fmla="*/ 138581 h 138580"/>
                <a:gd name="connsiteX18" fmla="*/ 115904 w 138580"/>
                <a:gd name="connsiteY18" fmla="*/ 138581 h 138580"/>
                <a:gd name="connsiteX19" fmla="*/ 123463 w 138580"/>
                <a:gd name="connsiteY19" fmla="*/ 139840 h 138580"/>
                <a:gd name="connsiteX20" fmla="*/ 125982 w 138580"/>
                <a:gd name="connsiteY20" fmla="*/ 139840 h 138580"/>
                <a:gd name="connsiteX21" fmla="*/ 131022 w 138580"/>
                <a:gd name="connsiteY21" fmla="*/ 139840 h 138580"/>
                <a:gd name="connsiteX22" fmla="*/ 136061 w 138580"/>
                <a:gd name="connsiteY22" fmla="*/ 138581 h 138580"/>
                <a:gd name="connsiteX23" fmla="*/ 142360 w 138580"/>
                <a:gd name="connsiteY23" fmla="*/ 132281 h 138580"/>
                <a:gd name="connsiteX24" fmla="*/ 143620 w 138580"/>
                <a:gd name="connsiteY24" fmla="*/ 124723 h 138580"/>
                <a:gd name="connsiteX25" fmla="*/ 141100 w 138580"/>
                <a:gd name="connsiteY25" fmla="*/ 120943 h 138580"/>
                <a:gd name="connsiteX26" fmla="*/ 133541 w 138580"/>
                <a:gd name="connsiteY26" fmla="*/ 118424 h 138580"/>
                <a:gd name="connsiteX27" fmla="*/ 128502 w 138580"/>
                <a:gd name="connsiteY27" fmla="*/ 118424 h 138580"/>
                <a:gd name="connsiteX28" fmla="*/ 118423 w 138580"/>
                <a:gd name="connsiteY28" fmla="*/ 117164 h 138580"/>
                <a:gd name="connsiteX29" fmla="*/ 109605 w 138580"/>
                <a:gd name="connsiteY29" fmla="*/ 115904 h 138580"/>
                <a:gd name="connsiteX30" fmla="*/ 104566 w 138580"/>
                <a:gd name="connsiteY30" fmla="*/ 115904 h 138580"/>
                <a:gd name="connsiteX31" fmla="*/ 89448 w 138580"/>
                <a:gd name="connsiteY31" fmla="*/ 113384 h 138580"/>
                <a:gd name="connsiteX32" fmla="*/ 76849 w 138580"/>
                <a:gd name="connsiteY32" fmla="*/ 107085 h 138580"/>
                <a:gd name="connsiteX33" fmla="*/ 70550 w 138580"/>
                <a:gd name="connsiteY33" fmla="*/ 103306 h 138580"/>
                <a:gd name="connsiteX34" fmla="*/ 64251 w 138580"/>
                <a:gd name="connsiteY34" fmla="*/ 99526 h 138580"/>
                <a:gd name="connsiteX35" fmla="*/ 57952 w 138580"/>
                <a:gd name="connsiteY35" fmla="*/ 94487 h 138580"/>
                <a:gd name="connsiteX36" fmla="*/ 51653 w 138580"/>
                <a:gd name="connsiteY36" fmla="*/ 88188 h 138580"/>
                <a:gd name="connsiteX37" fmla="*/ 40314 w 138580"/>
                <a:gd name="connsiteY37" fmla="*/ 75589 h 138580"/>
                <a:gd name="connsiteX38" fmla="*/ 23937 w 138580"/>
                <a:gd name="connsiteY38" fmla="*/ 52913 h 138580"/>
                <a:gd name="connsiteX39" fmla="*/ 21417 w 138580"/>
                <a:gd name="connsiteY39" fmla="*/ 45354 h 138580"/>
                <a:gd name="connsiteX40" fmla="*/ 18897 w 138580"/>
                <a:gd name="connsiteY40" fmla="*/ 37795 h 138580"/>
                <a:gd name="connsiteX41" fmla="*/ 18897 w 138580"/>
                <a:gd name="connsiteY41" fmla="*/ 20157 h 138580"/>
                <a:gd name="connsiteX42" fmla="*/ 20157 w 138580"/>
                <a:gd name="connsiteY42" fmla="*/ 15118 h 138580"/>
                <a:gd name="connsiteX43" fmla="*/ 21417 w 138580"/>
                <a:gd name="connsiteY43" fmla="*/ 8819 h 138580"/>
                <a:gd name="connsiteX44" fmla="*/ 15118 w 138580"/>
                <a:gd name="connsiteY44" fmla="*/ 0 h 138580"/>
                <a:gd name="connsiteX45" fmla="*/ 133541 w 138580"/>
                <a:gd name="connsiteY45" fmla="*/ 119683 h 138580"/>
                <a:gd name="connsiteX46" fmla="*/ 133541 w 138580"/>
                <a:gd name="connsiteY46" fmla="*/ 119683 h 138580"/>
                <a:gd name="connsiteX47" fmla="*/ 133541 w 138580"/>
                <a:gd name="connsiteY47" fmla="*/ 119683 h 138580"/>
                <a:gd name="connsiteX48" fmla="*/ 133541 w 138580"/>
                <a:gd name="connsiteY48" fmla="*/ 119683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8580" h="138580">
                  <a:moveTo>
                    <a:pt x="15118" y="0"/>
                  </a:moveTo>
                  <a:cubicBezTo>
                    <a:pt x="15118" y="0"/>
                    <a:pt x="15118" y="0"/>
                    <a:pt x="15118" y="0"/>
                  </a:cubicBezTo>
                  <a:cubicBezTo>
                    <a:pt x="12598" y="0"/>
                    <a:pt x="10079" y="0"/>
                    <a:pt x="8819" y="1260"/>
                  </a:cubicBezTo>
                  <a:cubicBezTo>
                    <a:pt x="7559" y="2520"/>
                    <a:pt x="6299" y="3780"/>
                    <a:pt x="5039" y="6299"/>
                  </a:cubicBezTo>
                  <a:cubicBezTo>
                    <a:pt x="3780" y="8819"/>
                    <a:pt x="3780" y="11339"/>
                    <a:pt x="2520" y="15118"/>
                  </a:cubicBezTo>
                  <a:cubicBezTo>
                    <a:pt x="1260" y="17638"/>
                    <a:pt x="1260" y="20157"/>
                    <a:pt x="1260" y="22677"/>
                  </a:cubicBezTo>
                  <a:cubicBezTo>
                    <a:pt x="1260" y="26456"/>
                    <a:pt x="1260" y="31496"/>
                    <a:pt x="0" y="35275"/>
                  </a:cubicBezTo>
                  <a:cubicBezTo>
                    <a:pt x="0" y="39055"/>
                    <a:pt x="0" y="42834"/>
                    <a:pt x="1260" y="46614"/>
                  </a:cubicBezTo>
                  <a:cubicBezTo>
                    <a:pt x="2520" y="50393"/>
                    <a:pt x="2520" y="54172"/>
                    <a:pt x="3780" y="56692"/>
                  </a:cubicBezTo>
                  <a:cubicBezTo>
                    <a:pt x="5039" y="60472"/>
                    <a:pt x="6299" y="64251"/>
                    <a:pt x="8819" y="68031"/>
                  </a:cubicBezTo>
                  <a:cubicBezTo>
                    <a:pt x="12598" y="74330"/>
                    <a:pt x="16378" y="79369"/>
                    <a:pt x="20157" y="84408"/>
                  </a:cubicBezTo>
                  <a:cubicBezTo>
                    <a:pt x="25196" y="90707"/>
                    <a:pt x="30236" y="97007"/>
                    <a:pt x="35275" y="103306"/>
                  </a:cubicBezTo>
                  <a:cubicBezTo>
                    <a:pt x="37795" y="105825"/>
                    <a:pt x="40314" y="108345"/>
                    <a:pt x="42834" y="110864"/>
                  </a:cubicBezTo>
                  <a:cubicBezTo>
                    <a:pt x="46614" y="113384"/>
                    <a:pt x="49133" y="115904"/>
                    <a:pt x="52913" y="118424"/>
                  </a:cubicBezTo>
                  <a:cubicBezTo>
                    <a:pt x="59212" y="122203"/>
                    <a:pt x="65511" y="125982"/>
                    <a:pt x="71810" y="129762"/>
                  </a:cubicBezTo>
                  <a:cubicBezTo>
                    <a:pt x="75589" y="131022"/>
                    <a:pt x="79369" y="133541"/>
                    <a:pt x="83148" y="134801"/>
                  </a:cubicBezTo>
                  <a:cubicBezTo>
                    <a:pt x="86928" y="136061"/>
                    <a:pt x="90707" y="137321"/>
                    <a:pt x="93227" y="137321"/>
                  </a:cubicBezTo>
                  <a:cubicBezTo>
                    <a:pt x="98266" y="138581"/>
                    <a:pt x="104566" y="138581"/>
                    <a:pt x="109605" y="138581"/>
                  </a:cubicBezTo>
                  <a:cubicBezTo>
                    <a:pt x="112124" y="138581"/>
                    <a:pt x="113384" y="138581"/>
                    <a:pt x="115904" y="138581"/>
                  </a:cubicBezTo>
                  <a:cubicBezTo>
                    <a:pt x="118423" y="138581"/>
                    <a:pt x="120943" y="138581"/>
                    <a:pt x="123463" y="139840"/>
                  </a:cubicBezTo>
                  <a:cubicBezTo>
                    <a:pt x="124722" y="139840"/>
                    <a:pt x="124722" y="139840"/>
                    <a:pt x="125982" y="139840"/>
                  </a:cubicBezTo>
                  <a:cubicBezTo>
                    <a:pt x="127242" y="139840"/>
                    <a:pt x="129762" y="139840"/>
                    <a:pt x="131022" y="139840"/>
                  </a:cubicBezTo>
                  <a:cubicBezTo>
                    <a:pt x="132281" y="139840"/>
                    <a:pt x="133541" y="139840"/>
                    <a:pt x="136061" y="138581"/>
                  </a:cubicBezTo>
                  <a:cubicBezTo>
                    <a:pt x="138581" y="137321"/>
                    <a:pt x="141100" y="136061"/>
                    <a:pt x="142360" y="132281"/>
                  </a:cubicBezTo>
                  <a:cubicBezTo>
                    <a:pt x="143620" y="129762"/>
                    <a:pt x="143620" y="127242"/>
                    <a:pt x="143620" y="124723"/>
                  </a:cubicBezTo>
                  <a:cubicBezTo>
                    <a:pt x="143620" y="123463"/>
                    <a:pt x="142360" y="122203"/>
                    <a:pt x="141100" y="120943"/>
                  </a:cubicBezTo>
                  <a:cubicBezTo>
                    <a:pt x="138581" y="118424"/>
                    <a:pt x="136061" y="118424"/>
                    <a:pt x="133541" y="118424"/>
                  </a:cubicBezTo>
                  <a:cubicBezTo>
                    <a:pt x="132281" y="118424"/>
                    <a:pt x="131022" y="118424"/>
                    <a:pt x="128502" y="118424"/>
                  </a:cubicBezTo>
                  <a:cubicBezTo>
                    <a:pt x="124722" y="118424"/>
                    <a:pt x="122203" y="117164"/>
                    <a:pt x="118423" y="117164"/>
                  </a:cubicBezTo>
                  <a:cubicBezTo>
                    <a:pt x="115904" y="117164"/>
                    <a:pt x="112124" y="117164"/>
                    <a:pt x="109605" y="115904"/>
                  </a:cubicBezTo>
                  <a:cubicBezTo>
                    <a:pt x="108345" y="115904"/>
                    <a:pt x="105825" y="115904"/>
                    <a:pt x="104566" y="115904"/>
                  </a:cubicBezTo>
                  <a:cubicBezTo>
                    <a:pt x="99526" y="114644"/>
                    <a:pt x="94487" y="114644"/>
                    <a:pt x="89448" y="113384"/>
                  </a:cubicBezTo>
                  <a:cubicBezTo>
                    <a:pt x="84408" y="112124"/>
                    <a:pt x="80629" y="109605"/>
                    <a:pt x="76849" y="107085"/>
                  </a:cubicBezTo>
                  <a:cubicBezTo>
                    <a:pt x="74329" y="105825"/>
                    <a:pt x="71810" y="104565"/>
                    <a:pt x="70550" y="103306"/>
                  </a:cubicBezTo>
                  <a:cubicBezTo>
                    <a:pt x="68030" y="102046"/>
                    <a:pt x="66771" y="100786"/>
                    <a:pt x="64251" y="99526"/>
                  </a:cubicBezTo>
                  <a:cubicBezTo>
                    <a:pt x="61731" y="98266"/>
                    <a:pt x="60472" y="97007"/>
                    <a:pt x="57952" y="94487"/>
                  </a:cubicBezTo>
                  <a:cubicBezTo>
                    <a:pt x="55432" y="91967"/>
                    <a:pt x="52913" y="90707"/>
                    <a:pt x="51653" y="88188"/>
                  </a:cubicBezTo>
                  <a:cubicBezTo>
                    <a:pt x="47874" y="84408"/>
                    <a:pt x="44094" y="80629"/>
                    <a:pt x="40314" y="75589"/>
                  </a:cubicBezTo>
                  <a:cubicBezTo>
                    <a:pt x="34015" y="68031"/>
                    <a:pt x="28976" y="60472"/>
                    <a:pt x="23937" y="52913"/>
                  </a:cubicBezTo>
                  <a:cubicBezTo>
                    <a:pt x="22677" y="50393"/>
                    <a:pt x="21417" y="47873"/>
                    <a:pt x="21417" y="45354"/>
                  </a:cubicBezTo>
                  <a:cubicBezTo>
                    <a:pt x="20157" y="42834"/>
                    <a:pt x="20157" y="40315"/>
                    <a:pt x="18897" y="37795"/>
                  </a:cubicBezTo>
                  <a:cubicBezTo>
                    <a:pt x="17637" y="31496"/>
                    <a:pt x="17637" y="25196"/>
                    <a:pt x="18897" y="20157"/>
                  </a:cubicBezTo>
                  <a:cubicBezTo>
                    <a:pt x="18897" y="18897"/>
                    <a:pt x="18897" y="16378"/>
                    <a:pt x="20157" y="15118"/>
                  </a:cubicBezTo>
                  <a:cubicBezTo>
                    <a:pt x="21417" y="12598"/>
                    <a:pt x="21417" y="11339"/>
                    <a:pt x="21417" y="8819"/>
                  </a:cubicBezTo>
                  <a:cubicBezTo>
                    <a:pt x="22677" y="5039"/>
                    <a:pt x="18897" y="1260"/>
                    <a:pt x="15118" y="0"/>
                  </a:cubicBezTo>
                  <a:moveTo>
                    <a:pt x="133541" y="119683"/>
                  </a:moveTo>
                  <a:cubicBezTo>
                    <a:pt x="133541" y="119683"/>
                    <a:pt x="133541" y="119683"/>
                    <a:pt x="133541" y="119683"/>
                  </a:cubicBezTo>
                  <a:lnTo>
                    <a:pt x="133541" y="119683"/>
                  </a:lnTo>
                  <a:cubicBezTo>
                    <a:pt x="133541" y="119683"/>
                    <a:pt x="133541" y="119683"/>
                    <a:pt x="133541" y="11968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7" name="任意多边形: 形状 10246"/>
            <p:cNvSpPr/>
            <p:nvPr/>
          </p:nvSpPr>
          <p:spPr>
            <a:xfrm>
              <a:off x="5071819" y="2504289"/>
              <a:ext cx="100786" cy="75589"/>
            </a:xfrm>
            <a:custGeom>
              <a:avLst/>
              <a:gdLst>
                <a:gd name="connsiteX0" fmla="*/ 12283 w 100785"/>
                <a:gd name="connsiteY0" fmla="*/ 0 h 75589"/>
                <a:gd name="connsiteX1" fmla="*/ 16063 w 100785"/>
                <a:gd name="connsiteY1" fmla="*/ 1260 h 75589"/>
                <a:gd name="connsiteX2" fmla="*/ 23622 w 100785"/>
                <a:gd name="connsiteY2" fmla="*/ 5039 h 75589"/>
                <a:gd name="connsiteX3" fmla="*/ 31181 w 100785"/>
                <a:gd name="connsiteY3" fmla="*/ 16378 h 75589"/>
                <a:gd name="connsiteX4" fmla="*/ 42519 w 100785"/>
                <a:gd name="connsiteY4" fmla="*/ 26456 h 75589"/>
                <a:gd name="connsiteX5" fmla="*/ 53858 w 100785"/>
                <a:gd name="connsiteY5" fmla="*/ 35275 h 75589"/>
                <a:gd name="connsiteX6" fmla="*/ 56377 w 100785"/>
                <a:gd name="connsiteY6" fmla="*/ 37795 h 75589"/>
                <a:gd name="connsiteX7" fmla="*/ 65196 w 100785"/>
                <a:gd name="connsiteY7" fmla="*/ 41574 h 75589"/>
                <a:gd name="connsiteX8" fmla="*/ 76534 w 100785"/>
                <a:gd name="connsiteY8" fmla="*/ 47873 h 75589"/>
                <a:gd name="connsiteX9" fmla="*/ 82833 w 100785"/>
                <a:gd name="connsiteY9" fmla="*/ 51653 h 75589"/>
                <a:gd name="connsiteX10" fmla="*/ 91652 w 100785"/>
                <a:gd name="connsiteY10" fmla="*/ 56692 h 75589"/>
                <a:gd name="connsiteX11" fmla="*/ 100471 w 100785"/>
                <a:gd name="connsiteY11" fmla="*/ 57952 h 75589"/>
                <a:gd name="connsiteX12" fmla="*/ 106770 w 100785"/>
                <a:gd name="connsiteY12" fmla="*/ 61731 h 75589"/>
                <a:gd name="connsiteX13" fmla="*/ 108030 w 100785"/>
                <a:gd name="connsiteY13" fmla="*/ 69290 h 75589"/>
                <a:gd name="connsiteX14" fmla="*/ 104251 w 100785"/>
                <a:gd name="connsiteY14" fmla="*/ 75589 h 75589"/>
                <a:gd name="connsiteX15" fmla="*/ 101731 w 100785"/>
                <a:gd name="connsiteY15" fmla="*/ 76849 h 75589"/>
                <a:gd name="connsiteX16" fmla="*/ 96692 w 100785"/>
                <a:gd name="connsiteY16" fmla="*/ 76849 h 75589"/>
                <a:gd name="connsiteX17" fmla="*/ 90392 w 100785"/>
                <a:gd name="connsiteY17" fmla="*/ 75589 h 75589"/>
                <a:gd name="connsiteX18" fmla="*/ 77794 w 100785"/>
                <a:gd name="connsiteY18" fmla="*/ 70550 h 75589"/>
                <a:gd name="connsiteX19" fmla="*/ 67715 w 100785"/>
                <a:gd name="connsiteY19" fmla="*/ 65511 h 75589"/>
                <a:gd name="connsiteX20" fmla="*/ 61416 w 100785"/>
                <a:gd name="connsiteY20" fmla="*/ 62991 h 75589"/>
                <a:gd name="connsiteX21" fmla="*/ 52598 w 100785"/>
                <a:gd name="connsiteY21" fmla="*/ 62991 h 75589"/>
                <a:gd name="connsiteX22" fmla="*/ 46299 w 100785"/>
                <a:gd name="connsiteY22" fmla="*/ 59212 h 75589"/>
                <a:gd name="connsiteX23" fmla="*/ 38740 w 100785"/>
                <a:gd name="connsiteY23" fmla="*/ 54172 h 75589"/>
                <a:gd name="connsiteX24" fmla="*/ 36220 w 100785"/>
                <a:gd name="connsiteY24" fmla="*/ 51653 h 75589"/>
                <a:gd name="connsiteX25" fmla="*/ 31181 w 100785"/>
                <a:gd name="connsiteY25" fmla="*/ 49133 h 75589"/>
                <a:gd name="connsiteX26" fmla="*/ 17322 w 100785"/>
                <a:gd name="connsiteY26" fmla="*/ 39054 h 75589"/>
                <a:gd name="connsiteX27" fmla="*/ 2205 w 100785"/>
                <a:gd name="connsiteY27" fmla="*/ 20157 h 75589"/>
                <a:gd name="connsiteX28" fmla="*/ 945 w 100785"/>
                <a:gd name="connsiteY28" fmla="*/ 17637 h 75589"/>
                <a:gd name="connsiteX29" fmla="*/ 945 w 100785"/>
                <a:gd name="connsiteY29" fmla="*/ 10078 h 75589"/>
                <a:gd name="connsiteX30" fmla="*/ 4724 w 100785"/>
                <a:gd name="connsiteY30" fmla="*/ 5039 h 75589"/>
                <a:gd name="connsiteX31" fmla="*/ 11023 w 100785"/>
                <a:gd name="connsiteY31" fmla="*/ 3779 h 75589"/>
                <a:gd name="connsiteX32" fmla="*/ 12283 w 100785"/>
                <a:gd name="connsiteY32" fmla="*/ 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785" h="75589">
                  <a:moveTo>
                    <a:pt x="12283" y="0"/>
                  </a:moveTo>
                  <a:cubicBezTo>
                    <a:pt x="13543" y="0"/>
                    <a:pt x="14803" y="1260"/>
                    <a:pt x="16063" y="1260"/>
                  </a:cubicBezTo>
                  <a:cubicBezTo>
                    <a:pt x="18582" y="1260"/>
                    <a:pt x="22362" y="2520"/>
                    <a:pt x="23622" y="5039"/>
                  </a:cubicBezTo>
                  <a:cubicBezTo>
                    <a:pt x="26141" y="8819"/>
                    <a:pt x="28661" y="12598"/>
                    <a:pt x="31181" y="16378"/>
                  </a:cubicBezTo>
                  <a:cubicBezTo>
                    <a:pt x="34960" y="20157"/>
                    <a:pt x="38740" y="22677"/>
                    <a:pt x="42519" y="26456"/>
                  </a:cubicBezTo>
                  <a:cubicBezTo>
                    <a:pt x="46299" y="28976"/>
                    <a:pt x="50078" y="32755"/>
                    <a:pt x="53858" y="35275"/>
                  </a:cubicBezTo>
                  <a:cubicBezTo>
                    <a:pt x="55117" y="36535"/>
                    <a:pt x="56377" y="36535"/>
                    <a:pt x="56377" y="37795"/>
                  </a:cubicBezTo>
                  <a:cubicBezTo>
                    <a:pt x="58897" y="39054"/>
                    <a:pt x="62676" y="40314"/>
                    <a:pt x="65196" y="41574"/>
                  </a:cubicBezTo>
                  <a:cubicBezTo>
                    <a:pt x="68975" y="44094"/>
                    <a:pt x="72755" y="45354"/>
                    <a:pt x="76534" y="47873"/>
                  </a:cubicBezTo>
                  <a:cubicBezTo>
                    <a:pt x="79054" y="49133"/>
                    <a:pt x="80314" y="50393"/>
                    <a:pt x="82833" y="51653"/>
                  </a:cubicBezTo>
                  <a:cubicBezTo>
                    <a:pt x="85353" y="52913"/>
                    <a:pt x="89133" y="55432"/>
                    <a:pt x="91652" y="56692"/>
                  </a:cubicBezTo>
                  <a:cubicBezTo>
                    <a:pt x="94172" y="57952"/>
                    <a:pt x="96692" y="57952"/>
                    <a:pt x="100471" y="57952"/>
                  </a:cubicBezTo>
                  <a:cubicBezTo>
                    <a:pt x="102991" y="57952"/>
                    <a:pt x="105510" y="60471"/>
                    <a:pt x="106770" y="61731"/>
                  </a:cubicBezTo>
                  <a:cubicBezTo>
                    <a:pt x="108030" y="64251"/>
                    <a:pt x="108030" y="66770"/>
                    <a:pt x="108030" y="69290"/>
                  </a:cubicBezTo>
                  <a:cubicBezTo>
                    <a:pt x="108030" y="71810"/>
                    <a:pt x="105510" y="74330"/>
                    <a:pt x="104251" y="75589"/>
                  </a:cubicBezTo>
                  <a:cubicBezTo>
                    <a:pt x="102991" y="75589"/>
                    <a:pt x="102991" y="76849"/>
                    <a:pt x="101731" y="76849"/>
                  </a:cubicBezTo>
                  <a:cubicBezTo>
                    <a:pt x="100471" y="76849"/>
                    <a:pt x="97951" y="76849"/>
                    <a:pt x="96692" y="76849"/>
                  </a:cubicBezTo>
                  <a:cubicBezTo>
                    <a:pt x="94172" y="76849"/>
                    <a:pt x="92912" y="76849"/>
                    <a:pt x="90392" y="75589"/>
                  </a:cubicBezTo>
                  <a:cubicBezTo>
                    <a:pt x="85353" y="74330"/>
                    <a:pt x="81574" y="73070"/>
                    <a:pt x="77794" y="70550"/>
                  </a:cubicBezTo>
                  <a:cubicBezTo>
                    <a:pt x="74015" y="69290"/>
                    <a:pt x="71495" y="66770"/>
                    <a:pt x="67715" y="65511"/>
                  </a:cubicBezTo>
                  <a:cubicBezTo>
                    <a:pt x="65196" y="64251"/>
                    <a:pt x="63936" y="62991"/>
                    <a:pt x="61416" y="62991"/>
                  </a:cubicBezTo>
                  <a:cubicBezTo>
                    <a:pt x="58897" y="64251"/>
                    <a:pt x="56377" y="64251"/>
                    <a:pt x="52598" y="62991"/>
                  </a:cubicBezTo>
                  <a:cubicBezTo>
                    <a:pt x="50078" y="61731"/>
                    <a:pt x="48818" y="60471"/>
                    <a:pt x="46299" y="59212"/>
                  </a:cubicBezTo>
                  <a:cubicBezTo>
                    <a:pt x="43779" y="57952"/>
                    <a:pt x="41259" y="55432"/>
                    <a:pt x="38740" y="54172"/>
                  </a:cubicBezTo>
                  <a:cubicBezTo>
                    <a:pt x="37480" y="52913"/>
                    <a:pt x="37480" y="52913"/>
                    <a:pt x="36220" y="51653"/>
                  </a:cubicBezTo>
                  <a:cubicBezTo>
                    <a:pt x="33700" y="50393"/>
                    <a:pt x="32441" y="49133"/>
                    <a:pt x="31181" y="49133"/>
                  </a:cubicBezTo>
                  <a:cubicBezTo>
                    <a:pt x="26141" y="46613"/>
                    <a:pt x="21102" y="42834"/>
                    <a:pt x="17322" y="39054"/>
                  </a:cubicBezTo>
                  <a:cubicBezTo>
                    <a:pt x="11023" y="34015"/>
                    <a:pt x="5984" y="27716"/>
                    <a:pt x="2205" y="20157"/>
                  </a:cubicBezTo>
                  <a:cubicBezTo>
                    <a:pt x="2205" y="18897"/>
                    <a:pt x="945" y="17637"/>
                    <a:pt x="945" y="17637"/>
                  </a:cubicBezTo>
                  <a:cubicBezTo>
                    <a:pt x="-315" y="15118"/>
                    <a:pt x="-315" y="12598"/>
                    <a:pt x="945" y="10078"/>
                  </a:cubicBezTo>
                  <a:cubicBezTo>
                    <a:pt x="945" y="7559"/>
                    <a:pt x="3465" y="6299"/>
                    <a:pt x="4724" y="5039"/>
                  </a:cubicBezTo>
                  <a:cubicBezTo>
                    <a:pt x="5984" y="3779"/>
                    <a:pt x="8504" y="3779"/>
                    <a:pt x="11023" y="3779"/>
                  </a:cubicBezTo>
                  <a:cubicBezTo>
                    <a:pt x="11023" y="0"/>
                    <a:pt x="12283" y="0"/>
                    <a:pt x="12283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8" name="任意多边形: 形状 10247"/>
            <p:cNvSpPr/>
            <p:nvPr/>
          </p:nvSpPr>
          <p:spPr>
            <a:xfrm>
              <a:off x="4512143" y="2789009"/>
              <a:ext cx="970064" cy="781090"/>
            </a:xfrm>
            <a:custGeom>
              <a:avLst/>
              <a:gdLst>
                <a:gd name="connsiteX0" fmla="*/ 151179 w 970063"/>
                <a:gd name="connsiteY0" fmla="*/ 12598 h 781090"/>
                <a:gd name="connsiteX1" fmla="*/ 157478 w 970063"/>
                <a:gd name="connsiteY1" fmla="*/ 22677 h 781090"/>
                <a:gd name="connsiteX2" fmla="*/ 166297 w 970063"/>
                <a:gd name="connsiteY2" fmla="*/ 30236 h 781090"/>
                <a:gd name="connsiteX3" fmla="*/ 173855 w 970063"/>
                <a:gd name="connsiteY3" fmla="*/ 35275 h 781090"/>
                <a:gd name="connsiteX4" fmla="*/ 185194 w 970063"/>
                <a:gd name="connsiteY4" fmla="*/ 40314 h 781090"/>
                <a:gd name="connsiteX5" fmla="*/ 194013 w 970063"/>
                <a:gd name="connsiteY5" fmla="*/ 44094 h 781090"/>
                <a:gd name="connsiteX6" fmla="*/ 204092 w 970063"/>
                <a:gd name="connsiteY6" fmla="*/ 47873 h 781090"/>
                <a:gd name="connsiteX7" fmla="*/ 205351 w 970063"/>
                <a:gd name="connsiteY7" fmla="*/ 47873 h 781090"/>
                <a:gd name="connsiteX8" fmla="*/ 205351 w 970063"/>
                <a:gd name="connsiteY8" fmla="*/ 47873 h 781090"/>
                <a:gd name="connsiteX9" fmla="*/ 216690 w 970063"/>
                <a:gd name="connsiteY9" fmla="*/ 55432 h 781090"/>
                <a:gd name="connsiteX10" fmla="*/ 225508 w 970063"/>
                <a:gd name="connsiteY10" fmla="*/ 60472 h 781090"/>
                <a:gd name="connsiteX11" fmla="*/ 229288 w 970063"/>
                <a:gd name="connsiteY11" fmla="*/ 62991 h 781090"/>
                <a:gd name="connsiteX12" fmla="*/ 234327 w 970063"/>
                <a:gd name="connsiteY12" fmla="*/ 65511 h 781090"/>
                <a:gd name="connsiteX13" fmla="*/ 255744 w 970063"/>
                <a:gd name="connsiteY13" fmla="*/ 75589 h 781090"/>
                <a:gd name="connsiteX14" fmla="*/ 272122 w 970063"/>
                <a:gd name="connsiteY14" fmla="*/ 80629 h 781090"/>
                <a:gd name="connsiteX15" fmla="*/ 287240 w 970063"/>
                <a:gd name="connsiteY15" fmla="*/ 83148 h 781090"/>
                <a:gd name="connsiteX16" fmla="*/ 288499 w 970063"/>
                <a:gd name="connsiteY16" fmla="*/ 83148 h 781090"/>
                <a:gd name="connsiteX17" fmla="*/ 294799 w 970063"/>
                <a:gd name="connsiteY17" fmla="*/ 84408 h 781090"/>
                <a:gd name="connsiteX18" fmla="*/ 301098 w 970063"/>
                <a:gd name="connsiteY18" fmla="*/ 85668 h 781090"/>
                <a:gd name="connsiteX19" fmla="*/ 302358 w 970063"/>
                <a:gd name="connsiteY19" fmla="*/ 85668 h 781090"/>
                <a:gd name="connsiteX20" fmla="*/ 304877 w 970063"/>
                <a:gd name="connsiteY20" fmla="*/ 85668 h 781090"/>
                <a:gd name="connsiteX21" fmla="*/ 312436 w 970063"/>
                <a:gd name="connsiteY21" fmla="*/ 88188 h 781090"/>
                <a:gd name="connsiteX22" fmla="*/ 309917 w 970063"/>
                <a:gd name="connsiteY22" fmla="*/ 86928 h 781090"/>
                <a:gd name="connsiteX23" fmla="*/ 323775 w 970063"/>
                <a:gd name="connsiteY23" fmla="*/ 91967 h 781090"/>
                <a:gd name="connsiteX24" fmla="*/ 330074 w 970063"/>
                <a:gd name="connsiteY24" fmla="*/ 93227 h 781090"/>
                <a:gd name="connsiteX25" fmla="*/ 336373 w 970063"/>
                <a:gd name="connsiteY25" fmla="*/ 94487 h 781090"/>
                <a:gd name="connsiteX26" fmla="*/ 343932 w 970063"/>
                <a:gd name="connsiteY26" fmla="*/ 95747 h 781090"/>
                <a:gd name="connsiteX27" fmla="*/ 354010 w 970063"/>
                <a:gd name="connsiteY27" fmla="*/ 98266 h 781090"/>
                <a:gd name="connsiteX28" fmla="*/ 362829 w 970063"/>
                <a:gd name="connsiteY28" fmla="*/ 100786 h 781090"/>
                <a:gd name="connsiteX29" fmla="*/ 371648 w 970063"/>
                <a:gd name="connsiteY29" fmla="*/ 103305 h 781090"/>
                <a:gd name="connsiteX30" fmla="*/ 379207 w 970063"/>
                <a:gd name="connsiteY30" fmla="*/ 103305 h 781090"/>
                <a:gd name="connsiteX31" fmla="*/ 384246 w 970063"/>
                <a:gd name="connsiteY31" fmla="*/ 103305 h 781090"/>
                <a:gd name="connsiteX32" fmla="*/ 394325 w 970063"/>
                <a:gd name="connsiteY32" fmla="*/ 103305 h 781090"/>
                <a:gd name="connsiteX33" fmla="*/ 415742 w 970063"/>
                <a:gd name="connsiteY33" fmla="*/ 99526 h 781090"/>
                <a:gd name="connsiteX34" fmla="*/ 419521 w 970063"/>
                <a:gd name="connsiteY34" fmla="*/ 98266 h 781090"/>
                <a:gd name="connsiteX35" fmla="*/ 430860 w 970063"/>
                <a:gd name="connsiteY35" fmla="*/ 95747 h 781090"/>
                <a:gd name="connsiteX36" fmla="*/ 439678 w 970063"/>
                <a:gd name="connsiteY36" fmla="*/ 93227 h 781090"/>
                <a:gd name="connsiteX37" fmla="*/ 458576 w 970063"/>
                <a:gd name="connsiteY37" fmla="*/ 86928 h 781090"/>
                <a:gd name="connsiteX38" fmla="*/ 467395 w 970063"/>
                <a:gd name="connsiteY38" fmla="*/ 84408 h 781090"/>
                <a:gd name="connsiteX39" fmla="*/ 474954 w 970063"/>
                <a:gd name="connsiteY39" fmla="*/ 81889 h 781090"/>
                <a:gd name="connsiteX40" fmla="*/ 482512 w 970063"/>
                <a:gd name="connsiteY40" fmla="*/ 78109 h 781090"/>
                <a:gd name="connsiteX41" fmla="*/ 486292 w 970063"/>
                <a:gd name="connsiteY41" fmla="*/ 75589 h 781090"/>
                <a:gd name="connsiteX42" fmla="*/ 486292 w 970063"/>
                <a:gd name="connsiteY42" fmla="*/ 75589 h 781090"/>
                <a:gd name="connsiteX43" fmla="*/ 486292 w 970063"/>
                <a:gd name="connsiteY43" fmla="*/ 75589 h 781090"/>
                <a:gd name="connsiteX44" fmla="*/ 487552 w 970063"/>
                <a:gd name="connsiteY44" fmla="*/ 83148 h 781090"/>
                <a:gd name="connsiteX45" fmla="*/ 490071 w 970063"/>
                <a:gd name="connsiteY45" fmla="*/ 90707 h 781090"/>
                <a:gd name="connsiteX46" fmla="*/ 492591 w 970063"/>
                <a:gd name="connsiteY46" fmla="*/ 97006 h 781090"/>
                <a:gd name="connsiteX47" fmla="*/ 497630 w 970063"/>
                <a:gd name="connsiteY47" fmla="*/ 103305 h 781090"/>
                <a:gd name="connsiteX48" fmla="*/ 503929 w 970063"/>
                <a:gd name="connsiteY48" fmla="*/ 108345 h 781090"/>
                <a:gd name="connsiteX49" fmla="*/ 516528 w 970063"/>
                <a:gd name="connsiteY49" fmla="*/ 114644 h 781090"/>
                <a:gd name="connsiteX50" fmla="*/ 524087 w 970063"/>
                <a:gd name="connsiteY50" fmla="*/ 117164 h 781090"/>
                <a:gd name="connsiteX51" fmla="*/ 531646 w 970063"/>
                <a:gd name="connsiteY51" fmla="*/ 118424 h 781090"/>
                <a:gd name="connsiteX52" fmla="*/ 532905 w 970063"/>
                <a:gd name="connsiteY52" fmla="*/ 118424 h 781090"/>
                <a:gd name="connsiteX53" fmla="*/ 541724 w 970063"/>
                <a:gd name="connsiteY53" fmla="*/ 118424 h 781090"/>
                <a:gd name="connsiteX54" fmla="*/ 551802 w 970063"/>
                <a:gd name="connsiteY54" fmla="*/ 118424 h 781090"/>
                <a:gd name="connsiteX55" fmla="*/ 569440 w 970063"/>
                <a:gd name="connsiteY55" fmla="*/ 113384 h 781090"/>
                <a:gd name="connsiteX56" fmla="*/ 575739 w 970063"/>
                <a:gd name="connsiteY56" fmla="*/ 109605 h 781090"/>
                <a:gd name="connsiteX57" fmla="*/ 576999 w 970063"/>
                <a:gd name="connsiteY57" fmla="*/ 108345 h 781090"/>
                <a:gd name="connsiteX58" fmla="*/ 585818 w 970063"/>
                <a:gd name="connsiteY58" fmla="*/ 103305 h 781090"/>
                <a:gd name="connsiteX59" fmla="*/ 598416 w 970063"/>
                <a:gd name="connsiteY59" fmla="*/ 90707 h 781090"/>
                <a:gd name="connsiteX60" fmla="*/ 603455 w 970063"/>
                <a:gd name="connsiteY60" fmla="*/ 84408 h 781090"/>
                <a:gd name="connsiteX61" fmla="*/ 607235 w 970063"/>
                <a:gd name="connsiteY61" fmla="*/ 75589 h 781090"/>
                <a:gd name="connsiteX62" fmla="*/ 608494 w 970063"/>
                <a:gd name="connsiteY62" fmla="*/ 71810 h 781090"/>
                <a:gd name="connsiteX63" fmla="*/ 608494 w 970063"/>
                <a:gd name="connsiteY63" fmla="*/ 70550 h 781090"/>
                <a:gd name="connsiteX64" fmla="*/ 608494 w 970063"/>
                <a:gd name="connsiteY64" fmla="*/ 66771 h 781090"/>
                <a:gd name="connsiteX65" fmla="*/ 608494 w 970063"/>
                <a:gd name="connsiteY65" fmla="*/ 62991 h 781090"/>
                <a:gd name="connsiteX66" fmla="*/ 608494 w 970063"/>
                <a:gd name="connsiteY66" fmla="*/ 62991 h 781090"/>
                <a:gd name="connsiteX67" fmla="*/ 608494 w 970063"/>
                <a:gd name="connsiteY67" fmla="*/ 62991 h 781090"/>
                <a:gd name="connsiteX68" fmla="*/ 612274 w 970063"/>
                <a:gd name="connsiteY68" fmla="*/ 64251 h 781090"/>
                <a:gd name="connsiteX69" fmla="*/ 612274 w 970063"/>
                <a:gd name="connsiteY69" fmla="*/ 64251 h 781090"/>
                <a:gd name="connsiteX70" fmla="*/ 613534 w 970063"/>
                <a:gd name="connsiteY70" fmla="*/ 64251 h 781090"/>
                <a:gd name="connsiteX71" fmla="*/ 614794 w 970063"/>
                <a:gd name="connsiteY71" fmla="*/ 64251 h 781090"/>
                <a:gd name="connsiteX72" fmla="*/ 616054 w 970063"/>
                <a:gd name="connsiteY72" fmla="*/ 64251 h 781090"/>
                <a:gd name="connsiteX73" fmla="*/ 626132 w 970063"/>
                <a:gd name="connsiteY73" fmla="*/ 66771 h 781090"/>
                <a:gd name="connsiteX74" fmla="*/ 629912 w 970063"/>
                <a:gd name="connsiteY74" fmla="*/ 68031 h 781090"/>
                <a:gd name="connsiteX75" fmla="*/ 631172 w 970063"/>
                <a:gd name="connsiteY75" fmla="*/ 68031 h 781090"/>
                <a:gd name="connsiteX76" fmla="*/ 632431 w 970063"/>
                <a:gd name="connsiteY76" fmla="*/ 68031 h 781090"/>
                <a:gd name="connsiteX77" fmla="*/ 633691 w 970063"/>
                <a:gd name="connsiteY77" fmla="*/ 68031 h 781090"/>
                <a:gd name="connsiteX78" fmla="*/ 639990 w 970063"/>
                <a:gd name="connsiteY78" fmla="*/ 69290 h 781090"/>
                <a:gd name="connsiteX79" fmla="*/ 643770 w 970063"/>
                <a:gd name="connsiteY79" fmla="*/ 69290 h 781090"/>
                <a:gd name="connsiteX80" fmla="*/ 656368 w 970063"/>
                <a:gd name="connsiteY80" fmla="*/ 71810 h 781090"/>
                <a:gd name="connsiteX81" fmla="*/ 668966 w 970063"/>
                <a:gd name="connsiteY81" fmla="*/ 75589 h 781090"/>
                <a:gd name="connsiteX82" fmla="*/ 670226 w 970063"/>
                <a:gd name="connsiteY82" fmla="*/ 75589 h 781090"/>
                <a:gd name="connsiteX83" fmla="*/ 680305 w 970063"/>
                <a:gd name="connsiteY83" fmla="*/ 78109 h 781090"/>
                <a:gd name="connsiteX84" fmla="*/ 702981 w 970063"/>
                <a:gd name="connsiteY84" fmla="*/ 86928 h 781090"/>
                <a:gd name="connsiteX85" fmla="*/ 714320 w 970063"/>
                <a:gd name="connsiteY85" fmla="*/ 93227 h 781090"/>
                <a:gd name="connsiteX86" fmla="*/ 714320 w 970063"/>
                <a:gd name="connsiteY86" fmla="*/ 93227 h 781090"/>
                <a:gd name="connsiteX87" fmla="*/ 721879 w 970063"/>
                <a:gd name="connsiteY87" fmla="*/ 97006 h 781090"/>
                <a:gd name="connsiteX88" fmla="*/ 740776 w 970063"/>
                <a:gd name="connsiteY88" fmla="*/ 107085 h 781090"/>
                <a:gd name="connsiteX89" fmla="*/ 750855 w 970063"/>
                <a:gd name="connsiteY89" fmla="*/ 114644 h 781090"/>
                <a:gd name="connsiteX90" fmla="*/ 758414 w 970063"/>
                <a:gd name="connsiteY90" fmla="*/ 122203 h 781090"/>
                <a:gd name="connsiteX91" fmla="*/ 772272 w 970063"/>
                <a:gd name="connsiteY91" fmla="*/ 137321 h 781090"/>
                <a:gd name="connsiteX92" fmla="*/ 777311 w 970063"/>
                <a:gd name="connsiteY92" fmla="*/ 143620 h 781090"/>
                <a:gd name="connsiteX93" fmla="*/ 783610 w 970063"/>
                <a:gd name="connsiteY93" fmla="*/ 149919 h 781090"/>
                <a:gd name="connsiteX94" fmla="*/ 791169 w 970063"/>
                <a:gd name="connsiteY94" fmla="*/ 157478 h 781090"/>
                <a:gd name="connsiteX95" fmla="*/ 796208 w 970063"/>
                <a:gd name="connsiteY95" fmla="*/ 165037 h 781090"/>
                <a:gd name="connsiteX96" fmla="*/ 808807 w 970063"/>
                <a:gd name="connsiteY96" fmla="*/ 178895 h 781090"/>
                <a:gd name="connsiteX97" fmla="*/ 812586 w 970063"/>
                <a:gd name="connsiteY97" fmla="*/ 183934 h 781090"/>
                <a:gd name="connsiteX98" fmla="*/ 813846 w 970063"/>
                <a:gd name="connsiteY98" fmla="*/ 185194 h 781090"/>
                <a:gd name="connsiteX99" fmla="*/ 815106 w 970063"/>
                <a:gd name="connsiteY99" fmla="*/ 186454 h 781090"/>
                <a:gd name="connsiteX100" fmla="*/ 816365 w 970063"/>
                <a:gd name="connsiteY100" fmla="*/ 187714 h 781090"/>
                <a:gd name="connsiteX101" fmla="*/ 822664 w 970063"/>
                <a:gd name="connsiteY101" fmla="*/ 195273 h 781090"/>
                <a:gd name="connsiteX102" fmla="*/ 834003 w 970063"/>
                <a:gd name="connsiteY102" fmla="*/ 206611 h 781090"/>
                <a:gd name="connsiteX103" fmla="*/ 834003 w 970063"/>
                <a:gd name="connsiteY103" fmla="*/ 206611 h 781090"/>
                <a:gd name="connsiteX104" fmla="*/ 836523 w 970063"/>
                <a:gd name="connsiteY104" fmla="*/ 209131 h 781090"/>
                <a:gd name="connsiteX105" fmla="*/ 837782 w 970063"/>
                <a:gd name="connsiteY105" fmla="*/ 210390 h 781090"/>
                <a:gd name="connsiteX106" fmla="*/ 846601 w 970063"/>
                <a:gd name="connsiteY106" fmla="*/ 220469 h 781090"/>
                <a:gd name="connsiteX107" fmla="*/ 851641 w 970063"/>
                <a:gd name="connsiteY107" fmla="*/ 226768 h 781090"/>
                <a:gd name="connsiteX108" fmla="*/ 861719 w 970063"/>
                <a:gd name="connsiteY108" fmla="*/ 239366 h 781090"/>
                <a:gd name="connsiteX109" fmla="*/ 861719 w 970063"/>
                <a:gd name="connsiteY109" fmla="*/ 239366 h 781090"/>
                <a:gd name="connsiteX110" fmla="*/ 861719 w 970063"/>
                <a:gd name="connsiteY110" fmla="*/ 239366 h 781090"/>
                <a:gd name="connsiteX111" fmla="*/ 865499 w 970063"/>
                <a:gd name="connsiteY111" fmla="*/ 243146 h 781090"/>
                <a:gd name="connsiteX112" fmla="*/ 869278 w 970063"/>
                <a:gd name="connsiteY112" fmla="*/ 246925 h 781090"/>
                <a:gd name="connsiteX113" fmla="*/ 869278 w 970063"/>
                <a:gd name="connsiteY113" fmla="*/ 246925 h 781090"/>
                <a:gd name="connsiteX114" fmla="*/ 869278 w 970063"/>
                <a:gd name="connsiteY114" fmla="*/ 246925 h 781090"/>
                <a:gd name="connsiteX115" fmla="*/ 869278 w 970063"/>
                <a:gd name="connsiteY115" fmla="*/ 246925 h 781090"/>
                <a:gd name="connsiteX116" fmla="*/ 878097 w 970063"/>
                <a:gd name="connsiteY116" fmla="*/ 258264 h 781090"/>
                <a:gd name="connsiteX117" fmla="*/ 888175 w 970063"/>
                <a:gd name="connsiteY117" fmla="*/ 273382 h 781090"/>
                <a:gd name="connsiteX118" fmla="*/ 889435 w 970063"/>
                <a:gd name="connsiteY118" fmla="*/ 274642 h 781090"/>
                <a:gd name="connsiteX119" fmla="*/ 889435 w 970063"/>
                <a:gd name="connsiteY119" fmla="*/ 275901 h 781090"/>
                <a:gd name="connsiteX120" fmla="*/ 890695 w 970063"/>
                <a:gd name="connsiteY120" fmla="*/ 278421 h 781090"/>
                <a:gd name="connsiteX121" fmla="*/ 902034 w 970063"/>
                <a:gd name="connsiteY121" fmla="*/ 294799 h 781090"/>
                <a:gd name="connsiteX122" fmla="*/ 902034 w 970063"/>
                <a:gd name="connsiteY122" fmla="*/ 296058 h 781090"/>
                <a:gd name="connsiteX123" fmla="*/ 903293 w 970063"/>
                <a:gd name="connsiteY123" fmla="*/ 297318 h 781090"/>
                <a:gd name="connsiteX124" fmla="*/ 908333 w 970063"/>
                <a:gd name="connsiteY124" fmla="*/ 306137 h 781090"/>
                <a:gd name="connsiteX125" fmla="*/ 912112 w 970063"/>
                <a:gd name="connsiteY125" fmla="*/ 311176 h 781090"/>
                <a:gd name="connsiteX126" fmla="*/ 912112 w 970063"/>
                <a:gd name="connsiteY126" fmla="*/ 311176 h 781090"/>
                <a:gd name="connsiteX127" fmla="*/ 914632 w 970063"/>
                <a:gd name="connsiteY127" fmla="*/ 314956 h 781090"/>
                <a:gd name="connsiteX128" fmla="*/ 925970 w 970063"/>
                <a:gd name="connsiteY128" fmla="*/ 332593 h 781090"/>
                <a:gd name="connsiteX129" fmla="*/ 943608 w 970063"/>
                <a:gd name="connsiteY129" fmla="*/ 362829 h 781090"/>
                <a:gd name="connsiteX130" fmla="*/ 947387 w 970063"/>
                <a:gd name="connsiteY130" fmla="*/ 369128 h 781090"/>
                <a:gd name="connsiteX131" fmla="*/ 948647 w 970063"/>
                <a:gd name="connsiteY131" fmla="*/ 371648 h 781090"/>
                <a:gd name="connsiteX132" fmla="*/ 948647 w 970063"/>
                <a:gd name="connsiteY132" fmla="*/ 371648 h 781090"/>
                <a:gd name="connsiteX133" fmla="*/ 948647 w 970063"/>
                <a:gd name="connsiteY133" fmla="*/ 371648 h 781090"/>
                <a:gd name="connsiteX134" fmla="*/ 956206 w 970063"/>
                <a:gd name="connsiteY134" fmla="*/ 385506 h 781090"/>
                <a:gd name="connsiteX135" fmla="*/ 957466 w 970063"/>
                <a:gd name="connsiteY135" fmla="*/ 388026 h 781090"/>
                <a:gd name="connsiteX136" fmla="*/ 957466 w 970063"/>
                <a:gd name="connsiteY136" fmla="*/ 388026 h 781090"/>
                <a:gd name="connsiteX137" fmla="*/ 957466 w 970063"/>
                <a:gd name="connsiteY137" fmla="*/ 388026 h 781090"/>
                <a:gd name="connsiteX138" fmla="*/ 959985 w 970063"/>
                <a:gd name="connsiteY138" fmla="*/ 393065 h 781090"/>
                <a:gd name="connsiteX139" fmla="*/ 963765 w 970063"/>
                <a:gd name="connsiteY139" fmla="*/ 403143 h 781090"/>
                <a:gd name="connsiteX140" fmla="*/ 963765 w 970063"/>
                <a:gd name="connsiteY140" fmla="*/ 403143 h 781090"/>
                <a:gd name="connsiteX141" fmla="*/ 966285 w 970063"/>
                <a:gd name="connsiteY141" fmla="*/ 411962 h 781090"/>
                <a:gd name="connsiteX142" fmla="*/ 968804 w 970063"/>
                <a:gd name="connsiteY142" fmla="*/ 420781 h 781090"/>
                <a:gd name="connsiteX143" fmla="*/ 971324 w 970063"/>
                <a:gd name="connsiteY143" fmla="*/ 442198 h 781090"/>
                <a:gd name="connsiteX144" fmla="*/ 968804 w 970063"/>
                <a:gd name="connsiteY144" fmla="*/ 462355 h 781090"/>
                <a:gd name="connsiteX145" fmla="*/ 966285 w 970063"/>
                <a:gd name="connsiteY145" fmla="*/ 473694 h 781090"/>
                <a:gd name="connsiteX146" fmla="*/ 961245 w 970063"/>
                <a:gd name="connsiteY146" fmla="*/ 483772 h 781090"/>
                <a:gd name="connsiteX147" fmla="*/ 958726 w 970063"/>
                <a:gd name="connsiteY147" fmla="*/ 486292 h 781090"/>
                <a:gd name="connsiteX148" fmla="*/ 958726 w 970063"/>
                <a:gd name="connsiteY148" fmla="*/ 486292 h 781090"/>
                <a:gd name="connsiteX149" fmla="*/ 959985 w 970063"/>
                <a:gd name="connsiteY149" fmla="*/ 467395 h 781090"/>
                <a:gd name="connsiteX150" fmla="*/ 959985 w 970063"/>
                <a:gd name="connsiteY150" fmla="*/ 448497 h 781090"/>
                <a:gd name="connsiteX151" fmla="*/ 958726 w 970063"/>
                <a:gd name="connsiteY151" fmla="*/ 440938 h 781090"/>
                <a:gd name="connsiteX152" fmla="*/ 958726 w 970063"/>
                <a:gd name="connsiteY152" fmla="*/ 440938 h 781090"/>
                <a:gd name="connsiteX153" fmla="*/ 958726 w 970063"/>
                <a:gd name="connsiteY153" fmla="*/ 440938 h 781090"/>
                <a:gd name="connsiteX154" fmla="*/ 956206 w 970063"/>
                <a:gd name="connsiteY154" fmla="*/ 430860 h 781090"/>
                <a:gd name="connsiteX155" fmla="*/ 951167 w 970063"/>
                <a:gd name="connsiteY155" fmla="*/ 419521 h 781090"/>
                <a:gd name="connsiteX156" fmla="*/ 947387 w 970063"/>
                <a:gd name="connsiteY156" fmla="*/ 415742 h 781090"/>
                <a:gd name="connsiteX157" fmla="*/ 939828 w 970063"/>
                <a:gd name="connsiteY157" fmla="*/ 411962 h 781090"/>
                <a:gd name="connsiteX158" fmla="*/ 938568 w 970063"/>
                <a:gd name="connsiteY158" fmla="*/ 410702 h 781090"/>
                <a:gd name="connsiteX159" fmla="*/ 931009 w 970063"/>
                <a:gd name="connsiteY159" fmla="*/ 406923 h 781090"/>
                <a:gd name="connsiteX160" fmla="*/ 924710 w 970063"/>
                <a:gd name="connsiteY160" fmla="*/ 405663 h 781090"/>
                <a:gd name="connsiteX161" fmla="*/ 923450 w 970063"/>
                <a:gd name="connsiteY161" fmla="*/ 405663 h 781090"/>
                <a:gd name="connsiteX162" fmla="*/ 912112 w 970063"/>
                <a:gd name="connsiteY162" fmla="*/ 405663 h 781090"/>
                <a:gd name="connsiteX163" fmla="*/ 899514 w 970063"/>
                <a:gd name="connsiteY163" fmla="*/ 406923 h 781090"/>
                <a:gd name="connsiteX164" fmla="*/ 878097 w 970063"/>
                <a:gd name="connsiteY164" fmla="*/ 413222 h 781090"/>
                <a:gd name="connsiteX165" fmla="*/ 860459 w 970063"/>
                <a:gd name="connsiteY165" fmla="*/ 422041 h 781090"/>
                <a:gd name="connsiteX166" fmla="*/ 854160 w 970063"/>
                <a:gd name="connsiteY166" fmla="*/ 425820 h 781090"/>
                <a:gd name="connsiteX167" fmla="*/ 854160 w 970063"/>
                <a:gd name="connsiteY167" fmla="*/ 425820 h 781090"/>
                <a:gd name="connsiteX168" fmla="*/ 850381 w 970063"/>
                <a:gd name="connsiteY168" fmla="*/ 428340 h 781090"/>
                <a:gd name="connsiteX169" fmla="*/ 841562 w 970063"/>
                <a:gd name="connsiteY169" fmla="*/ 433379 h 781090"/>
                <a:gd name="connsiteX170" fmla="*/ 836523 w 970063"/>
                <a:gd name="connsiteY170" fmla="*/ 437159 h 781090"/>
                <a:gd name="connsiteX171" fmla="*/ 831483 w 970063"/>
                <a:gd name="connsiteY171" fmla="*/ 440938 h 781090"/>
                <a:gd name="connsiteX172" fmla="*/ 820145 w 970063"/>
                <a:gd name="connsiteY172" fmla="*/ 449757 h 781090"/>
                <a:gd name="connsiteX173" fmla="*/ 820145 w 970063"/>
                <a:gd name="connsiteY173" fmla="*/ 449757 h 781090"/>
                <a:gd name="connsiteX174" fmla="*/ 820145 w 970063"/>
                <a:gd name="connsiteY174" fmla="*/ 449757 h 781090"/>
                <a:gd name="connsiteX175" fmla="*/ 820145 w 970063"/>
                <a:gd name="connsiteY175" fmla="*/ 449757 h 781090"/>
                <a:gd name="connsiteX176" fmla="*/ 820145 w 970063"/>
                <a:gd name="connsiteY176" fmla="*/ 449757 h 781090"/>
                <a:gd name="connsiteX177" fmla="*/ 820145 w 970063"/>
                <a:gd name="connsiteY177" fmla="*/ 449757 h 781090"/>
                <a:gd name="connsiteX178" fmla="*/ 820145 w 970063"/>
                <a:gd name="connsiteY178" fmla="*/ 449757 h 781090"/>
                <a:gd name="connsiteX179" fmla="*/ 821405 w 970063"/>
                <a:gd name="connsiteY179" fmla="*/ 449757 h 781090"/>
                <a:gd name="connsiteX180" fmla="*/ 821405 w 970063"/>
                <a:gd name="connsiteY180" fmla="*/ 449757 h 781090"/>
                <a:gd name="connsiteX181" fmla="*/ 817625 w 970063"/>
                <a:gd name="connsiteY181" fmla="*/ 452277 h 781090"/>
                <a:gd name="connsiteX182" fmla="*/ 817625 w 970063"/>
                <a:gd name="connsiteY182" fmla="*/ 452277 h 781090"/>
                <a:gd name="connsiteX183" fmla="*/ 817625 w 970063"/>
                <a:gd name="connsiteY183" fmla="*/ 452277 h 781090"/>
                <a:gd name="connsiteX184" fmla="*/ 817625 w 970063"/>
                <a:gd name="connsiteY184" fmla="*/ 452277 h 781090"/>
                <a:gd name="connsiteX185" fmla="*/ 817625 w 970063"/>
                <a:gd name="connsiteY185" fmla="*/ 452277 h 781090"/>
                <a:gd name="connsiteX186" fmla="*/ 817625 w 970063"/>
                <a:gd name="connsiteY186" fmla="*/ 452277 h 781090"/>
                <a:gd name="connsiteX187" fmla="*/ 816365 w 970063"/>
                <a:gd name="connsiteY187" fmla="*/ 451017 h 781090"/>
                <a:gd name="connsiteX188" fmla="*/ 815106 w 970063"/>
                <a:gd name="connsiteY188" fmla="*/ 449757 h 781090"/>
                <a:gd name="connsiteX189" fmla="*/ 811326 w 970063"/>
                <a:gd name="connsiteY189" fmla="*/ 443458 h 781090"/>
                <a:gd name="connsiteX190" fmla="*/ 799988 w 970063"/>
                <a:gd name="connsiteY190" fmla="*/ 425820 h 781090"/>
                <a:gd name="connsiteX191" fmla="*/ 789909 w 970063"/>
                <a:gd name="connsiteY191" fmla="*/ 410702 h 781090"/>
                <a:gd name="connsiteX192" fmla="*/ 789909 w 970063"/>
                <a:gd name="connsiteY192" fmla="*/ 409443 h 781090"/>
                <a:gd name="connsiteX193" fmla="*/ 789909 w 970063"/>
                <a:gd name="connsiteY193" fmla="*/ 409443 h 781090"/>
                <a:gd name="connsiteX194" fmla="*/ 777311 w 970063"/>
                <a:gd name="connsiteY194" fmla="*/ 389286 h 781090"/>
                <a:gd name="connsiteX195" fmla="*/ 769752 w 970063"/>
                <a:gd name="connsiteY195" fmla="*/ 376687 h 781090"/>
                <a:gd name="connsiteX196" fmla="*/ 769752 w 970063"/>
                <a:gd name="connsiteY196" fmla="*/ 376687 h 781090"/>
                <a:gd name="connsiteX197" fmla="*/ 768492 w 970063"/>
                <a:gd name="connsiteY197" fmla="*/ 375427 h 781090"/>
                <a:gd name="connsiteX198" fmla="*/ 765972 w 970063"/>
                <a:gd name="connsiteY198" fmla="*/ 371648 h 781090"/>
                <a:gd name="connsiteX199" fmla="*/ 765972 w 970063"/>
                <a:gd name="connsiteY199" fmla="*/ 370388 h 781090"/>
                <a:gd name="connsiteX200" fmla="*/ 760933 w 970063"/>
                <a:gd name="connsiteY200" fmla="*/ 362829 h 781090"/>
                <a:gd name="connsiteX201" fmla="*/ 754634 w 970063"/>
                <a:gd name="connsiteY201" fmla="*/ 354010 h 781090"/>
                <a:gd name="connsiteX202" fmla="*/ 750855 w 970063"/>
                <a:gd name="connsiteY202" fmla="*/ 348971 h 781090"/>
                <a:gd name="connsiteX203" fmla="*/ 750855 w 970063"/>
                <a:gd name="connsiteY203" fmla="*/ 347711 h 781090"/>
                <a:gd name="connsiteX204" fmla="*/ 749595 w 970063"/>
                <a:gd name="connsiteY204" fmla="*/ 346451 h 781090"/>
                <a:gd name="connsiteX205" fmla="*/ 742036 w 970063"/>
                <a:gd name="connsiteY205" fmla="*/ 336373 h 781090"/>
                <a:gd name="connsiteX206" fmla="*/ 735737 w 970063"/>
                <a:gd name="connsiteY206" fmla="*/ 326294 h 781090"/>
                <a:gd name="connsiteX207" fmla="*/ 734477 w 970063"/>
                <a:gd name="connsiteY207" fmla="*/ 325034 h 781090"/>
                <a:gd name="connsiteX208" fmla="*/ 734477 w 970063"/>
                <a:gd name="connsiteY208" fmla="*/ 325034 h 781090"/>
                <a:gd name="connsiteX209" fmla="*/ 734477 w 970063"/>
                <a:gd name="connsiteY209" fmla="*/ 325034 h 781090"/>
                <a:gd name="connsiteX210" fmla="*/ 733217 w 970063"/>
                <a:gd name="connsiteY210" fmla="*/ 322515 h 781090"/>
                <a:gd name="connsiteX211" fmla="*/ 730698 w 970063"/>
                <a:gd name="connsiteY211" fmla="*/ 319995 h 781090"/>
                <a:gd name="connsiteX212" fmla="*/ 729438 w 970063"/>
                <a:gd name="connsiteY212" fmla="*/ 318735 h 781090"/>
                <a:gd name="connsiteX213" fmla="*/ 728178 w 970063"/>
                <a:gd name="connsiteY213" fmla="*/ 316216 h 781090"/>
                <a:gd name="connsiteX214" fmla="*/ 728178 w 970063"/>
                <a:gd name="connsiteY214" fmla="*/ 316216 h 781090"/>
                <a:gd name="connsiteX215" fmla="*/ 728178 w 970063"/>
                <a:gd name="connsiteY215" fmla="*/ 316216 h 781090"/>
                <a:gd name="connsiteX216" fmla="*/ 728178 w 970063"/>
                <a:gd name="connsiteY216" fmla="*/ 316216 h 781090"/>
                <a:gd name="connsiteX217" fmla="*/ 728178 w 970063"/>
                <a:gd name="connsiteY217" fmla="*/ 314956 h 781090"/>
                <a:gd name="connsiteX218" fmla="*/ 726918 w 970063"/>
                <a:gd name="connsiteY218" fmla="*/ 313696 h 781090"/>
                <a:gd name="connsiteX219" fmla="*/ 723138 w 970063"/>
                <a:gd name="connsiteY219" fmla="*/ 308657 h 781090"/>
                <a:gd name="connsiteX220" fmla="*/ 721879 w 970063"/>
                <a:gd name="connsiteY220" fmla="*/ 306137 h 781090"/>
                <a:gd name="connsiteX221" fmla="*/ 721879 w 970063"/>
                <a:gd name="connsiteY221" fmla="*/ 304877 h 781090"/>
                <a:gd name="connsiteX222" fmla="*/ 720619 w 970063"/>
                <a:gd name="connsiteY222" fmla="*/ 302358 h 781090"/>
                <a:gd name="connsiteX223" fmla="*/ 716839 w 970063"/>
                <a:gd name="connsiteY223" fmla="*/ 297318 h 781090"/>
                <a:gd name="connsiteX224" fmla="*/ 715579 w 970063"/>
                <a:gd name="connsiteY224" fmla="*/ 296058 h 781090"/>
                <a:gd name="connsiteX225" fmla="*/ 715579 w 970063"/>
                <a:gd name="connsiteY225" fmla="*/ 296058 h 781090"/>
                <a:gd name="connsiteX226" fmla="*/ 713060 w 970063"/>
                <a:gd name="connsiteY226" fmla="*/ 293539 h 781090"/>
                <a:gd name="connsiteX227" fmla="*/ 710540 w 970063"/>
                <a:gd name="connsiteY227" fmla="*/ 291019 h 781090"/>
                <a:gd name="connsiteX228" fmla="*/ 709280 w 970063"/>
                <a:gd name="connsiteY228" fmla="*/ 289759 h 781090"/>
                <a:gd name="connsiteX229" fmla="*/ 706761 w 970063"/>
                <a:gd name="connsiteY229" fmla="*/ 287240 h 781090"/>
                <a:gd name="connsiteX230" fmla="*/ 705501 w 970063"/>
                <a:gd name="connsiteY230" fmla="*/ 285980 h 781090"/>
                <a:gd name="connsiteX231" fmla="*/ 704241 w 970063"/>
                <a:gd name="connsiteY231" fmla="*/ 284720 h 781090"/>
                <a:gd name="connsiteX232" fmla="*/ 704241 w 970063"/>
                <a:gd name="connsiteY232" fmla="*/ 284720 h 781090"/>
                <a:gd name="connsiteX233" fmla="*/ 702981 w 970063"/>
                <a:gd name="connsiteY233" fmla="*/ 283460 h 781090"/>
                <a:gd name="connsiteX234" fmla="*/ 700462 w 970063"/>
                <a:gd name="connsiteY234" fmla="*/ 280941 h 781090"/>
                <a:gd name="connsiteX235" fmla="*/ 697942 w 970063"/>
                <a:gd name="connsiteY235" fmla="*/ 278421 h 781090"/>
                <a:gd name="connsiteX236" fmla="*/ 697942 w 970063"/>
                <a:gd name="connsiteY236" fmla="*/ 278421 h 781090"/>
                <a:gd name="connsiteX237" fmla="*/ 697942 w 970063"/>
                <a:gd name="connsiteY237" fmla="*/ 278421 h 781090"/>
                <a:gd name="connsiteX238" fmla="*/ 695423 w 970063"/>
                <a:gd name="connsiteY238" fmla="*/ 277161 h 781090"/>
                <a:gd name="connsiteX239" fmla="*/ 695423 w 970063"/>
                <a:gd name="connsiteY239" fmla="*/ 277161 h 781090"/>
                <a:gd name="connsiteX240" fmla="*/ 695423 w 970063"/>
                <a:gd name="connsiteY240" fmla="*/ 277161 h 781090"/>
                <a:gd name="connsiteX241" fmla="*/ 694163 w 970063"/>
                <a:gd name="connsiteY241" fmla="*/ 275901 h 781090"/>
                <a:gd name="connsiteX242" fmla="*/ 694163 w 970063"/>
                <a:gd name="connsiteY242" fmla="*/ 275901 h 781090"/>
                <a:gd name="connsiteX243" fmla="*/ 692903 w 970063"/>
                <a:gd name="connsiteY243" fmla="*/ 275901 h 781090"/>
                <a:gd name="connsiteX244" fmla="*/ 692903 w 970063"/>
                <a:gd name="connsiteY244" fmla="*/ 275901 h 781090"/>
                <a:gd name="connsiteX245" fmla="*/ 692903 w 970063"/>
                <a:gd name="connsiteY245" fmla="*/ 277161 h 781090"/>
                <a:gd name="connsiteX246" fmla="*/ 692903 w 970063"/>
                <a:gd name="connsiteY246" fmla="*/ 277161 h 781090"/>
                <a:gd name="connsiteX247" fmla="*/ 692903 w 970063"/>
                <a:gd name="connsiteY247" fmla="*/ 277161 h 781090"/>
                <a:gd name="connsiteX248" fmla="*/ 692903 w 970063"/>
                <a:gd name="connsiteY248" fmla="*/ 277161 h 781090"/>
                <a:gd name="connsiteX249" fmla="*/ 692903 w 970063"/>
                <a:gd name="connsiteY249" fmla="*/ 278421 h 781090"/>
                <a:gd name="connsiteX250" fmla="*/ 692903 w 970063"/>
                <a:gd name="connsiteY250" fmla="*/ 278421 h 781090"/>
                <a:gd name="connsiteX251" fmla="*/ 692903 w 970063"/>
                <a:gd name="connsiteY251" fmla="*/ 280941 h 781090"/>
                <a:gd name="connsiteX252" fmla="*/ 692903 w 970063"/>
                <a:gd name="connsiteY252" fmla="*/ 283460 h 781090"/>
                <a:gd name="connsiteX253" fmla="*/ 692903 w 970063"/>
                <a:gd name="connsiteY253" fmla="*/ 284720 h 781090"/>
                <a:gd name="connsiteX254" fmla="*/ 692903 w 970063"/>
                <a:gd name="connsiteY254" fmla="*/ 285980 h 781090"/>
                <a:gd name="connsiteX255" fmla="*/ 692903 w 970063"/>
                <a:gd name="connsiteY255" fmla="*/ 289759 h 781090"/>
                <a:gd name="connsiteX256" fmla="*/ 692903 w 970063"/>
                <a:gd name="connsiteY256" fmla="*/ 292279 h 781090"/>
                <a:gd name="connsiteX257" fmla="*/ 692903 w 970063"/>
                <a:gd name="connsiteY257" fmla="*/ 293539 h 781090"/>
                <a:gd name="connsiteX258" fmla="*/ 692903 w 970063"/>
                <a:gd name="connsiteY258" fmla="*/ 297318 h 781090"/>
                <a:gd name="connsiteX259" fmla="*/ 692903 w 970063"/>
                <a:gd name="connsiteY259" fmla="*/ 297318 h 781090"/>
                <a:gd name="connsiteX260" fmla="*/ 692903 w 970063"/>
                <a:gd name="connsiteY260" fmla="*/ 297318 h 781090"/>
                <a:gd name="connsiteX261" fmla="*/ 692903 w 970063"/>
                <a:gd name="connsiteY261" fmla="*/ 298578 h 781090"/>
                <a:gd name="connsiteX262" fmla="*/ 692903 w 970063"/>
                <a:gd name="connsiteY262" fmla="*/ 301098 h 781090"/>
                <a:gd name="connsiteX263" fmla="*/ 692903 w 970063"/>
                <a:gd name="connsiteY263" fmla="*/ 301098 h 781090"/>
                <a:gd name="connsiteX264" fmla="*/ 692903 w 970063"/>
                <a:gd name="connsiteY264" fmla="*/ 301098 h 781090"/>
                <a:gd name="connsiteX265" fmla="*/ 692903 w 970063"/>
                <a:gd name="connsiteY265" fmla="*/ 302358 h 781090"/>
                <a:gd name="connsiteX266" fmla="*/ 692903 w 970063"/>
                <a:gd name="connsiteY266" fmla="*/ 303618 h 781090"/>
                <a:gd name="connsiteX267" fmla="*/ 692903 w 970063"/>
                <a:gd name="connsiteY267" fmla="*/ 304877 h 781090"/>
                <a:gd name="connsiteX268" fmla="*/ 694163 w 970063"/>
                <a:gd name="connsiteY268" fmla="*/ 308657 h 781090"/>
                <a:gd name="connsiteX269" fmla="*/ 694163 w 970063"/>
                <a:gd name="connsiteY269" fmla="*/ 309917 h 781090"/>
                <a:gd name="connsiteX270" fmla="*/ 695423 w 970063"/>
                <a:gd name="connsiteY270" fmla="*/ 312436 h 781090"/>
                <a:gd name="connsiteX271" fmla="*/ 695423 w 970063"/>
                <a:gd name="connsiteY271" fmla="*/ 312436 h 781090"/>
                <a:gd name="connsiteX272" fmla="*/ 695423 w 970063"/>
                <a:gd name="connsiteY272" fmla="*/ 314956 h 781090"/>
                <a:gd name="connsiteX273" fmla="*/ 697942 w 970063"/>
                <a:gd name="connsiteY273" fmla="*/ 326294 h 781090"/>
                <a:gd name="connsiteX274" fmla="*/ 699202 w 970063"/>
                <a:gd name="connsiteY274" fmla="*/ 330074 h 781090"/>
                <a:gd name="connsiteX275" fmla="*/ 699202 w 970063"/>
                <a:gd name="connsiteY275" fmla="*/ 331334 h 781090"/>
                <a:gd name="connsiteX276" fmla="*/ 700462 w 970063"/>
                <a:gd name="connsiteY276" fmla="*/ 337633 h 781090"/>
                <a:gd name="connsiteX277" fmla="*/ 701722 w 970063"/>
                <a:gd name="connsiteY277" fmla="*/ 342672 h 781090"/>
                <a:gd name="connsiteX278" fmla="*/ 701722 w 970063"/>
                <a:gd name="connsiteY278" fmla="*/ 342672 h 781090"/>
                <a:gd name="connsiteX279" fmla="*/ 701722 w 970063"/>
                <a:gd name="connsiteY279" fmla="*/ 343932 h 781090"/>
                <a:gd name="connsiteX280" fmla="*/ 702981 w 970063"/>
                <a:gd name="connsiteY280" fmla="*/ 347711 h 781090"/>
                <a:gd name="connsiteX281" fmla="*/ 702981 w 970063"/>
                <a:gd name="connsiteY281" fmla="*/ 350231 h 781090"/>
                <a:gd name="connsiteX282" fmla="*/ 702981 w 970063"/>
                <a:gd name="connsiteY282" fmla="*/ 351491 h 781090"/>
                <a:gd name="connsiteX283" fmla="*/ 702981 w 970063"/>
                <a:gd name="connsiteY283" fmla="*/ 355270 h 781090"/>
                <a:gd name="connsiteX284" fmla="*/ 704241 w 970063"/>
                <a:gd name="connsiteY284" fmla="*/ 361569 h 781090"/>
                <a:gd name="connsiteX285" fmla="*/ 704241 w 970063"/>
                <a:gd name="connsiteY285" fmla="*/ 362829 h 781090"/>
                <a:gd name="connsiteX286" fmla="*/ 706761 w 970063"/>
                <a:gd name="connsiteY286" fmla="*/ 377947 h 781090"/>
                <a:gd name="connsiteX287" fmla="*/ 706761 w 970063"/>
                <a:gd name="connsiteY287" fmla="*/ 377947 h 781090"/>
                <a:gd name="connsiteX288" fmla="*/ 708021 w 970063"/>
                <a:gd name="connsiteY288" fmla="*/ 388026 h 781090"/>
                <a:gd name="connsiteX289" fmla="*/ 708021 w 970063"/>
                <a:gd name="connsiteY289" fmla="*/ 393065 h 781090"/>
                <a:gd name="connsiteX290" fmla="*/ 708021 w 970063"/>
                <a:gd name="connsiteY290" fmla="*/ 394325 h 781090"/>
                <a:gd name="connsiteX291" fmla="*/ 708021 w 970063"/>
                <a:gd name="connsiteY291" fmla="*/ 395585 h 781090"/>
                <a:gd name="connsiteX292" fmla="*/ 708021 w 970063"/>
                <a:gd name="connsiteY292" fmla="*/ 398104 h 781090"/>
                <a:gd name="connsiteX293" fmla="*/ 708021 w 970063"/>
                <a:gd name="connsiteY293" fmla="*/ 403143 h 781090"/>
                <a:gd name="connsiteX294" fmla="*/ 708021 w 970063"/>
                <a:gd name="connsiteY294" fmla="*/ 404403 h 781090"/>
                <a:gd name="connsiteX295" fmla="*/ 708021 w 970063"/>
                <a:gd name="connsiteY295" fmla="*/ 409443 h 781090"/>
                <a:gd name="connsiteX296" fmla="*/ 709280 w 970063"/>
                <a:gd name="connsiteY296" fmla="*/ 419521 h 781090"/>
                <a:gd name="connsiteX297" fmla="*/ 710540 w 970063"/>
                <a:gd name="connsiteY297" fmla="*/ 430860 h 781090"/>
                <a:gd name="connsiteX298" fmla="*/ 710540 w 970063"/>
                <a:gd name="connsiteY298" fmla="*/ 434639 h 781090"/>
                <a:gd name="connsiteX299" fmla="*/ 710540 w 970063"/>
                <a:gd name="connsiteY299" fmla="*/ 435899 h 781090"/>
                <a:gd name="connsiteX300" fmla="*/ 711800 w 970063"/>
                <a:gd name="connsiteY300" fmla="*/ 440938 h 781090"/>
                <a:gd name="connsiteX301" fmla="*/ 713060 w 970063"/>
                <a:gd name="connsiteY301" fmla="*/ 449757 h 781090"/>
                <a:gd name="connsiteX302" fmla="*/ 713060 w 970063"/>
                <a:gd name="connsiteY302" fmla="*/ 449757 h 781090"/>
                <a:gd name="connsiteX303" fmla="*/ 713060 w 970063"/>
                <a:gd name="connsiteY303" fmla="*/ 449757 h 781090"/>
                <a:gd name="connsiteX304" fmla="*/ 713060 w 970063"/>
                <a:gd name="connsiteY304" fmla="*/ 449757 h 781090"/>
                <a:gd name="connsiteX305" fmla="*/ 714320 w 970063"/>
                <a:gd name="connsiteY305" fmla="*/ 454796 h 781090"/>
                <a:gd name="connsiteX306" fmla="*/ 714320 w 970063"/>
                <a:gd name="connsiteY306" fmla="*/ 454796 h 781090"/>
                <a:gd name="connsiteX307" fmla="*/ 715579 w 970063"/>
                <a:gd name="connsiteY307" fmla="*/ 459836 h 781090"/>
                <a:gd name="connsiteX308" fmla="*/ 716839 w 970063"/>
                <a:gd name="connsiteY308" fmla="*/ 461095 h 781090"/>
                <a:gd name="connsiteX309" fmla="*/ 718099 w 970063"/>
                <a:gd name="connsiteY309" fmla="*/ 461095 h 781090"/>
                <a:gd name="connsiteX310" fmla="*/ 719359 w 970063"/>
                <a:gd name="connsiteY310" fmla="*/ 461095 h 781090"/>
                <a:gd name="connsiteX311" fmla="*/ 720619 w 970063"/>
                <a:gd name="connsiteY311" fmla="*/ 461095 h 781090"/>
                <a:gd name="connsiteX312" fmla="*/ 721879 w 970063"/>
                <a:gd name="connsiteY312" fmla="*/ 459836 h 781090"/>
                <a:gd name="connsiteX313" fmla="*/ 721879 w 970063"/>
                <a:gd name="connsiteY313" fmla="*/ 468654 h 781090"/>
                <a:gd name="connsiteX314" fmla="*/ 721879 w 970063"/>
                <a:gd name="connsiteY314" fmla="*/ 473694 h 781090"/>
                <a:gd name="connsiteX315" fmla="*/ 721879 w 970063"/>
                <a:gd name="connsiteY315" fmla="*/ 474953 h 781090"/>
                <a:gd name="connsiteX316" fmla="*/ 721879 w 970063"/>
                <a:gd name="connsiteY316" fmla="*/ 476213 h 781090"/>
                <a:gd name="connsiteX317" fmla="*/ 721879 w 970063"/>
                <a:gd name="connsiteY317" fmla="*/ 477473 h 781090"/>
                <a:gd name="connsiteX318" fmla="*/ 721879 w 970063"/>
                <a:gd name="connsiteY318" fmla="*/ 478733 h 781090"/>
                <a:gd name="connsiteX319" fmla="*/ 721879 w 970063"/>
                <a:gd name="connsiteY319" fmla="*/ 485032 h 781090"/>
                <a:gd name="connsiteX320" fmla="*/ 721879 w 970063"/>
                <a:gd name="connsiteY320" fmla="*/ 487552 h 781090"/>
                <a:gd name="connsiteX321" fmla="*/ 721879 w 970063"/>
                <a:gd name="connsiteY321" fmla="*/ 490071 h 781090"/>
                <a:gd name="connsiteX322" fmla="*/ 721879 w 970063"/>
                <a:gd name="connsiteY322" fmla="*/ 492591 h 781090"/>
                <a:gd name="connsiteX323" fmla="*/ 720619 w 970063"/>
                <a:gd name="connsiteY323" fmla="*/ 510228 h 781090"/>
                <a:gd name="connsiteX324" fmla="*/ 719359 w 970063"/>
                <a:gd name="connsiteY324" fmla="*/ 534165 h 781090"/>
                <a:gd name="connsiteX325" fmla="*/ 719359 w 970063"/>
                <a:gd name="connsiteY325" fmla="*/ 534165 h 781090"/>
                <a:gd name="connsiteX326" fmla="*/ 719359 w 970063"/>
                <a:gd name="connsiteY326" fmla="*/ 534165 h 781090"/>
                <a:gd name="connsiteX327" fmla="*/ 710540 w 970063"/>
                <a:gd name="connsiteY327" fmla="*/ 541724 h 781090"/>
                <a:gd name="connsiteX328" fmla="*/ 686604 w 970063"/>
                <a:gd name="connsiteY328" fmla="*/ 566921 h 781090"/>
                <a:gd name="connsiteX329" fmla="*/ 684084 w 970063"/>
                <a:gd name="connsiteY329" fmla="*/ 569440 h 781090"/>
                <a:gd name="connsiteX330" fmla="*/ 663927 w 970063"/>
                <a:gd name="connsiteY330" fmla="*/ 593377 h 781090"/>
                <a:gd name="connsiteX331" fmla="*/ 652588 w 970063"/>
                <a:gd name="connsiteY331" fmla="*/ 608495 h 781090"/>
                <a:gd name="connsiteX332" fmla="*/ 642510 w 970063"/>
                <a:gd name="connsiteY332" fmla="*/ 623613 h 781090"/>
                <a:gd name="connsiteX333" fmla="*/ 634951 w 970063"/>
                <a:gd name="connsiteY333" fmla="*/ 637471 h 781090"/>
                <a:gd name="connsiteX334" fmla="*/ 634951 w 970063"/>
                <a:gd name="connsiteY334" fmla="*/ 637471 h 781090"/>
                <a:gd name="connsiteX335" fmla="*/ 629912 w 970063"/>
                <a:gd name="connsiteY335" fmla="*/ 646289 h 781090"/>
                <a:gd name="connsiteX336" fmla="*/ 627392 w 970063"/>
                <a:gd name="connsiteY336" fmla="*/ 651329 h 781090"/>
                <a:gd name="connsiteX337" fmla="*/ 627392 w 970063"/>
                <a:gd name="connsiteY337" fmla="*/ 651329 h 781090"/>
                <a:gd name="connsiteX338" fmla="*/ 626132 w 970063"/>
                <a:gd name="connsiteY338" fmla="*/ 653848 h 781090"/>
                <a:gd name="connsiteX339" fmla="*/ 619833 w 970063"/>
                <a:gd name="connsiteY339" fmla="*/ 667706 h 781090"/>
                <a:gd name="connsiteX340" fmla="*/ 619833 w 970063"/>
                <a:gd name="connsiteY340" fmla="*/ 667706 h 781090"/>
                <a:gd name="connsiteX341" fmla="*/ 619833 w 970063"/>
                <a:gd name="connsiteY341" fmla="*/ 668966 h 781090"/>
                <a:gd name="connsiteX342" fmla="*/ 617313 w 970063"/>
                <a:gd name="connsiteY342" fmla="*/ 677785 h 781090"/>
                <a:gd name="connsiteX343" fmla="*/ 617313 w 970063"/>
                <a:gd name="connsiteY343" fmla="*/ 679045 h 781090"/>
                <a:gd name="connsiteX344" fmla="*/ 617313 w 970063"/>
                <a:gd name="connsiteY344" fmla="*/ 679045 h 781090"/>
                <a:gd name="connsiteX345" fmla="*/ 614794 w 970063"/>
                <a:gd name="connsiteY345" fmla="*/ 686604 h 781090"/>
                <a:gd name="connsiteX346" fmla="*/ 614794 w 970063"/>
                <a:gd name="connsiteY346" fmla="*/ 691643 h 781090"/>
                <a:gd name="connsiteX347" fmla="*/ 614794 w 970063"/>
                <a:gd name="connsiteY347" fmla="*/ 694163 h 781090"/>
                <a:gd name="connsiteX348" fmla="*/ 614794 w 970063"/>
                <a:gd name="connsiteY348" fmla="*/ 696682 h 781090"/>
                <a:gd name="connsiteX349" fmla="*/ 614794 w 970063"/>
                <a:gd name="connsiteY349" fmla="*/ 701722 h 781090"/>
                <a:gd name="connsiteX350" fmla="*/ 614794 w 970063"/>
                <a:gd name="connsiteY350" fmla="*/ 701722 h 781090"/>
                <a:gd name="connsiteX351" fmla="*/ 614794 w 970063"/>
                <a:gd name="connsiteY351" fmla="*/ 701722 h 781090"/>
                <a:gd name="connsiteX352" fmla="*/ 614794 w 970063"/>
                <a:gd name="connsiteY352" fmla="*/ 704241 h 781090"/>
                <a:gd name="connsiteX353" fmla="*/ 614794 w 970063"/>
                <a:gd name="connsiteY353" fmla="*/ 710540 h 781090"/>
                <a:gd name="connsiteX354" fmla="*/ 614794 w 970063"/>
                <a:gd name="connsiteY354" fmla="*/ 713060 h 781090"/>
                <a:gd name="connsiteX355" fmla="*/ 614794 w 970063"/>
                <a:gd name="connsiteY355" fmla="*/ 720619 h 781090"/>
                <a:gd name="connsiteX356" fmla="*/ 618573 w 970063"/>
                <a:gd name="connsiteY356" fmla="*/ 738257 h 781090"/>
                <a:gd name="connsiteX357" fmla="*/ 618573 w 970063"/>
                <a:gd name="connsiteY357" fmla="*/ 739516 h 781090"/>
                <a:gd name="connsiteX358" fmla="*/ 622353 w 970063"/>
                <a:gd name="connsiteY358" fmla="*/ 749595 h 781090"/>
                <a:gd name="connsiteX359" fmla="*/ 626132 w 970063"/>
                <a:gd name="connsiteY359" fmla="*/ 758414 h 781090"/>
                <a:gd name="connsiteX360" fmla="*/ 628652 w 970063"/>
                <a:gd name="connsiteY360" fmla="*/ 762193 h 781090"/>
                <a:gd name="connsiteX361" fmla="*/ 629912 w 970063"/>
                <a:gd name="connsiteY361" fmla="*/ 764713 h 781090"/>
                <a:gd name="connsiteX362" fmla="*/ 629912 w 970063"/>
                <a:gd name="connsiteY362" fmla="*/ 765973 h 781090"/>
                <a:gd name="connsiteX363" fmla="*/ 636211 w 970063"/>
                <a:gd name="connsiteY363" fmla="*/ 773532 h 781090"/>
                <a:gd name="connsiteX364" fmla="*/ 636211 w 970063"/>
                <a:gd name="connsiteY364" fmla="*/ 773532 h 781090"/>
                <a:gd name="connsiteX365" fmla="*/ 638731 w 970063"/>
                <a:gd name="connsiteY365" fmla="*/ 776051 h 781090"/>
                <a:gd name="connsiteX366" fmla="*/ 642510 w 970063"/>
                <a:gd name="connsiteY366" fmla="*/ 778571 h 781090"/>
                <a:gd name="connsiteX367" fmla="*/ 643770 w 970063"/>
                <a:gd name="connsiteY367" fmla="*/ 778571 h 781090"/>
                <a:gd name="connsiteX368" fmla="*/ 646289 w 970063"/>
                <a:gd name="connsiteY368" fmla="*/ 779831 h 781090"/>
                <a:gd name="connsiteX369" fmla="*/ 653848 w 970063"/>
                <a:gd name="connsiteY369" fmla="*/ 783610 h 781090"/>
                <a:gd name="connsiteX370" fmla="*/ 653848 w 970063"/>
                <a:gd name="connsiteY370" fmla="*/ 783610 h 781090"/>
                <a:gd name="connsiteX371" fmla="*/ 662667 w 970063"/>
                <a:gd name="connsiteY371" fmla="*/ 786130 h 781090"/>
                <a:gd name="connsiteX372" fmla="*/ 662667 w 970063"/>
                <a:gd name="connsiteY372" fmla="*/ 786130 h 781090"/>
                <a:gd name="connsiteX373" fmla="*/ 662667 w 970063"/>
                <a:gd name="connsiteY373" fmla="*/ 786130 h 781090"/>
                <a:gd name="connsiteX374" fmla="*/ 662667 w 970063"/>
                <a:gd name="connsiteY374" fmla="*/ 786130 h 781090"/>
                <a:gd name="connsiteX375" fmla="*/ 661407 w 970063"/>
                <a:gd name="connsiteY375" fmla="*/ 786130 h 781090"/>
                <a:gd name="connsiteX376" fmla="*/ 660147 w 970063"/>
                <a:gd name="connsiteY376" fmla="*/ 786130 h 781090"/>
                <a:gd name="connsiteX377" fmla="*/ 656368 w 970063"/>
                <a:gd name="connsiteY377" fmla="*/ 786130 h 781090"/>
                <a:gd name="connsiteX378" fmla="*/ 651329 w 970063"/>
                <a:gd name="connsiteY378" fmla="*/ 786130 h 781090"/>
                <a:gd name="connsiteX379" fmla="*/ 631172 w 970063"/>
                <a:gd name="connsiteY379" fmla="*/ 787390 h 781090"/>
                <a:gd name="connsiteX380" fmla="*/ 603455 w 970063"/>
                <a:gd name="connsiteY380" fmla="*/ 787390 h 781090"/>
                <a:gd name="connsiteX381" fmla="*/ 595896 w 970063"/>
                <a:gd name="connsiteY381" fmla="*/ 787390 h 781090"/>
                <a:gd name="connsiteX382" fmla="*/ 593377 w 970063"/>
                <a:gd name="connsiteY382" fmla="*/ 787390 h 781090"/>
                <a:gd name="connsiteX383" fmla="*/ 593377 w 970063"/>
                <a:gd name="connsiteY383" fmla="*/ 787390 h 781090"/>
                <a:gd name="connsiteX384" fmla="*/ 587078 w 970063"/>
                <a:gd name="connsiteY384" fmla="*/ 787390 h 781090"/>
                <a:gd name="connsiteX385" fmla="*/ 578259 w 970063"/>
                <a:gd name="connsiteY385" fmla="*/ 787390 h 781090"/>
                <a:gd name="connsiteX386" fmla="*/ 573220 w 970063"/>
                <a:gd name="connsiteY386" fmla="*/ 787390 h 781090"/>
                <a:gd name="connsiteX387" fmla="*/ 573220 w 970063"/>
                <a:gd name="connsiteY387" fmla="*/ 787390 h 781090"/>
                <a:gd name="connsiteX388" fmla="*/ 573220 w 970063"/>
                <a:gd name="connsiteY388" fmla="*/ 787390 h 781090"/>
                <a:gd name="connsiteX389" fmla="*/ 560621 w 970063"/>
                <a:gd name="connsiteY389" fmla="*/ 787390 h 781090"/>
                <a:gd name="connsiteX390" fmla="*/ 554322 w 970063"/>
                <a:gd name="connsiteY390" fmla="*/ 787390 h 781090"/>
                <a:gd name="connsiteX391" fmla="*/ 553062 w 970063"/>
                <a:gd name="connsiteY391" fmla="*/ 787390 h 781090"/>
                <a:gd name="connsiteX392" fmla="*/ 541724 w 970063"/>
                <a:gd name="connsiteY392" fmla="*/ 787390 h 781090"/>
                <a:gd name="connsiteX393" fmla="*/ 536685 w 970063"/>
                <a:gd name="connsiteY393" fmla="*/ 787390 h 781090"/>
                <a:gd name="connsiteX394" fmla="*/ 535425 w 970063"/>
                <a:gd name="connsiteY394" fmla="*/ 787390 h 781090"/>
                <a:gd name="connsiteX395" fmla="*/ 535425 w 970063"/>
                <a:gd name="connsiteY395" fmla="*/ 787390 h 781090"/>
                <a:gd name="connsiteX396" fmla="*/ 535425 w 970063"/>
                <a:gd name="connsiteY396" fmla="*/ 787390 h 781090"/>
                <a:gd name="connsiteX397" fmla="*/ 524087 w 970063"/>
                <a:gd name="connsiteY397" fmla="*/ 787390 h 781090"/>
                <a:gd name="connsiteX398" fmla="*/ 516528 w 970063"/>
                <a:gd name="connsiteY398" fmla="*/ 787390 h 781090"/>
                <a:gd name="connsiteX399" fmla="*/ 506449 w 970063"/>
                <a:gd name="connsiteY399" fmla="*/ 787390 h 781090"/>
                <a:gd name="connsiteX400" fmla="*/ 488811 w 970063"/>
                <a:gd name="connsiteY400" fmla="*/ 786130 h 781090"/>
                <a:gd name="connsiteX401" fmla="*/ 487552 w 970063"/>
                <a:gd name="connsiteY401" fmla="*/ 786130 h 781090"/>
                <a:gd name="connsiteX402" fmla="*/ 478733 w 970063"/>
                <a:gd name="connsiteY402" fmla="*/ 784870 h 781090"/>
                <a:gd name="connsiteX403" fmla="*/ 477473 w 970063"/>
                <a:gd name="connsiteY403" fmla="*/ 784870 h 781090"/>
                <a:gd name="connsiteX404" fmla="*/ 477473 w 970063"/>
                <a:gd name="connsiteY404" fmla="*/ 784870 h 781090"/>
                <a:gd name="connsiteX405" fmla="*/ 471174 w 970063"/>
                <a:gd name="connsiteY405" fmla="*/ 783610 h 781090"/>
                <a:gd name="connsiteX406" fmla="*/ 468654 w 970063"/>
                <a:gd name="connsiteY406" fmla="*/ 783610 h 781090"/>
                <a:gd name="connsiteX407" fmla="*/ 461095 w 970063"/>
                <a:gd name="connsiteY407" fmla="*/ 783610 h 781090"/>
                <a:gd name="connsiteX408" fmla="*/ 454796 w 970063"/>
                <a:gd name="connsiteY408" fmla="*/ 783610 h 781090"/>
                <a:gd name="connsiteX409" fmla="*/ 453536 w 970063"/>
                <a:gd name="connsiteY409" fmla="*/ 783610 h 781090"/>
                <a:gd name="connsiteX410" fmla="*/ 452276 w 970063"/>
                <a:gd name="connsiteY410" fmla="*/ 783610 h 781090"/>
                <a:gd name="connsiteX411" fmla="*/ 448497 w 970063"/>
                <a:gd name="connsiteY411" fmla="*/ 783610 h 781090"/>
                <a:gd name="connsiteX412" fmla="*/ 448497 w 970063"/>
                <a:gd name="connsiteY412" fmla="*/ 783610 h 781090"/>
                <a:gd name="connsiteX413" fmla="*/ 443458 w 970063"/>
                <a:gd name="connsiteY413" fmla="*/ 783610 h 781090"/>
                <a:gd name="connsiteX414" fmla="*/ 437159 w 970063"/>
                <a:gd name="connsiteY414" fmla="*/ 783610 h 781090"/>
                <a:gd name="connsiteX415" fmla="*/ 434639 w 970063"/>
                <a:gd name="connsiteY415" fmla="*/ 783610 h 781090"/>
                <a:gd name="connsiteX416" fmla="*/ 434639 w 970063"/>
                <a:gd name="connsiteY416" fmla="*/ 783610 h 781090"/>
                <a:gd name="connsiteX417" fmla="*/ 433379 w 970063"/>
                <a:gd name="connsiteY417" fmla="*/ 783610 h 781090"/>
                <a:gd name="connsiteX418" fmla="*/ 423301 w 970063"/>
                <a:gd name="connsiteY418" fmla="*/ 783610 h 781090"/>
                <a:gd name="connsiteX419" fmla="*/ 414482 w 970063"/>
                <a:gd name="connsiteY419" fmla="*/ 783610 h 781090"/>
                <a:gd name="connsiteX420" fmla="*/ 414482 w 970063"/>
                <a:gd name="connsiteY420" fmla="*/ 783610 h 781090"/>
                <a:gd name="connsiteX421" fmla="*/ 413222 w 970063"/>
                <a:gd name="connsiteY421" fmla="*/ 783610 h 781090"/>
                <a:gd name="connsiteX422" fmla="*/ 405663 w 970063"/>
                <a:gd name="connsiteY422" fmla="*/ 783610 h 781090"/>
                <a:gd name="connsiteX423" fmla="*/ 405663 w 970063"/>
                <a:gd name="connsiteY423" fmla="*/ 783610 h 781090"/>
                <a:gd name="connsiteX424" fmla="*/ 405663 w 970063"/>
                <a:gd name="connsiteY424" fmla="*/ 783610 h 781090"/>
                <a:gd name="connsiteX425" fmla="*/ 376687 w 970063"/>
                <a:gd name="connsiteY425" fmla="*/ 784870 h 781090"/>
                <a:gd name="connsiteX426" fmla="*/ 359050 w 970063"/>
                <a:gd name="connsiteY426" fmla="*/ 784870 h 781090"/>
                <a:gd name="connsiteX427" fmla="*/ 357790 w 970063"/>
                <a:gd name="connsiteY427" fmla="*/ 784870 h 781090"/>
                <a:gd name="connsiteX428" fmla="*/ 356530 w 970063"/>
                <a:gd name="connsiteY428" fmla="*/ 784870 h 781090"/>
                <a:gd name="connsiteX429" fmla="*/ 356530 w 970063"/>
                <a:gd name="connsiteY429" fmla="*/ 784870 h 781090"/>
                <a:gd name="connsiteX430" fmla="*/ 355270 w 970063"/>
                <a:gd name="connsiteY430" fmla="*/ 784870 h 781090"/>
                <a:gd name="connsiteX431" fmla="*/ 350231 w 970063"/>
                <a:gd name="connsiteY431" fmla="*/ 784870 h 781090"/>
                <a:gd name="connsiteX432" fmla="*/ 346451 w 970063"/>
                <a:gd name="connsiteY432" fmla="*/ 784870 h 781090"/>
                <a:gd name="connsiteX433" fmla="*/ 342672 w 970063"/>
                <a:gd name="connsiteY433" fmla="*/ 784870 h 781090"/>
                <a:gd name="connsiteX434" fmla="*/ 342672 w 970063"/>
                <a:gd name="connsiteY434" fmla="*/ 784870 h 781090"/>
                <a:gd name="connsiteX435" fmla="*/ 340152 w 970063"/>
                <a:gd name="connsiteY435" fmla="*/ 783610 h 781090"/>
                <a:gd name="connsiteX436" fmla="*/ 337632 w 970063"/>
                <a:gd name="connsiteY436" fmla="*/ 782350 h 781090"/>
                <a:gd name="connsiteX437" fmla="*/ 335113 w 970063"/>
                <a:gd name="connsiteY437" fmla="*/ 779831 h 781090"/>
                <a:gd name="connsiteX438" fmla="*/ 333853 w 970063"/>
                <a:gd name="connsiteY438" fmla="*/ 774791 h 781090"/>
                <a:gd name="connsiteX439" fmla="*/ 333853 w 970063"/>
                <a:gd name="connsiteY439" fmla="*/ 769752 h 781090"/>
                <a:gd name="connsiteX440" fmla="*/ 332593 w 970063"/>
                <a:gd name="connsiteY440" fmla="*/ 764713 h 781090"/>
                <a:gd name="connsiteX441" fmla="*/ 332593 w 970063"/>
                <a:gd name="connsiteY441" fmla="*/ 764713 h 781090"/>
                <a:gd name="connsiteX442" fmla="*/ 332593 w 970063"/>
                <a:gd name="connsiteY442" fmla="*/ 759674 h 781090"/>
                <a:gd name="connsiteX443" fmla="*/ 332593 w 970063"/>
                <a:gd name="connsiteY443" fmla="*/ 759674 h 781090"/>
                <a:gd name="connsiteX444" fmla="*/ 332593 w 970063"/>
                <a:gd name="connsiteY444" fmla="*/ 759674 h 781090"/>
                <a:gd name="connsiteX445" fmla="*/ 332593 w 970063"/>
                <a:gd name="connsiteY445" fmla="*/ 755894 h 781090"/>
                <a:gd name="connsiteX446" fmla="*/ 332593 w 970063"/>
                <a:gd name="connsiteY446" fmla="*/ 752114 h 781090"/>
                <a:gd name="connsiteX447" fmla="*/ 330074 w 970063"/>
                <a:gd name="connsiteY447" fmla="*/ 724398 h 781090"/>
                <a:gd name="connsiteX448" fmla="*/ 328814 w 970063"/>
                <a:gd name="connsiteY448" fmla="*/ 705501 h 781090"/>
                <a:gd name="connsiteX449" fmla="*/ 328814 w 970063"/>
                <a:gd name="connsiteY449" fmla="*/ 696682 h 781090"/>
                <a:gd name="connsiteX450" fmla="*/ 328814 w 970063"/>
                <a:gd name="connsiteY450" fmla="*/ 684084 h 781090"/>
                <a:gd name="connsiteX451" fmla="*/ 328814 w 970063"/>
                <a:gd name="connsiteY451" fmla="*/ 675265 h 781090"/>
                <a:gd name="connsiteX452" fmla="*/ 328814 w 970063"/>
                <a:gd name="connsiteY452" fmla="*/ 661407 h 781090"/>
                <a:gd name="connsiteX453" fmla="*/ 327554 w 970063"/>
                <a:gd name="connsiteY453" fmla="*/ 617313 h 781090"/>
                <a:gd name="connsiteX454" fmla="*/ 327554 w 970063"/>
                <a:gd name="connsiteY454" fmla="*/ 614794 h 781090"/>
                <a:gd name="connsiteX455" fmla="*/ 326294 w 970063"/>
                <a:gd name="connsiteY455" fmla="*/ 592117 h 781090"/>
                <a:gd name="connsiteX456" fmla="*/ 326294 w 970063"/>
                <a:gd name="connsiteY456" fmla="*/ 578259 h 781090"/>
                <a:gd name="connsiteX457" fmla="*/ 326294 w 970063"/>
                <a:gd name="connsiteY457" fmla="*/ 570700 h 781090"/>
                <a:gd name="connsiteX458" fmla="*/ 326294 w 970063"/>
                <a:gd name="connsiteY458" fmla="*/ 548023 h 781090"/>
                <a:gd name="connsiteX459" fmla="*/ 326294 w 970063"/>
                <a:gd name="connsiteY459" fmla="*/ 540464 h 781090"/>
                <a:gd name="connsiteX460" fmla="*/ 326294 w 970063"/>
                <a:gd name="connsiteY460" fmla="*/ 525346 h 781090"/>
                <a:gd name="connsiteX461" fmla="*/ 326294 w 970063"/>
                <a:gd name="connsiteY461" fmla="*/ 508969 h 781090"/>
                <a:gd name="connsiteX462" fmla="*/ 326294 w 970063"/>
                <a:gd name="connsiteY462" fmla="*/ 501410 h 781090"/>
                <a:gd name="connsiteX463" fmla="*/ 326294 w 970063"/>
                <a:gd name="connsiteY463" fmla="*/ 479993 h 781090"/>
                <a:gd name="connsiteX464" fmla="*/ 326294 w 970063"/>
                <a:gd name="connsiteY464" fmla="*/ 462355 h 781090"/>
                <a:gd name="connsiteX465" fmla="*/ 326294 w 970063"/>
                <a:gd name="connsiteY465" fmla="*/ 433379 h 781090"/>
                <a:gd name="connsiteX466" fmla="*/ 326294 w 970063"/>
                <a:gd name="connsiteY466" fmla="*/ 433379 h 781090"/>
                <a:gd name="connsiteX467" fmla="*/ 326294 w 970063"/>
                <a:gd name="connsiteY467" fmla="*/ 410702 h 781090"/>
                <a:gd name="connsiteX468" fmla="*/ 326294 w 970063"/>
                <a:gd name="connsiteY468" fmla="*/ 396844 h 781090"/>
                <a:gd name="connsiteX469" fmla="*/ 326294 w 970063"/>
                <a:gd name="connsiteY469" fmla="*/ 388026 h 781090"/>
                <a:gd name="connsiteX470" fmla="*/ 326294 w 970063"/>
                <a:gd name="connsiteY470" fmla="*/ 377947 h 781090"/>
                <a:gd name="connsiteX471" fmla="*/ 326294 w 970063"/>
                <a:gd name="connsiteY471" fmla="*/ 365349 h 781090"/>
                <a:gd name="connsiteX472" fmla="*/ 326294 w 970063"/>
                <a:gd name="connsiteY472" fmla="*/ 356530 h 781090"/>
                <a:gd name="connsiteX473" fmla="*/ 326294 w 970063"/>
                <a:gd name="connsiteY473" fmla="*/ 352751 h 781090"/>
                <a:gd name="connsiteX474" fmla="*/ 326294 w 970063"/>
                <a:gd name="connsiteY474" fmla="*/ 340152 h 781090"/>
                <a:gd name="connsiteX475" fmla="*/ 326294 w 970063"/>
                <a:gd name="connsiteY475" fmla="*/ 326294 h 781090"/>
                <a:gd name="connsiteX476" fmla="*/ 326294 w 970063"/>
                <a:gd name="connsiteY476" fmla="*/ 318735 h 781090"/>
                <a:gd name="connsiteX477" fmla="*/ 326294 w 970063"/>
                <a:gd name="connsiteY477" fmla="*/ 299838 h 781090"/>
                <a:gd name="connsiteX478" fmla="*/ 326294 w 970063"/>
                <a:gd name="connsiteY478" fmla="*/ 296058 h 781090"/>
                <a:gd name="connsiteX479" fmla="*/ 326294 w 970063"/>
                <a:gd name="connsiteY479" fmla="*/ 279681 h 781090"/>
                <a:gd name="connsiteX480" fmla="*/ 327554 w 970063"/>
                <a:gd name="connsiteY480" fmla="*/ 279681 h 781090"/>
                <a:gd name="connsiteX481" fmla="*/ 328814 w 970063"/>
                <a:gd name="connsiteY481" fmla="*/ 278421 h 781090"/>
                <a:gd name="connsiteX482" fmla="*/ 330074 w 970063"/>
                <a:gd name="connsiteY482" fmla="*/ 275901 h 781090"/>
                <a:gd name="connsiteX483" fmla="*/ 328814 w 970063"/>
                <a:gd name="connsiteY483" fmla="*/ 273382 h 781090"/>
                <a:gd name="connsiteX484" fmla="*/ 328814 w 970063"/>
                <a:gd name="connsiteY484" fmla="*/ 273382 h 781090"/>
                <a:gd name="connsiteX485" fmla="*/ 328814 w 970063"/>
                <a:gd name="connsiteY485" fmla="*/ 273382 h 781090"/>
                <a:gd name="connsiteX486" fmla="*/ 328814 w 970063"/>
                <a:gd name="connsiteY486" fmla="*/ 273382 h 781090"/>
                <a:gd name="connsiteX487" fmla="*/ 328814 w 970063"/>
                <a:gd name="connsiteY487" fmla="*/ 264563 h 781090"/>
                <a:gd name="connsiteX488" fmla="*/ 330074 w 970063"/>
                <a:gd name="connsiteY488" fmla="*/ 251965 h 781090"/>
                <a:gd name="connsiteX489" fmla="*/ 331333 w 970063"/>
                <a:gd name="connsiteY489" fmla="*/ 238107 h 781090"/>
                <a:gd name="connsiteX490" fmla="*/ 331333 w 970063"/>
                <a:gd name="connsiteY490" fmla="*/ 234327 h 781090"/>
                <a:gd name="connsiteX491" fmla="*/ 331333 w 970063"/>
                <a:gd name="connsiteY491" fmla="*/ 231808 h 781090"/>
                <a:gd name="connsiteX492" fmla="*/ 331333 w 970063"/>
                <a:gd name="connsiteY492" fmla="*/ 229288 h 781090"/>
                <a:gd name="connsiteX493" fmla="*/ 331333 w 970063"/>
                <a:gd name="connsiteY493" fmla="*/ 225508 h 781090"/>
                <a:gd name="connsiteX494" fmla="*/ 331333 w 970063"/>
                <a:gd name="connsiteY494" fmla="*/ 219209 h 781090"/>
                <a:gd name="connsiteX495" fmla="*/ 331333 w 970063"/>
                <a:gd name="connsiteY495" fmla="*/ 216690 h 781090"/>
                <a:gd name="connsiteX496" fmla="*/ 331333 w 970063"/>
                <a:gd name="connsiteY496" fmla="*/ 212910 h 781090"/>
                <a:gd name="connsiteX497" fmla="*/ 331333 w 970063"/>
                <a:gd name="connsiteY497" fmla="*/ 210390 h 781090"/>
                <a:gd name="connsiteX498" fmla="*/ 331333 w 970063"/>
                <a:gd name="connsiteY498" fmla="*/ 206611 h 781090"/>
                <a:gd name="connsiteX499" fmla="*/ 331333 w 970063"/>
                <a:gd name="connsiteY499" fmla="*/ 204091 h 781090"/>
                <a:gd name="connsiteX500" fmla="*/ 331333 w 970063"/>
                <a:gd name="connsiteY500" fmla="*/ 200312 h 781090"/>
                <a:gd name="connsiteX501" fmla="*/ 331333 w 970063"/>
                <a:gd name="connsiteY501" fmla="*/ 199052 h 781090"/>
                <a:gd name="connsiteX502" fmla="*/ 331333 w 970063"/>
                <a:gd name="connsiteY502" fmla="*/ 197792 h 781090"/>
                <a:gd name="connsiteX503" fmla="*/ 331333 w 970063"/>
                <a:gd name="connsiteY503" fmla="*/ 195273 h 781090"/>
                <a:gd name="connsiteX504" fmla="*/ 330074 w 970063"/>
                <a:gd name="connsiteY504" fmla="*/ 195273 h 781090"/>
                <a:gd name="connsiteX505" fmla="*/ 328814 w 970063"/>
                <a:gd name="connsiteY505" fmla="*/ 195273 h 781090"/>
                <a:gd name="connsiteX506" fmla="*/ 327554 w 970063"/>
                <a:gd name="connsiteY506" fmla="*/ 195273 h 781090"/>
                <a:gd name="connsiteX507" fmla="*/ 327554 w 970063"/>
                <a:gd name="connsiteY507" fmla="*/ 195273 h 781090"/>
                <a:gd name="connsiteX508" fmla="*/ 327554 w 970063"/>
                <a:gd name="connsiteY508" fmla="*/ 195273 h 781090"/>
                <a:gd name="connsiteX509" fmla="*/ 326294 w 970063"/>
                <a:gd name="connsiteY509" fmla="*/ 195273 h 781090"/>
                <a:gd name="connsiteX510" fmla="*/ 323775 w 970063"/>
                <a:gd name="connsiteY510" fmla="*/ 196533 h 781090"/>
                <a:gd name="connsiteX511" fmla="*/ 321255 w 970063"/>
                <a:gd name="connsiteY511" fmla="*/ 197792 h 781090"/>
                <a:gd name="connsiteX512" fmla="*/ 317476 w 970063"/>
                <a:gd name="connsiteY512" fmla="*/ 199052 h 781090"/>
                <a:gd name="connsiteX513" fmla="*/ 311177 w 970063"/>
                <a:gd name="connsiteY513" fmla="*/ 201572 h 781090"/>
                <a:gd name="connsiteX514" fmla="*/ 311177 w 970063"/>
                <a:gd name="connsiteY514" fmla="*/ 201572 h 781090"/>
                <a:gd name="connsiteX515" fmla="*/ 304877 w 970063"/>
                <a:gd name="connsiteY515" fmla="*/ 204091 h 781090"/>
                <a:gd name="connsiteX516" fmla="*/ 301098 w 970063"/>
                <a:gd name="connsiteY516" fmla="*/ 205351 h 781090"/>
                <a:gd name="connsiteX517" fmla="*/ 298578 w 970063"/>
                <a:gd name="connsiteY517" fmla="*/ 206611 h 781090"/>
                <a:gd name="connsiteX518" fmla="*/ 298578 w 970063"/>
                <a:gd name="connsiteY518" fmla="*/ 206611 h 781090"/>
                <a:gd name="connsiteX519" fmla="*/ 292279 w 970063"/>
                <a:gd name="connsiteY519" fmla="*/ 207871 h 781090"/>
                <a:gd name="connsiteX520" fmla="*/ 288499 w 970063"/>
                <a:gd name="connsiteY520" fmla="*/ 209131 h 781090"/>
                <a:gd name="connsiteX521" fmla="*/ 285980 w 970063"/>
                <a:gd name="connsiteY521" fmla="*/ 209131 h 781090"/>
                <a:gd name="connsiteX522" fmla="*/ 279681 w 970063"/>
                <a:gd name="connsiteY522" fmla="*/ 210390 h 781090"/>
                <a:gd name="connsiteX523" fmla="*/ 264563 w 970063"/>
                <a:gd name="connsiteY523" fmla="*/ 212910 h 781090"/>
                <a:gd name="connsiteX524" fmla="*/ 263303 w 970063"/>
                <a:gd name="connsiteY524" fmla="*/ 212910 h 781090"/>
                <a:gd name="connsiteX525" fmla="*/ 258264 w 970063"/>
                <a:gd name="connsiteY525" fmla="*/ 214170 h 781090"/>
                <a:gd name="connsiteX526" fmla="*/ 254484 w 970063"/>
                <a:gd name="connsiteY526" fmla="*/ 214170 h 781090"/>
                <a:gd name="connsiteX527" fmla="*/ 250705 w 970063"/>
                <a:gd name="connsiteY527" fmla="*/ 214170 h 781090"/>
                <a:gd name="connsiteX528" fmla="*/ 246925 w 970063"/>
                <a:gd name="connsiteY528" fmla="*/ 214170 h 781090"/>
                <a:gd name="connsiteX529" fmla="*/ 244406 w 970063"/>
                <a:gd name="connsiteY529" fmla="*/ 214170 h 781090"/>
                <a:gd name="connsiteX530" fmla="*/ 244406 w 970063"/>
                <a:gd name="connsiteY530" fmla="*/ 214170 h 781090"/>
                <a:gd name="connsiteX531" fmla="*/ 236847 w 970063"/>
                <a:gd name="connsiteY531" fmla="*/ 214170 h 781090"/>
                <a:gd name="connsiteX532" fmla="*/ 222989 w 970063"/>
                <a:gd name="connsiteY532" fmla="*/ 215430 h 781090"/>
                <a:gd name="connsiteX533" fmla="*/ 215430 w 970063"/>
                <a:gd name="connsiteY533" fmla="*/ 216690 h 781090"/>
                <a:gd name="connsiteX534" fmla="*/ 209131 w 970063"/>
                <a:gd name="connsiteY534" fmla="*/ 217949 h 781090"/>
                <a:gd name="connsiteX535" fmla="*/ 207871 w 970063"/>
                <a:gd name="connsiteY535" fmla="*/ 217949 h 781090"/>
                <a:gd name="connsiteX536" fmla="*/ 207871 w 970063"/>
                <a:gd name="connsiteY536" fmla="*/ 217949 h 781090"/>
                <a:gd name="connsiteX537" fmla="*/ 206611 w 970063"/>
                <a:gd name="connsiteY537" fmla="*/ 217949 h 781090"/>
                <a:gd name="connsiteX538" fmla="*/ 200312 w 970063"/>
                <a:gd name="connsiteY538" fmla="*/ 215430 h 781090"/>
                <a:gd name="connsiteX539" fmla="*/ 200312 w 970063"/>
                <a:gd name="connsiteY539" fmla="*/ 215430 h 781090"/>
                <a:gd name="connsiteX540" fmla="*/ 197792 w 970063"/>
                <a:gd name="connsiteY540" fmla="*/ 215430 h 781090"/>
                <a:gd name="connsiteX541" fmla="*/ 194013 w 970063"/>
                <a:gd name="connsiteY541" fmla="*/ 215430 h 781090"/>
                <a:gd name="connsiteX542" fmla="*/ 194013 w 970063"/>
                <a:gd name="connsiteY542" fmla="*/ 215430 h 781090"/>
                <a:gd name="connsiteX543" fmla="*/ 191493 w 970063"/>
                <a:gd name="connsiteY543" fmla="*/ 216690 h 781090"/>
                <a:gd name="connsiteX544" fmla="*/ 191493 w 970063"/>
                <a:gd name="connsiteY544" fmla="*/ 216690 h 781090"/>
                <a:gd name="connsiteX545" fmla="*/ 190233 w 970063"/>
                <a:gd name="connsiteY545" fmla="*/ 216690 h 781090"/>
                <a:gd name="connsiteX546" fmla="*/ 181414 w 970063"/>
                <a:gd name="connsiteY546" fmla="*/ 212910 h 781090"/>
                <a:gd name="connsiteX547" fmla="*/ 175115 w 970063"/>
                <a:gd name="connsiteY547" fmla="*/ 210390 h 781090"/>
                <a:gd name="connsiteX548" fmla="*/ 172596 w 970063"/>
                <a:gd name="connsiteY548" fmla="*/ 209131 h 781090"/>
                <a:gd name="connsiteX549" fmla="*/ 165037 w 970063"/>
                <a:gd name="connsiteY549" fmla="*/ 204091 h 781090"/>
                <a:gd name="connsiteX550" fmla="*/ 154958 w 970063"/>
                <a:gd name="connsiteY550" fmla="*/ 199052 h 781090"/>
                <a:gd name="connsiteX551" fmla="*/ 146140 w 970063"/>
                <a:gd name="connsiteY551" fmla="*/ 194013 h 781090"/>
                <a:gd name="connsiteX552" fmla="*/ 138581 w 970063"/>
                <a:gd name="connsiteY552" fmla="*/ 190233 h 781090"/>
                <a:gd name="connsiteX553" fmla="*/ 99526 w 970063"/>
                <a:gd name="connsiteY553" fmla="*/ 165037 h 781090"/>
                <a:gd name="connsiteX554" fmla="*/ 99526 w 970063"/>
                <a:gd name="connsiteY554" fmla="*/ 165037 h 781090"/>
                <a:gd name="connsiteX555" fmla="*/ 79369 w 970063"/>
                <a:gd name="connsiteY555" fmla="*/ 151179 h 781090"/>
                <a:gd name="connsiteX556" fmla="*/ 64251 w 970063"/>
                <a:gd name="connsiteY556" fmla="*/ 138581 h 781090"/>
                <a:gd name="connsiteX557" fmla="*/ 60471 w 970063"/>
                <a:gd name="connsiteY557" fmla="*/ 136061 h 781090"/>
                <a:gd name="connsiteX558" fmla="*/ 42834 w 970063"/>
                <a:gd name="connsiteY558" fmla="*/ 120943 h 781090"/>
                <a:gd name="connsiteX559" fmla="*/ 41574 w 970063"/>
                <a:gd name="connsiteY559" fmla="*/ 120943 h 781090"/>
                <a:gd name="connsiteX560" fmla="*/ 25196 w 970063"/>
                <a:gd name="connsiteY560" fmla="*/ 105825 h 781090"/>
                <a:gd name="connsiteX561" fmla="*/ 17637 w 970063"/>
                <a:gd name="connsiteY561" fmla="*/ 95747 h 781090"/>
                <a:gd name="connsiteX562" fmla="*/ 11338 w 970063"/>
                <a:gd name="connsiteY562" fmla="*/ 85668 h 781090"/>
                <a:gd name="connsiteX563" fmla="*/ 1260 w 970063"/>
                <a:gd name="connsiteY563" fmla="*/ 69290 h 781090"/>
                <a:gd name="connsiteX564" fmla="*/ 0 w 970063"/>
                <a:gd name="connsiteY564" fmla="*/ 66771 h 781090"/>
                <a:gd name="connsiteX565" fmla="*/ 8819 w 970063"/>
                <a:gd name="connsiteY565" fmla="*/ 74330 h 781090"/>
                <a:gd name="connsiteX566" fmla="*/ 15118 w 970063"/>
                <a:gd name="connsiteY566" fmla="*/ 79369 h 781090"/>
                <a:gd name="connsiteX567" fmla="*/ 16378 w 970063"/>
                <a:gd name="connsiteY567" fmla="*/ 80629 h 781090"/>
                <a:gd name="connsiteX568" fmla="*/ 21417 w 970063"/>
                <a:gd name="connsiteY568" fmla="*/ 83148 h 781090"/>
                <a:gd name="connsiteX569" fmla="*/ 35275 w 970063"/>
                <a:gd name="connsiteY569" fmla="*/ 89448 h 781090"/>
                <a:gd name="connsiteX570" fmla="*/ 41574 w 970063"/>
                <a:gd name="connsiteY570" fmla="*/ 90707 h 781090"/>
                <a:gd name="connsiteX571" fmla="*/ 44094 w 970063"/>
                <a:gd name="connsiteY571" fmla="*/ 90707 h 781090"/>
                <a:gd name="connsiteX572" fmla="*/ 47873 w 970063"/>
                <a:gd name="connsiteY572" fmla="*/ 91967 h 781090"/>
                <a:gd name="connsiteX573" fmla="*/ 52913 w 970063"/>
                <a:gd name="connsiteY573" fmla="*/ 93227 h 781090"/>
                <a:gd name="connsiteX574" fmla="*/ 56692 w 970063"/>
                <a:gd name="connsiteY574" fmla="*/ 93227 h 781090"/>
                <a:gd name="connsiteX575" fmla="*/ 62991 w 970063"/>
                <a:gd name="connsiteY575" fmla="*/ 93227 h 781090"/>
                <a:gd name="connsiteX576" fmla="*/ 66770 w 970063"/>
                <a:gd name="connsiteY576" fmla="*/ 93227 h 781090"/>
                <a:gd name="connsiteX577" fmla="*/ 66770 w 970063"/>
                <a:gd name="connsiteY577" fmla="*/ 93227 h 781090"/>
                <a:gd name="connsiteX578" fmla="*/ 70550 w 970063"/>
                <a:gd name="connsiteY578" fmla="*/ 93227 h 781090"/>
                <a:gd name="connsiteX579" fmla="*/ 79369 w 970063"/>
                <a:gd name="connsiteY579" fmla="*/ 91967 h 781090"/>
                <a:gd name="connsiteX580" fmla="*/ 86928 w 970063"/>
                <a:gd name="connsiteY580" fmla="*/ 90707 h 781090"/>
                <a:gd name="connsiteX581" fmla="*/ 93227 w 970063"/>
                <a:gd name="connsiteY581" fmla="*/ 88188 h 781090"/>
                <a:gd name="connsiteX582" fmla="*/ 97007 w 970063"/>
                <a:gd name="connsiteY582" fmla="*/ 86928 h 781090"/>
                <a:gd name="connsiteX583" fmla="*/ 97007 w 970063"/>
                <a:gd name="connsiteY583" fmla="*/ 86928 h 781090"/>
                <a:gd name="connsiteX584" fmla="*/ 98266 w 970063"/>
                <a:gd name="connsiteY584" fmla="*/ 85668 h 781090"/>
                <a:gd name="connsiteX585" fmla="*/ 99526 w 970063"/>
                <a:gd name="connsiteY585" fmla="*/ 84408 h 781090"/>
                <a:gd name="connsiteX586" fmla="*/ 99526 w 970063"/>
                <a:gd name="connsiteY586" fmla="*/ 84408 h 781090"/>
                <a:gd name="connsiteX587" fmla="*/ 104565 w 970063"/>
                <a:gd name="connsiteY587" fmla="*/ 81889 h 781090"/>
                <a:gd name="connsiteX588" fmla="*/ 105825 w 970063"/>
                <a:gd name="connsiteY588" fmla="*/ 81889 h 781090"/>
                <a:gd name="connsiteX589" fmla="*/ 112124 w 970063"/>
                <a:gd name="connsiteY589" fmla="*/ 78109 h 781090"/>
                <a:gd name="connsiteX590" fmla="*/ 118423 w 970063"/>
                <a:gd name="connsiteY590" fmla="*/ 74330 h 781090"/>
                <a:gd name="connsiteX591" fmla="*/ 124722 w 970063"/>
                <a:gd name="connsiteY591" fmla="*/ 68031 h 781090"/>
                <a:gd name="connsiteX592" fmla="*/ 127242 w 970063"/>
                <a:gd name="connsiteY592" fmla="*/ 64251 h 781090"/>
                <a:gd name="connsiteX593" fmla="*/ 127242 w 970063"/>
                <a:gd name="connsiteY593" fmla="*/ 64251 h 781090"/>
                <a:gd name="connsiteX594" fmla="*/ 128502 w 970063"/>
                <a:gd name="connsiteY594" fmla="*/ 61731 h 781090"/>
                <a:gd name="connsiteX595" fmla="*/ 133541 w 970063"/>
                <a:gd name="connsiteY595" fmla="*/ 51653 h 781090"/>
                <a:gd name="connsiteX596" fmla="*/ 134801 w 970063"/>
                <a:gd name="connsiteY596" fmla="*/ 49133 h 781090"/>
                <a:gd name="connsiteX597" fmla="*/ 134801 w 970063"/>
                <a:gd name="connsiteY597" fmla="*/ 49133 h 781090"/>
                <a:gd name="connsiteX598" fmla="*/ 134801 w 970063"/>
                <a:gd name="connsiteY598" fmla="*/ 49133 h 781090"/>
                <a:gd name="connsiteX599" fmla="*/ 134801 w 970063"/>
                <a:gd name="connsiteY599" fmla="*/ 49133 h 781090"/>
                <a:gd name="connsiteX600" fmla="*/ 134801 w 970063"/>
                <a:gd name="connsiteY600" fmla="*/ 49133 h 781090"/>
                <a:gd name="connsiteX601" fmla="*/ 134801 w 970063"/>
                <a:gd name="connsiteY601" fmla="*/ 49133 h 781090"/>
                <a:gd name="connsiteX602" fmla="*/ 134801 w 970063"/>
                <a:gd name="connsiteY602" fmla="*/ 49133 h 781090"/>
                <a:gd name="connsiteX603" fmla="*/ 139840 w 970063"/>
                <a:gd name="connsiteY603" fmla="*/ 35275 h 781090"/>
                <a:gd name="connsiteX604" fmla="*/ 139840 w 970063"/>
                <a:gd name="connsiteY604" fmla="*/ 34015 h 781090"/>
                <a:gd name="connsiteX605" fmla="*/ 141100 w 970063"/>
                <a:gd name="connsiteY605" fmla="*/ 28976 h 781090"/>
                <a:gd name="connsiteX606" fmla="*/ 142360 w 970063"/>
                <a:gd name="connsiteY606" fmla="*/ 22677 h 781090"/>
                <a:gd name="connsiteX607" fmla="*/ 142360 w 970063"/>
                <a:gd name="connsiteY607" fmla="*/ 16378 h 781090"/>
                <a:gd name="connsiteX608" fmla="*/ 142360 w 970063"/>
                <a:gd name="connsiteY608" fmla="*/ 15118 h 781090"/>
                <a:gd name="connsiteX609" fmla="*/ 142360 w 970063"/>
                <a:gd name="connsiteY609" fmla="*/ 15118 h 781090"/>
                <a:gd name="connsiteX610" fmla="*/ 142360 w 970063"/>
                <a:gd name="connsiteY610" fmla="*/ 15118 h 781090"/>
                <a:gd name="connsiteX611" fmla="*/ 142360 w 970063"/>
                <a:gd name="connsiteY611" fmla="*/ 12598 h 781090"/>
                <a:gd name="connsiteX612" fmla="*/ 141100 w 970063"/>
                <a:gd name="connsiteY612" fmla="*/ 5039 h 781090"/>
                <a:gd name="connsiteX613" fmla="*/ 139840 w 970063"/>
                <a:gd name="connsiteY613" fmla="*/ 0 h 781090"/>
                <a:gd name="connsiteX614" fmla="*/ 151179 w 970063"/>
                <a:gd name="connsiteY614" fmla="*/ 12598 h 78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</a:cxnLst>
              <a:rect l="l" t="t" r="r" b="b"/>
              <a:pathLst>
                <a:path w="970063" h="781090">
                  <a:moveTo>
                    <a:pt x="151179" y="12598"/>
                  </a:moveTo>
                  <a:cubicBezTo>
                    <a:pt x="153699" y="16378"/>
                    <a:pt x="154958" y="20157"/>
                    <a:pt x="157478" y="22677"/>
                  </a:cubicBezTo>
                  <a:cubicBezTo>
                    <a:pt x="159998" y="25196"/>
                    <a:pt x="162517" y="27716"/>
                    <a:pt x="166297" y="30236"/>
                  </a:cubicBezTo>
                  <a:cubicBezTo>
                    <a:pt x="168816" y="32755"/>
                    <a:pt x="171336" y="34015"/>
                    <a:pt x="173855" y="35275"/>
                  </a:cubicBezTo>
                  <a:cubicBezTo>
                    <a:pt x="177635" y="36535"/>
                    <a:pt x="181414" y="39055"/>
                    <a:pt x="185194" y="40314"/>
                  </a:cubicBezTo>
                  <a:cubicBezTo>
                    <a:pt x="187714" y="41574"/>
                    <a:pt x="191493" y="42834"/>
                    <a:pt x="194013" y="44094"/>
                  </a:cubicBezTo>
                  <a:cubicBezTo>
                    <a:pt x="196533" y="45354"/>
                    <a:pt x="200312" y="46613"/>
                    <a:pt x="204092" y="47873"/>
                  </a:cubicBezTo>
                  <a:cubicBezTo>
                    <a:pt x="204092" y="47873"/>
                    <a:pt x="205351" y="47873"/>
                    <a:pt x="205351" y="47873"/>
                  </a:cubicBezTo>
                  <a:cubicBezTo>
                    <a:pt x="205351" y="47873"/>
                    <a:pt x="205351" y="47873"/>
                    <a:pt x="205351" y="47873"/>
                  </a:cubicBezTo>
                  <a:cubicBezTo>
                    <a:pt x="209131" y="50393"/>
                    <a:pt x="212910" y="52913"/>
                    <a:pt x="216690" y="55432"/>
                  </a:cubicBezTo>
                  <a:cubicBezTo>
                    <a:pt x="219209" y="56692"/>
                    <a:pt x="222989" y="57952"/>
                    <a:pt x="225508" y="60472"/>
                  </a:cubicBezTo>
                  <a:lnTo>
                    <a:pt x="229288" y="62991"/>
                  </a:lnTo>
                  <a:lnTo>
                    <a:pt x="234327" y="65511"/>
                  </a:lnTo>
                  <a:cubicBezTo>
                    <a:pt x="240626" y="69290"/>
                    <a:pt x="248185" y="73070"/>
                    <a:pt x="255744" y="75589"/>
                  </a:cubicBezTo>
                  <a:cubicBezTo>
                    <a:pt x="262043" y="78109"/>
                    <a:pt x="267083" y="79369"/>
                    <a:pt x="272122" y="80629"/>
                  </a:cubicBezTo>
                  <a:cubicBezTo>
                    <a:pt x="277161" y="81889"/>
                    <a:pt x="282200" y="83148"/>
                    <a:pt x="287240" y="83148"/>
                  </a:cubicBezTo>
                  <a:lnTo>
                    <a:pt x="288499" y="83148"/>
                  </a:lnTo>
                  <a:cubicBezTo>
                    <a:pt x="291019" y="83148"/>
                    <a:pt x="293539" y="84408"/>
                    <a:pt x="294799" y="84408"/>
                  </a:cubicBezTo>
                  <a:cubicBezTo>
                    <a:pt x="297318" y="84408"/>
                    <a:pt x="298578" y="85668"/>
                    <a:pt x="301098" y="85668"/>
                  </a:cubicBezTo>
                  <a:lnTo>
                    <a:pt x="302358" y="85668"/>
                  </a:lnTo>
                  <a:cubicBezTo>
                    <a:pt x="303617" y="85668"/>
                    <a:pt x="303617" y="85668"/>
                    <a:pt x="304877" y="85668"/>
                  </a:cubicBezTo>
                  <a:cubicBezTo>
                    <a:pt x="307397" y="86928"/>
                    <a:pt x="309917" y="86928"/>
                    <a:pt x="312436" y="88188"/>
                  </a:cubicBezTo>
                  <a:lnTo>
                    <a:pt x="309917" y="86928"/>
                  </a:lnTo>
                  <a:cubicBezTo>
                    <a:pt x="314956" y="88188"/>
                    <a:pt x="318735" y="90707"/>
                    <a:pt x="323775" y="91967"/>
                  </a:cubicBezTo>
                  <a:cubicBezTo>
                    <a:pt x="326294" y="91967"/>
                    <a:pt x="327554" y="93227"/>
                    <a:pt x="330074" y="93227"/>
                  </a:cubicBezTo>
                  <a:cubicBezTo>
                    <a:pt x="332593" y="93227"/>
                    <a:pt x="333853" y="94487"/>
                    <a:pt x="336373" y="94487"/>
                  </a:cubicBezTo>
                  <a:cubicBezTo>
                    <a:pt x="338892" y="94487"/>
                    <a:pt x="341412" y="95747"/>
                    <a:pt x="343932" y="95747"/>
                  </a:cubicBezTo>
                  <a:cubicBezTo>
                    <a:pt x="347711" y="95747"/>
                    <a:pt x="350231" y="97006"/>
                    <a:pt x="354010" y="98266"/>
                  </a:cubicBezTo>
                  <a:cubicBezTo>
                    <a:pt x="356530" y="99526"/>
                    <a:pt x="360310" y="99526"/>
                    <a:pt x="362829" y="100786"/>
                  </a:cubicBezTo>
                  <a:cubicBezTo>
                    <a:pt x="365349" y="102046"/>
                    <a:pt x="369128" y="102046"/>
                    <a:pt x="371648" y="103305"/>
                  </a:cubicBezTo>
                  <a:cubicBezTo>
                    <a:pt x="374168" y="103305"/>
                    <a:pt x="376687" y="103305"/>
                    <a:pt x="379207" y="103305"/>
                  </a:cubicBezTo>
                  <a:cubicBezTo>
                    <a:pt x="380467" y="103305"/>
                    <a:pt x="381726" y="103305"/>
                    <a:pt x="384246" y="103305"/>
                  </a:cubicBezTo>
                  <a:cubicBezTo>
                    <a:pt x="388025" y="103305"/>
                    <a:pt x="390545" y="103305"/>
                    <a:pt x="394325" y="103305"/>
                  </a:cubicBezTo>
                  <a:cubicBezTo>
                    <a:pt x="401884" y="102046"/>
                    <a:pt x="408183" y="100786"/>
                    <a:pt x="415742" y="99526"/>
                  </a:cubicBezTo>
                  <a:cubicBezTo>
                    <a:pt x="417002" y="99526"/>
                    <a:pt x="418261" y="99526"/>
                    <a:pt x="419521" y="98266"/>
                  </a:cubicBezTo>
                  <a:cubicBezTo>
                    <a:pt x="423301" y="97006"/>
                    <a:pt x="427080" y="97006"/>
                    <a:pt x="430860" y="95747"/>
                  </a:cubicBezTo>
                  <a:cubicBezTo>
                    <a:pt x="433379" y="94487"/>
                    <a:pt x="437159" y="94487"/>
                    <a:pt x="439678" y="93227"/>
                  </a:cubicBezTo>
                  <a:cubicBezTo>
                    <a:pt x="445977" y="91967"/>
                    <a:pt x="452276" y="89448"/>
                    <a:pt x="458576" y="86928"/>
                  </a:cubicBezTo>
                  <a:lnTo>
                    <a:pt x="467395" y="84408"/>
                  </a:lnTo>
                  <a:cubicBezTo>
                    <a:pt x="469914" y="83148"/>
                    <a:pt x="472434" y="83148"/>
                    <a:pt x="474954" y="81889"/>
                  </a:cubicBezTo>
                  <a:cubicBezTo>
                    <a:pt x="477473" y="80629"/>
                    <a:pt x="481253" y="79369"/>
                    <a:pt x="482512" y="78109"/>
                  </a:cubicBezTo>
                  <a:cubicBezTo>
                    <a:pt x="483772" y="76849"/>
                    <a:pt x="485032" y="76849"/>
                    <a:pt x="486292" y="75589"/>
                  </a:cubicBezTo>
                  <a:cubicBezTo>
                    <a:pt x="486292" y="75589"/>
                    <a:pt x="486292" y="75589"/>
                    <a:pt x="486292" y="75589"/>
                  </a:cubicBezTo>
                  <a:lnTo>
                    <a:pt x="486292" y="75589"/>
                  </a:lnTo>
                  <a:cubicBezTo>
                    <a:pt x="486292" y="78109"/>
                    <a:pt x="486292" y="80629"/>
                    <a:pt x="487552" y="83148"/>
                  </a:cubicBezTo>
                  <a:cubicBezTo>
                    <a:pt x="487552" y="85668"/>
                    <a:pt x="488811" y="88188"/>
                    <a:pt x="490071" y="90707"/>
                  </a:cubicBezTo>
                  <a:cubicBezTo>
                    <a:pt x="491331" y="91967"/>
                    <a:pt x="491331" y="94487"/>
                    <a:pt x="492591" y="97006"/>
                  </a:cubicBezTo>
                  <a:cubicBezTo>
                    <a:pt x="493851" y="98266"/>
                    <a:pt x="495110" y="100786"/>
                    <a:pt x="497630" y="103305"/>
                  </a:cubicBezTo>
                  <a:cubicBezTo>
                    <a:pt x="498890" y="104565"/>
                    <a:pt x="501410" y="107085"/>
                    <a:pt x="503929" y="108345"/>
                  </a:cubicBezTo>
                  <a:cubicBezTo>
                    <a:pt x="508969" y="110864"/>
                    <a:pt x="512748" y="113384"/>
                    <a:pt x="516528" y="114644"/>
                  </a:cubicBezTo>
                  <a:cubicBezTo>
                    <a:pt x="519047" y="115904"/>
                    <a:pt x="521567" y="117164"/>
                    <a:pt x="524087" y="117164"/>
                  </a:cubicBezTo>
                  <a:cubicBezTo>
                    <a:pt x="526606" y="118424"/>
                    <a:pt x="529126" y="118424"/>
                    <a:pt x="531646" y="118424"/>
                  </a:cubicBezTo>
                  <a:cubicBezTo>
                    <a:pt x="531646" y="118424"/>
                    <a:pt x="532905" y="118424"/>
                    <a:pt x="532905" y="118424"/>
                  </a:cubicBezTo>
                  <a:cubicBezTo>
                    <a:pt x="536685" y="118424"/>
                    <a:pt x="539204" y="118424"/>
                    <a:pt x="541724" y="118424"/>
                  </a:cubicBezTo>
                  <a:cubicBezTo>
                    <a:pt x="544244" y="118424"/>
                    <a:pt x="548023" y="118424"/>
                    <a:pt x="551802" y="118424"/>
                  </a:cubicBezTo>
                  <a:cubicBezTo>
                    <a:pt x="558102" y="117164"/>
                    <a:pt x="564401" y="115904"/>
                    <a:pt x="569440" y="113384"/>
                  </a:cubicBezTo>
                  <a:cubicBezTo>
                    <a:pt x="571960" y="112124"/>
                    <a:pt x="574480" y="110864"/>
                    <a:pt x="575739" y="109605"/>
                  </a:cubicBezTo>
                  <a:lnTo>
                    <a:pt x="576999" y="108345"/>
                  </a:lnTo>
                  <a:cubicBezTo>
                    <a:pt x="579519" y="107085"/>
                    <a:pt x="583298" y="104565"/>
                    <a:pt x="585818" y="103305"/>
                  </a:cubicBezTo>
                  <a:cubicBezTo>
                    <a:pt x="590857" y="99526"/>
                    <a:pt x="594637" y="95747"/>
                    <a:pt x="598416" y="90707"/>
                  </a:cubicBezTo>
                  <a:cubicBezTo>
                    <a:pt x="599676" y="88188"/>
                    <a:pt x="602195" y="86928"/>
                    <a:pt x="603455" y="84408"/>
                  </a:cubicBezTo>
                  <a:cubicBezTo>
                    <a:pt x="604715" y="81889"/>
                    <a:pt x="605975" y="78109"/>
                    <a:pt x="607235" y="75589"/>
                  </a:cubicBezTo>
                  <a:cubicBezTo>
                    <a:pt x="607235" y="74330"/>
                    <a:pt x="608494" y="73070"/>
                    <a:pt x="608494" y="71810"/>
                  </a:cubicBezTo>
                  <a:lnTo>
                    <a:pt x="608494" y="70550"/>
                  </a:lnTo>
                  <a:cubicBezTo>
                    <a:pt x="608494" y="69290"/>
                    <a:pt x="608494" y="68031"/>
                    <a:pt x="608494" y="66771"/>
                  </a:cubicBezTo>
                  <a:cubicBezTo>
                    <a:pt x="608494" y="65511"/>
                    <a:pt x="608494" y="64251"/>
                    <a:pt x="608494" y="62991"/>
                  </a:cubicBezTo>
                  <a:lnTo>
                    <a:pt x="608494" y="62991"/>
                  </a:lnTo>
                  <a:lnTo>
                    <a:pt x="608494" y="62991"/>
                  </a:lnTo>
                  <a:cubicBezTo>
                    <a:pt x="609754" y="62991"/>
                    <a:pt x="611014" y="64251"/>
                    <a:pt x="612274" y="64251"/>
                  </a:cubicBezTo>
                  <a:lnTo>
                    <a:pt x="612274" y="64251"/>
                  </a:lnTo>
                  <a:lnTo>
                    <a:pt x="613534" y="64251"/>
                  </a:lnTo>
                  <a:lnTo>
                    <a:pt x="614794" y="64251"/>
                  </a:lnTo>
                  <a:lnTo>
                    <a:pt x="616054" y="64251"/>
                  </a:lnTo>
                  <a:cubicBezTo>
                    <a:pt x="619833" y="65511"/>
                    <a:pt x="623613" y="65511"/>
                    <a:pt x="626132" y="66771"/>
                  </a:cubicBezTo>
                  <a:cubicBezTo>
                    <a:pt x="627392" y="66771"/>
                    <a:pt x="628652" y="68031"/>
                    <a:pt x="629912" y="68031"/>
                  </a:cubicBezTo>
                  <a:lnTo>
                    <a:pt x="631172" y="68031"/>
                  </a:lnTo>
                  <a:lnTo>
                    <a:pt x="632431" y="68031"/>
                  </a:lnTo>
                  <a:lnTo>
                    <a:pt x="633691" y="68031"/>
                  </a:lnTo>
                  <a:cubicBezTo>
                    <a:pt x="636211" y="68031"/>
                    <a:pt x="637471" y="69290"/>
                    <a:pt x="639990" y="69290"/>
                  </a:cubicBezTo>
                  <a:cubicBezTo>
                    <a:pt x="641250" y="69290"/>
                    <a:pt x="642510" y="69290"/>
                    <a:pt x="643770" y="69290"/>
                  </a:cubicBezTo>
                  <a:cubicBezTo>
                    <a:pt x="647549" y="69290"/>
                    <a:pt x="652588" y="70550"/>
                    <a:pt x="656368" y="71810"/>
                  </a:cubicBezTo>
                  <a:cubicBezTo>
                    <a:pt x="660147" y="73070"/>
                    <a:pt x="663927" y="74330"/>
                    <a:pt x="668966" y="75589"/>
                  </a:cubicBezTo>
                  <a:cubicBezTo>
                    <a:pt x="668966" y="75589"/>
                    <a:pt x="670226" y="75589"/>
                    <a:pt x="670226" y="75589"/>
                  </a:cubicBezTo>
                  <a:cubicBezTo>
                    <a:pt x="674005" y="75589"/>
                    <a:pt x="676525" y="76849"/>
                    <a:pt x="680305" y="78109"/>
                  </a:cubicBezTo>
                  <a:cubicBezTo>
                    <a:pt x="686604" y="80629"/>
                    <a:pt x="694163" y="83148"/>
                    <a:pt x="702981" y="86928"/>
                  </a:cubicBezTo>
                  <a:cubicBezTo>
                    <a:pt x="706761" y="89448"/>
                    <a:pt x="711800" y="90707"/>
                    <a:pt x="714320" y="93227"/>
                  </a:cubicBezTo>
                  <a:lnTo>
                    <a:pt x="714320" y="93227"/>
                  </a:lnTo>
                  <a:cubicBezTo>
                    <a:pt x="716839" y="94487"/>
                    <a:pt x="719359" y="95747"/>
                    <a:pt x="721879" y="97006"/>
                  </a:cubicBezTo>
                  <a:cubicBezTo>
                    <a:pt x="729438" y="100786"/>
                    <a:pt x="735737" y="104565"/>
                    <a:pt x="740776" y="107085"/>
                  </a:cubicBezTo>
                  <a:cubicBezTo>
                    <a:pt x="744556" y="109605"/>
                    <a:pt x="748335" y="112124"/>
                    <a:pt x="750855" y="114644"/>
                  </a:cubicBezTo>
                  <a:cubicBezTo>
                    <a:pt x="753374" y="117164"/>
                    <a:pt x="755894" y="119683"/>
                    <a:pt x="758414" y="122203"/>
                  </a:cubicBezTo>
                  <a:cubicBezTo>
                    <a:pt x="763453" y="127242"/>
                    <a:pt x="767232" y="132281"/>
                    <a:pt x="772272" y="137321"/>
                  </a:cubicBezTo>
                  <a:cubicBezTo>
                    <a:pt x="773531" y="139840"/>
                    <a:pt x="776051" y="141100"/>
                    <a:pt x="777311" y="143620"/>
                  </a:cubicBezTo>
                  <a:cubicBezTo>
                    <a:pt x="779831" y="146140"/>
                    <a:pt x="782350" y="147399"/>
                    <a:pt x="783610" y="149919"/>
                  </a:cubicBezTo>
                  <a:cubicBezTo>
                    <a:pt x="786130" y="151179"/>
                    <a:pt x="788649" y="154958"/>
                    <a:pt x="791169" y="157478"/>
                  </a:cubicBezTo>
                  <a:cubicBezTo>
                    <a:pt x="792429" y="159998"/>
                    <a:pt x="794949" y="161257"/>
                    <a:pt x="796208" y="165037"/>
                  </a:cubicBezTo>
                  <a:cubicBezTo>
                    <a:pt x="801248" y="170076"/>
                    <a:pt x="805027" y="175116"/>
                    <a:pt x="808807" y="178895"/>
                  </a:cubicBezTo>
                  <a:lnTo>
                    <a:pt x="812586" y="183934"/>
                  </a:lnTo>
                  <a:lnTo>
                    <a:pt x="813846" y="185194"/>
                  </a:lnTo>
                  <a:lnTo>
                    <a:pt x="815106" y="186454"/>
                  </a:lnTo>
                  <a:lnTo>
                    <a:pt x="816365" y="187714"/>
                  </a:lnTo>
                  <a:cubicBezTo>
                    <a:pt x="818885" y="190233"/>
                    <a:pt x="820145" y="192753"/>
                    <a:pt x="822664" y="195273"/>
                  </a:cubicBezTo>
                  <a:cubicBezTo>
                    <a:pt x="826444" y="199052"/>
                    <a:pt x="830223" y="204091"/>
                    <a:pt x="834003" y="206611"/>
                  </a:cubicBezTo>
                  <a:lnTo>
                    <a:pt x="834003" y="206611"/>
                  </a:lnTo>
                  <a:cubicBezTo>
                    <a:pt x="835263" y="207871"/>
                    <a:pt x="835263" y="207871"/>
                    <a:pt x="836523" y="209131"/>
                  </a:cubicBezTo>
                  <a:lnTo>
                    <a:pt x="837782" y="210390"/>
                  </a:lnTo>
                  <a:cubicBezTo>
                    <a:pt x="840302" y="214170"/>
                    <a:pt x="844082" y="216690"/>
                    <a:pt x="846601" y="220469"/>
                  </a:cubicBezTo>
                  <a:cubicBezTo>
                    <a:pt x="847861" y="222989"/>
                    <a:pt x="850381" y="224249"/>
                    <a:pt x="851641" y="226768"/>
                  </a:cubicBezTo>
                  <a:cubicBezTo>
                    <a:pt x="855420" y="230548"/>
                    <a:pt x="859200" y="235587"/>
                    <a:pt x="861719" y="239366"/>
                  </a:cubicBezTo>
                  <a:lnTo>
                    <a:pt x="861719" y="239366"/>
                  </a:lnTo>
                  <a:lnTo>
                    <a:pt x="861719" y="239366"/>
                  </a:lnTo>
                  <a:lnTo>
                    <a:pt x="865499" y="243146"/>
                  </a:lnTo>
                  <a:cubicBezTo>
                    <a:pt x="866758" y="244406"/>
                    <a:pt x="868018" y="245666"/>
                    <a:pt x="869278" y="246925"/>
                  </a:cubicBezTo>
                  <a:lnTo>
                    <a:pt x="869278" y="246925"/>
                  </a:lnTo>
                  <a:lnTo>
                    <a:pt x="869278" y="246925"/>
                  </a:lnTo>
                  <a:lnTo>
                    <a:pt x="869278" y="246925"/>
                  </a:lnTo>
                  <a:cubicBezTo>
                    <a:pt x="871798" y="250705"/>
                    <a:pt x="875577" y="254484"/>
                    <a:pt x="878097" y="258264"/>
                  </a:cubicBezTo>
                  <a:cubicBezTo>
                    <a:pt x="881876" y="263303"/>
                    <a:pt x="885656" y="268342"/>
                    <a:pt x="888175" y="273382"/>
                  </a:cubicBezTo>
                  <a:lnTo>
                    <a:pt x="889435" y="274642"/>
                  </a:lnTo>
                  <a:lnTo>
                    <a:pt x="889435" y="275901"/>
                  </a:lnTo>
                  <a:cubicBezTo>
                    <a:pt x="889435" y="277161"/>
                    <a:pt x="890695" y="277161"/>
                    <a:pt x="890695" y="278421"/>
                  </a:cubicBezTo>
                  <a:cubicBezTo>
                    <a:pt x="894475" y="283460"/>
                    <a:pt x="898254" y="289759"/>
                    <a:pt x="902034" y="294799"/>
                  </a:cubicBezTo>
                  <a:lnTo>
                    <a:pt x="902034" y="296058"/>
                  </a:lnTo>
                  <a:lnTo>
                    <a:pt x="903293" y="297318"/>
                  </a:lnTo>
                  <a:cubicBezTo>
                    <a:pt x="904553" y="299838"/>
                    <a:pt x="907073" y="302358"/>
                    <a:pt x="908333" y="306137"/>
                  </a:cubicBezTo>
                  <a:cubicBezTo>
                    <a:pt x="909593" y="307397"/>
                    <a:pt x="910852" y="309917"/>
                    <a:pt x="912112" y="311176"/>
                  </a:cubicBezTo>
                  <a:lnTo>
                    <a:pt x="912112" y="311176"/>
                  </a:lnTo>
                  <a:cubicBezTo>
                    <a:pt x="913372" y="312436"/>
                    <a:pt x="913372" y="313696"/>
                    <a:pt x="914632" y="314956"/>
                  </a:cubicBezTo>
                  <a:cubicBezTo>
                    <a:pt x="918411" y="319995"/>
                    <a:pt x="922191" y="326294"/>
                    <a:pt x="925970" y="332593"/>
                  </a:cubicBezTo>
                  <a:cubicBezTo>
                    <a:pt x="932269" y="342672"/>
                    <a:pt x="938568" y="352751"/>
                    <a:pt x="943608" y="362829"/>
                  </a:cubicBezTo>
                  <a:lnTo>
                    <a:pt x="947387" y="369128"/>
                  </a:lnTo>
                  <a:cubicBezTo>
                    <a:pt x="947387" y="370388"/>
                    <a:pt x="948647" y="371648"/>
                    <a:pt x="948647" y="371648"/>
                  </a:cubicBezTo>
                  <a:lnTo>
                    <a:pt x="948647" y="371648"/>
                  </a:lnTo>
                  <a:lnTo>
                    <a:pt x="948647" y="371648"/>
                  </a:lnTo>
                  <a:cubicBezTo>
                    <a:pt x="951167" y="375427"/>
                    <a:pt x="953686" y="380467"/>
                    <a:pt x="956206" y="385506"/>
                  </a:cubicBezTo>
                  <a:lnTo>
                    <a:pt x="957466" y="388026"/>
                  </a:lnTo>
                  <a:lnTo>
                    <a:pt x="957466" y="388026"/>
                  </a:lnTo>
                  <a:lnTo>
                    <a:pt x="957466" y="388026"/>
                  </a:lnTo>
                  <a:cubicBezTo>
                    <a:pt x="958726" y="389286"/>
                    <a:pt x="958726" y="391805"/>
                    <a:pt x="959985" y="393065"/>
                  </a:cubicBezTo>
                  <a:cubicBezTo>
                    <a:pt x="961245" y="395585"/>
                    <a:pt x="962505" y="399364"/>
                    <a:pt x="963765" y="403143"/>
                  </a:cubicBezTo>
                  <a:lnTo>
                    <a:pt x="963765" y="403143"/>
                  </a:lnTo>
                  <a:cubicBezTo>
                    <a:pt x="965025" y="406923"/>
                    <a:pt x="966285" y="409443"/>
                    <a:pt x="966285" y="411962"/>
                  </a:cubicBezTo>
                  <a:cubicBezTo>
                    <a:pt x="967544" y="415742"/>
                    <a:pt x="967544" y="418261"/>
                    <a:pt x="968804" y="420781"/>
                  </a:cubicBezTo>
                  <a:cubicBezTo>
                    <a:pt x="970064" y="428340"/>
                    <a:pt x="971324" y="435899"/>
                    <a:pt x="971324" y="442198"/>
                  </a:cubicBezTo>
                  <a:cubicBezTo>
                    <a:pt x="971324" y="449757"/>
                    <a:pt x="970064" y="456056"/>
                    <a:pt x="968804" y="462355"/>
                  </a:cubicBezTo>
                  <a:cubicBezTo>
                    <a:pt x="968804" y="466135"/>
                    <a:pt x="967544" y="469914"/>
                    <a:pt x="966285" y="473694"/>
                  </a:cubicBezTo>
                  <a:cubicBezTo>
                    <a:pt x="965025" y="477473"/>
                    <a:pt x="963765" y="479993"/>
                    <a:pt x="961245" y="483772"/>
                  </a:cubicBezTo>
                  <a:cubicBezTo>
                    <a:pt x="961245" y="485032"/>
                    <a:pt x="959985" y="485032"/>
                    <a:pt x="958726" y="486292"/>
                  </a:cubicBezTo>
                  <a:lnTo>
                    <a:pt x="958726" y="486292"/>
                  </a:lnTo>
                  <a:cubicBezTo>
                    <a:pt x="959985" y="478733"/>
                    <a:pt x="959985" y="472434"/>
                    <a:pt x="959985" y="467395"/>
                  </a:cubicBezTo>
                  <a:cubicBezTo>
                    <a:pt x="959985" y="462355"/>
                    <a:pt x="959985" y="454796"/>
                    <a:pt x="959985" y="448497"/>
                  </a:cubicBezTo>
                  <a:cubicBezTo>
                    <a:pt x="959985" y="445978"/>
                    <a:pt x="958726" y="443458"/>
                    <a:pt x="958726" y="440938"/>
                  </a:cubicBezTo>
                  <a:lnTo>
                    <a:pt x="958726" y="440938"/>
                  </a:lnTo>
                  <a:lnTo>
                    <a:pt x="958726" y="440938"/>
                  </a:lnTo>
                  <a:cubicBezTo>
                    <a:pt x="957466" y="437159"/>
                    <a:pt x="956206" y="434639"/>
                    <a:pt x="956206" y="430860"/>
                  </a:cubicBezTo>
                  <a:cubicBezTo>
                    <a:pt x="954946" y="427080"/>
                    <a:pt x="952426" y="423301"/>
                    <a:pt x="951167" y="419521"/>
                  </a:cubicBezTo>
                  <a:cubicBezTo>
                    <a:pt x="949907" y="418261"/>
                    <a:pt x="948647" y="417002"/>
                    <a:pt x="947387" y="415742"/>
                  </a:cubicBezTo>
                  <a:cubicBezTo>
                    <a:pt x="944867" y="414482"/>
                    <a:pt x="942348" y="413222"/>
                    <a:pt x="939828" y="411962"/>
                  </a:cubicBezTo>
                  <a:lnTo>
                    <a:pt x="938568" y="410702"/>
                  </a:lnTo>
                  <a:cubicBezTo>
                    <a:pt x="936049" y="409443"/>
                    <a:pt x="933529" y="408183"/>
                    <a:pt x="931009" y="406923"/>
                  </a:cubicBezTo>
                  <a:cubicBezTo>
                    <a:pt x="928490" y="405663"/>
                    <a:pt x="927230" y="405663"/>
                    <a:pt x="924710" y="405663"/>
                  </a:cubicBezTo>
                  <a:lnTo>
                    <a:pt x="923450" y="405663"/>
                  </a:lnTo>
                  <a:cubicBezTo>
                    <a:pt x="919671" y="405663"/>
                    <a:pt x="915892" y="405663"/>
                    <a:pt x="912112" y="405663"/>
                  </a:cubicBezTo>
                  <a:cubicBezTo>
                    <a:pt x="908333" y="405663"/>
                    <a:pt x="903293" y="405663"/>
                    <a:pt x="899514" y="406923"/>
                  </a:cubicBezTo>
                  <a:cubicBezTo>
                    <a:pt x="891955" y="408183"/>
                    <a:pt x="885656" y="410702"/>
                    <a:pt x="878097" y="413222"/>
                  </a:cubicBezTo>
                  <a:cubicBezTo>
                    <a:pt x="871798" y="415742"/>
                    <a:pt x="865499" y="419521"/>
                    <a:pt x="860459" y="422041"/>
                  </a:cubicBezTo>
                  <a:cubicBezTo>
                    <a:pt x="857940" y="423301"/>
                    <a:pt x="856680" y="424560"/>
                    <a:pt x="854160" y="425820"/>
                  </a:cubicBezTo>
                  <a:lnTo>
                    <a:pt x="854160" y="425820"/>
                  </a:lnTo>
                  <a:cubicBezTo>
                    <a:pt x="852901" y="427080"/>
                    <a:pt x="851641" y="427080"/>
                    <a:pt x="850381" y="428340"/>
                  </a:cubicBezTo>
                  <a:cubicBezTo>
                    <a:pt x="847861" y="429600"/>
                    <a:pt x="845341" y="430860"/>
                    <a:pt x="841562" y="433379"/>
                  </a:cubicBezTo>
                  <a:cubicBezTo>
                    <a:pt x="840302" y="434639"/>
                    <a:pt x="837782" y="435899"/>
                    <a:pt x="836523" y="437159"/>
                  </a:cubicBezTo>
                  <a:cubicBezTo>
                    <a:pt x="835263" y="438419"/>
                    <a:pt x="832743" y="439678"/>
                    <a:pt x="831483" y="440938"/>
                  </a:cubicBezTo>
                  <a:cubicBezTo>
                    <a:pt x="826444" y="444718"/>
                    <a:pt x="822664" y="447237"/>
                    <a:pt x="820145" y="449757"/>
                  </a:cubicBez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cubicBezTo>
                    <a:pt x="820145" y="449757"/>
                    <a:pt x="820145" y="449757"/>
                    <a:pt x="820145" y="449757"/>
                  </a:cubicBezTo>
                  <a:lnTo>
                    <a:pt x="820145" y="449757"/>
                  </a:lnTo>
                  <a:lnTo>
                    <a:pt x="821405" y="449757"/>
                  </a:lnTo>
                  <a:lnTo>
                    <a:pt x="821405" y="449757"/>
                  </a:lnTo>
                  <a:cubicBezTo>
                    <a:pt x="820145" y="451017"/>
                    <a:pt x="818885" y="452277"/>
                    <a:pt x="817625" y="452277"/>
                  </a:cubicBez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6365" y="451017"/>
                  </a:lnTo>
                  <a:lnTo>
                    <a:pt x="815106" y="449757"/>
                  </a:lnTo>
                  <a:cubicBezTo>
                    <a:pt x="813846" y="447237"/>
                    <a:pt x="812586" y="445978"/>
                    <a:pt x="811326" y="443458"/>
                  </a:cubicBezTo>
                  <a:cubicBezTo>
                    <a:pt x="806287" y="437159"/>
                    <a:pt x="802508" y="430860"/>
                    <a:pt x="799988" y="425820"/>
                  </a:cubicBezTo>
                  <a:cubicBezTo>
                    <a:pt x="796208" y="420781"/>
                    <a:pt x="793689" y="415742"/>
                    <a:pt x="789909" y="410702"/>
                  </a:cubicBezTo>
                  <a:lnTo>
                    <a:pt x="789909" y="409443"/>
                  </a:lnTo>
                  <a:lnTo>
                    <a:pt x="789909" y="409443"/>
                  </a:lnTo>
                  <a:cubicBezTo>
                    <a:pt x="786130" y="403143"/>
                    <a:pt x="781090" y="396844"/>
                    <a:pt x="777311" y="389286"/>
                  </a:cubicBezTo>
                  <a:cubicBezTo>
                    <a:pt x="774791" y="385506"/>
                    <a:pt x="772272" y="380467"/>
                    <a:pt x="769752" y="376687"/>
                  </a:cubicBezTo>
                  <a:lnTo>
                    <a:pt x="769752" y="376687"/>
                  </a:lnTo>
                  <a:lnTo>
                    <a:pt x="768492" y="375427"/>
                  </a:lnTo>
                  <a:cubicBezTo>
                    <a:pt x="767232" y="374167"/>
                    <a:pt x="767232" y="372908"/>
                    <a:pt x="765972" y="371648"/>
                  </a:cubicBezTo>
                  <a:lnTo>
                    <a:pt x="765972" y="370388"/>
                  </a:lnTo>
                  <a:cubicBezTo>
                    <a:pt x="764713" y="367868"/>
                    <a:pt x="762193" y="365349"/>
                    <a:pt x="760933" y="362829"/>
                  </a:cubicBezTo>
                  <a:cubicBezTo>
                    <a:pt x="758414" y="360310"/>
                    <a:pt x="757154" y="356530"/>
                    <a:pt x="754634" y="354010"/>
                  </a:cubicBezTo>
                  <a:cubicBezTo>
                    <a:pt x="753374" y="352751"/>
                    <a:pt x="752115" y="350231"/>
                    <a:pt x="750855" y="348971"/>
                  </a:cubicBezTo>
                  <a:lnTo>
                    <a:pt x="750855" y="347711"/>
                  </a:lnTo>
                  <a:lnTo>
                    <a:pt x="749595" y="346451"/>
                  </a:lnTo>
                  <a:cubicBezTo>
                    <a:pt x="747075" y="343932"/>
                    <a:pt x="744556" y="340152"/>
                    <a:pt x="742036" y="336373"/>
                  </a:cubicBezTo>
                  <a:cubicBezTo>
                    <a:pt x="739516" y="333853"/>
                    <a:pt x="736997" y="330074"/>
                    <a:pt x="735737" y="326294"/>
                  </a:cubicBezTo>
                  <a:cubicBezTo>
                    <a:pt x="735737" y="326294"/>
                    <a:pt x="735737" y="325034"/>
                    <a:pt x="734477" y="325034"/>
                  </a:cubicBezTo>
                  <a:lnTo>
                    <a:pt x="734477" y="325034"/>
                  </a:lnTo>
                  <a:lnTo>
                    <a:pt x="734477" y="325034"/>
                  </a:lnTo>
                  <a:cubicBezTo>
                    <a:pt x="734477" y="323775"/>
                    <a:pt x="733217" y="323775"/>
                    <a:pt x="733217" y="322515"/>
                  </a:cubicBezTo>
                  <a:cubicBezTo>
                    <a:pt x="731957" y="321255"/>
                    <a:pt x="731957" y="319995"/>
                    <a:pt x="730698" y="319995"/>
                  </a:cubicBezTo>
                  <a:cubicBezTo>
                    <a:pt x="730698" y="319995"/>
                    <a:pt x="729438" y="318735"/>
                    <a:pt x="729438" y="318735"/>
                  </a:cubicBezTo>
                  <a:cubicBezTo>
                    <a:pt x="729438" y="317475"/>
                    <a:pt x="728178" y="317475"/>
                    <a:pt x="728178" y="316216"/>
                  </a:cubicBez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4956"/>
                  </a:lnTo>
                  <a:lnTo>
                    <a:pt x="726918" y="313696"/>
                  </a:lnTo>
                  <a:cubicBezTo>
                    <a:pt x="725658" y="312436"/>
                    <a:pt x="724398" y="309917"/>
                    <a:pt x="723138" y="308657"/>
                  </a:cubicBezTo>
                  <a:lnTo>
                    <a:pt x="721879" y="306137"/>
                  </a:lnTo>
                  <a:lnTo>
                    <a:pt x="721879" y="304877"/>
                  </a:lnTo>
                  <a:lnTo>
                    <a:pt x="720619" y="302358"/>
                  </a:lnTo>
                  <a:cubicBezTo>
                    <a:pt x="719359" y="301098"/>
                    <a:pt x="718099" y="298578"/>
                    <a:pt x="716839" y="297318"/>
                  </a:cubicBezTo>
                  <a:lnTo>
                    <a:pt x="715579" y="296058"/>
                  </a:lnTo>
                  <a:lnTo>
                    <a:pt x="715579" y="296058"/>
                  </a:lnTo>
                  <a:cubicBezTo>
                    <a:pt x="714320" y="294799"/>
                    <a:pt x="714320" y="294799"/>
                    <a:pt x="713060" y="293539"/>
                  </a:cubicBezTo>
                  <a:cubicBezTo>
                    <a:pt x="711800" y="292279"/>
                    <a:pt x="711800" y="291019"/>
                    <a:pt x="710540" y="291019"/>
                  </a:cubicBezTo>
                  <a:lnTo>
                    <a:pt x="709280" y="289759"/>
                  </a:lnTo>
                  <a:cubicBezTo>
                    <a:pt x="708021" y="288500"/>
                    <a:pt x="708021" y="288500"/>
                    <a:pt x="706761" y="287240"/>
                  </a:cubicBezTo>
                  <a:lnTo>
                    <a:pt x="705501" y="285980"/>
                  </a:lnTo>
                  <a:lnTo>
                    <a:pt x="704241" y="284720"/>
                  </a:lnTo>
                  <a:lnTo>
                    <a:pt x="704241" y="284720"/>
                  </a:lnTo>
                  <a:lnTo>
                    <a:pt x="702981" y="283460"/>
                  </a:lnTo>
                  <a:cubicBezTo>
                    <a:pt x="701722" y="282201"/>
                    <a:pt x="701722" y="282201"/>
                    <a:pt x="700462" y="280941"/>
                  </a:cubicBezTo>
                  <a:cubicBezTo>
                    <a:pt x="699202" y="279681"/>
                    <a:pt x="699202" y="279681"/>
                    <a:pt x="697942" y="278421"/>
                  </a:cubicBezTo>
                  <a:lnTo>
                    <a:pt x="697942" y="278421"/>
                  </a:lnTo>
                  <a:lnTo>
                    <a:pt x="697942" y="278421"/>
                  </a:lnTo>
                  <a:cubicBezTo>
                    <a:pt x="696682" y="278421"/>
                    <a:pt x="696682" y="277161"/>
                    <a:pt x="695423" y="277161"/>
                  </a:cubicBezTo>
                  <a:lnTo>
                    <a:pt x="695423" y="277161"/>
                  </a:lnTo>
                  <a:lnTo>
                    <a:pt x="695423" y="277161"/>
                  </a:lnTo>
                  <a:cubicBezTo>
                    <a:pt x="695423" y="277161"/>
                    <a:pt x="695423" y="275901"/>
                    <a:pt x="694163" y="275901"/>
                  </a:cubicBezTo>
                  <a:cubicBezTo>
                    <a:pt x="694163" y="275901"/>
                    <a:pt x="694163" y="275901"/>
                    <a:pt x="694163" y="275901"/>
                  </a:cubicBezTo>
                  <a:cubicBezTo>
                    <a:pt x="694163" y="275901"/>
                    <a:pt x="692903" y="275901"/>
                    <a:pt x="692903" y="275901"/>
                  </a:cubicBezTo>
                  <a:lnTo>
                    <a:pt x="692903" y="275901"/>
                  </a:lnTo>
                  <a:cubicBezTo>
                    <a:pt x="692903" y="275901"/>
                    <a:pt x="692903" y="277161"/>
                    <a:pt x="692903" y="277161"/>
                  </a:cubicBezTo>
                  <a:lnTo>
                    <a:pt x="692903" y="277161"/>
                  </a:lnTo>
                  <a:lnTo>
                    <a:pt x="692903" y="277161"/>
                  </a:lnTo>
                  <a:cubicBezTo>
                    <a:pt x="692903" y="277161"/>
                    <a:pt x="692903" y="277161"/>
                    <a:pt x="692903" y="277161"/>
                  </a:cubicBezTo>
                  <a:cubicBezTo>
                    <a:pt x="692903" y="277161"/>
                    <a:pt x="692903" y="278421"/>
                    <a:pt x="692903" y="278421"/>
                  </a:cubicBezTo>
                  <a:lnTo>
                    <a:pt x="692903" y="278421"/>
                  </a:lnTo>
                  <a:cubicBezTo>
                    <a:pt x="692903" y="279681"/>
                    <a:pt x="692903" y="279681"/>
                    <a:pt x="692903" y="280941"/>
                  </a:cubicBezTo>
                  <a:cubicBezTo>
                    <a:pt x="692903" y="282201"/>
                    <a:pt x="692903" y="283460"/>
                    <a:pt x="692903" y="283460"/>
                  </a:cubicBezTo>
                  <a:lnTo>
                    <a:pt x="692903" y="284720"/>
                  </a:lnTo>
                  <a:lnTo>
                    <a:pt x="692903" y="285980"/>
                  </a:lnTo>
                  <a:cubicBezTo>
                    <a:pt x="692903" y="287240"/>
                    <a:pt x="692903" y="288500"/>
                    <a:pt x="692903" y="289759"/>
                  </a:cubicBezTo>
                  <a:lnTo>
                    <a:pt x="692903" y="292279"/>
                  </a:lnTo>
                  <a:lnTo>
                    <a:pt x="692903" y="293539"/>
                  </a:lnTo>
                  <a:cubicBezTo>
                    <a:pt x="692903" y="294799"/>
                    <a:pt x="692903" y="296058"/>
                    <a:pt x="692903" y="297318"/>
                  </a:cubicBezTo>
                  <a:lnTo>
                    <a:pt x="692903" y="297318"/>
                  </a:lnTo>
                  <a:lnTo>
                    <a:pt x="692903" y="297318"/>
                  </a:lnTo>
                  <a:lnTo>
                    <a:pt x="692903" y="298578"/>
                  </a:lnTo>
                  <a:cubicBezTo>
                    <a:pt x="692903" y="299838"/>
                    <a:pt x="692903" y="299838"/>
                    <a:pt x="692903" y="301098"/>
                  </a:cubicBezTo>
                  <a:lnTo>
                    <a:pt x="692903" y="301098"/>
                  </a:lnTo>
                  <a:lnTo>
                    <a:pt x="692903" y="301098"/>
                  </a:lnTo>
                  <a:lnTo>
                    <a:pt x="692903" y="302358"/>
                  </a:lnTo>
                  <a:lnTo>
                    <a:pt x="692903" y="303618"/>
                  </a:lnTo>
                  <a:lnTo>
                    <a:pt x="692903" y="304877"/>
                  </a:lnTo>
                  <a:cubicBezTo>
                    <a:pt x="692903" y="306137"/>
                    <a:pt x="692903" y="307397"/>
                    <a:pt x="694163" y="308657"/>
                  </a:cubicBezTo>
                  <a:lnTo>
                    <a:pt x="694163" y="309917"/>
                  </a:lnTo>
                  <a:cubicBezTo>
                    <a:pt x="694163" y="311176"/>
                    <a:pt x="694163" y="312436"/>
                    <a:pt x="695423" y="312436"/>
                  </a:cubicBezTo>
                  <a:lnTo>
                    <a:pt x="695423" y="312436"/>
                  </a:lnTo>
                  <a:lnTo>
                    <a:pt x="695423" y="314956"/>
                  </a:lnTo>
                  <a:cubicBezTo>
                    <a:pt x="696682" y="318735"/>
                    <a:pt x="696682" y="322515"/>
                    <a:pt x="697942" y="326294"/>
                  </a:cubicBezTo>
                  <a:cubicBezTo>
                    <a:pt x="697942" y="327554"/>
                    <a:pt x="697942" y="328814"/>
                    <a:pt x="699202" y="330074"/>
                  </a:cubicBezTo>
                  <a:lnTo>
                    <a:pt x="699202" y="331334"/>
                  </a:lnTo>
                  <a:cubicBezTo>
                    <a:pt x="699202" y="333853"/>
                    <a:pt x="700462" y="335113"/>
                    <a:pt x="700462" y="337633"/>
                  </a:cubicBezTo>
                  <a:cubicBezTo>
                    <a:pt x="700462" y="338893"/>
                    <a:pt x="701722" y="340152"/>
                    <a:pt x="701722" y="342672"/>
                  </a:cubicBezTo>
                  <a:lnTo>
                    <a:pt x="701722" y="342672"/>
                  </a:lnTo>
                  <a:lnTo>
                    <a:pt x="701722" y="343932"/>
                  </a:lnTo>
                  <a:lnTo>
                    <a:pt x="702981" y="347711"/>
                  </a:lnTo>
                  <a:cubicBezTo>
                    <a:pt x="702981" y="348971"/>
                    <a:pt x="702981" y="348971"/>
                    <a:pt x="702981" y="350231"/>
                  </a:cubicBezTo>
                  <a:cubicBezTo>
                    <a:pt x="702981" y="350231"/>
                    <a:pt x="702981" y="351491"/>
                    <a:pt x="702981" y="351491"/>
                  </a:cubicBezTo>
                  <a:cubicBezTo>
                    <a:pt x="702981" y="352751"/>
                    <a:pt x="702981" y="354010"/>
                    <a:pt x="702981" y="355270"/>
                  </a:cubicBezTo>
                  <a:cubicBezTo>
                    <a:pt x="702981" y="357790"/>
                    <a:pt x="702981" y="359050"/>
                    <a:pt x="704241" y="361569"/>
                  </a:cubicBezTo>
                  <a:lnTo>
                    <a:pt x="704241" y="362829"/>
                  </a:lnTo>
                  <a:cubicBezTo>
                    <a:pt x="705501" y="367868"/>
                    <a:pt x="705501" y="372908"/>
                    <a:pt x="706761" y="377947"/>
                  </a:cubicBezTo>
                  <a:lnTo>
                    <a:pt x="706761" y="377947"/>
                  </a:lnTo>
                  <a:cubicBezTo>
                    <a:pt x="706761" y="380467"/>
                    <a:pt x="708021" y="384246"/>
                    <a:pt x="708021" y="388026"/>
                  </a:cubicBezTo>
                  <a:cubicBezTo>
                    <a:pt x="708021" y="389286"/>
                    <a:pt x="708021" y="391805"/>
                    <a:pt x="708021" y="393065"/>
                  </a:cubicBezTo>
                  <a:lnTo>
                    <a:pt x="708021" y="394325"/>
                  </a:lnTo>
                  <a:lnTo>
                    <a:pt x="708021" y="395585"/>
                  </a:lnTo>
                  <a:cubicBezTo>
                    <a:pt x="708021" y="396844"/>
                    <a:pt x="708021" y="396844"/>
                    <a:pt x="708021" y="398104"/>
                  </a:cubicBezTo>
                  <a:cubicBezTo>
                    <a:pt x="708021" y="399364"/>
                    <a:pt x="708021" y="401884"/>
                    <a:pt x="708021" y="403143"/>
                  </a:cubicBezTo>
                  <a:lnTo>
                    <a:pt x="708021" y="404403"/>
                  </a:lnTo>
                  <a:cubicBezTo>
                    <a:pt x="708021" y="405663"/>
                    <a:pt x="708021" y="408183"/>
                    <a:pt x="708021" y="409443"/>
                  </a:cubicBezTo>
                  <a:cubicBezTo>
                    <a:pt x="708021" y="413222"/>
                    <a:pt x="709280" y="415742"/>
                    <a:pt x="709280" y="419521"/>
                  </a:cubicBezTo>
                  <a:cubicBezTo>
                    <a:pt x="709280" y="422041"/>
                    <a:pt x="710540" y="425820"/>
                    <a:pt x="710540" y="430860"/>
                  </a:cubicBezTo>
                  <a:lnTo>
                    <a:pt x="710540" y="434639"/>
                  </a:lnTo>
                  <a:lnTo>
                    <a:pt x="710540" y="435899"/>
                  </a:lnTo>
                  <a:cubicBezTo>
                    <a:pt x="710540" y="437159"/>
                    <a:pt x="710540" y="439678"/>
                    <a:pt x="711800" y="440938"/>
                  </a:cubicBezTo>
                  <a:cubicBezTo>
                    <a:pt x="711800" y="443458"/>
                    <a:pt x="713060" y="447237"/>
                    <a:pt x="713060" y="449757"/>
                  </a:cubicBezTo>
                  <a:lnTo>
                    <a:pt x="713060" y="449757"/>
                  </a:lnTo>
                  <a:lnTo>
                    <a:pt x="713060" y="449757"/>
                  </a:lnTo>
                  <a:lnTo>
                    <a:pt x="713060" y="449757"/>
                  </a:lnTo>
                  <a:cubicBezTo>
                    <a:pt x="713060" y="451017"/>
                    <a:pt x="714320" y="453536"/>
                    <a:pt x="714320" y="454796"/>
                  </a:cubicBezTo>
                  <a:lnTo>
                    <a:pt x="714320" y="454796"/>
                  </a:lnTo>
                  <a:cubicBezTo>
                    <a:pt x="714320" y="456056"/>
                    <a:pt x="715579" y="457316"/>
                    <a:pt x="715579" y="459836"/>
                  </a:cubicBezTo>
                  <a:cubicBezTo>
                    <a:pt x="715579" y="461095"/>
                    <a:pt x="716839" y="461095"/>
                    <a:pt x="716839" y="461095"/>
                  </a:cubicBezTo>
                  <a:cubicBezTo>
                    <a:pt x="716839" y="461095"/>
                    <a:pt x="718099" y="461095"/>
                    <a:pt x="718099" y="461095"/>
                  </a:cubicBezTo>
                  <a:cubicBezTo>
                    <a:pt x="718099" y="461095"/>
                    <a:pt x="719359" y="461095"/>
                    <a:pt x="719359" y="461095"/>
                  </a:cubicBezTo>
                  <a:cubicBezTo>
                    <a:pt x="719359" y="461095"/>
                    <a:pt x="719359" y="461095"/>
                    <a:pt x="720619" y="461095"/>
                  </a:cubicBezTo>
                  <a:cubicBezTo>
                    <a:pt x="720619" y="461095"/>
                    <a:pt x="721879" y="461095"/>
                    <a:pt x="721879" y="459836"/>
                  </a:cubicBezTo>
                  <a:cubicBezTo>
                    <a:pt x="721879" y="463615"/>
                    <a:pt x="721879" y="466135"/>
                    <a:pt x="721879" y="468654"/>
                  </a:cubicBezTo>
                  <a:cubicBezTo>
                    <a:pt x="721879" y="469914"/>
                    <a:pt x="721879" y="472434"/>
                    <a:pt x="721879" y="473694"/>
                  </a:cubicBezTo>
                  <a:lnTo>
                    <a:pt x="721879" y="474953"/>
                  </a:lnTo>
                  <a:lnTo>
                    <a:pt x="721879" y="476213"/>
                  </a:lnTo>
                  <a:lnTo>
                    <a:pt x="721879" y="477473"/>
                  </a:lnTo>
                  <a:lnTo>
                    <a:pt x="721879" y="478733"/>
                  </a:lnTo>
                  <a:cubicBezTo>
                    <a:pt x="721879" y="481252"/>
                    <a:pt x="721879" y="482512"/>
                    <a:pt x="721879" y="485032"/>
                  </a:cubicBezTo>
                  <a:lnTo>
                    <a:pt x="721879" y="487552"/>
                  </a:lnTo>
                  <a:lnTo>
                    <a:pt x="721879" y="490071"/>
                  </a:lnTo>
                  <a:lnTo>
                    <a:pt x="721879" y="492591"/>
                  </a:lnTo>
                  <a:cubicBezTo>
                    <a:pt x="721879" y="497630"/>
                    <a:pt x="720619" y="503929"/>
                    <a:pt x="720619" y="510228"/>
                  </a:cubicBezTo>
                  <a:cubicBezTo>
                    <a:pt x="720619" y="517787"/>
                    <a:pt x="719359" y="526606"/>
                    <a:pt x="719359" y="534165"/>
                  </a:cubicBezTo>
                  <a:lnTo>
                    <a:pt x="719359" y="534165"/>
                  </a:lnTo>
                  <a:lnTo>
                    <a:pt x="719359" y="534165"/>
                  </a:lnTo>
                  <a:cubicBezTo>
                    <a:pt x="716839" y="536685"/>
                    <a:pt x="713060" y="539204"/>
                    <a:pt x="710540" y="541724"/>
                  </a:cubicBezTo>
                  <a:cubicBezTo>
                    <a:pt x="700462" y="550543"/>
                    <a:pt x="692903" y="559362"/>
                    <a:pt x="686604" y="566921"/>
                  </a:cubicBezTo>
                  <a:lnTo>
                    <a:pt x="684084" y="569440"/>
                  </a:lnTo>
                  <a:cubicBezTo>
                    <a:pt x="677785" y="576999"/>
                    <a:pt x="670226" y="584558"/>
                    <a:pt x="663927" y="593377"/>
                  </a:cubicBezTo>
                  <a:cubicBezTo>
                    <a:pt x="661407" y="597156"/>
                    <a:pt x="656368" y="603456"/>
                    <a:pt x="652588" y="608495"/>
                  </a:cubicBezTo>
                  <a:cubicBezTo>
                    <a:pt x="648809" y="613534"/>
                    <a:pt x="646289" y="619833"/>
                    <a:pt x="642510" y="623613"/>
                  </a:cubicBezTo>
                  <a:cubicBezTo>
                    <a:pt x="639990" y="628652"/>
                    <a:pt x="637471" y="632431"/>
                    <a:pt x="634951" y="637471"/>
                  </a:cubicBezTo>
                  <a:lnTo>
                    <a:pt x="634951" y="637471"/>
                  </a:lnTo>
                  <a:cubicBezTo>
                    <a:pt x="633691" y="639990"/>
                    <a:pt x="632431" y="642510"/>
                    <a:pt x="629912" y="646289"/>
                  </a:cubicBezTo>
                  <a:cubicBezTo>
                    <a:pt x="628652" y="647549"/>
                    <a:pt x="628652" y="650069"/>
                    <a:pt x="627392" y="651329"/>
                  </a:cubicBezTo>
                  <a:lnTo>
                    <a:pt x="627392" y="651329"/>
                  </a:lnTo>
                  <a:cubicBezTo>
                    <a:pt x="627392" y="652589"/>
                    <a:pt x="626132" y="652589"/>
                    <a:pt x="626132" y="653848"/>
                  </a:cubicBezTo>
                  <a:cubicBezTo>
                    <a:pt x="623613" y="658888"/>
                    <a:pt x="622353" y="663927"/>
                    <a:pt x="619833" y="667706"/>
                  </a:cubicBezTo>
                  <a:lnTo>
                    <a:pt x="619833" y="667706"/>
                  </a:lnTo>
                  <a:lnTo>
                    <a:pt x="619833" y="668966"/>
                  </a:lnTo>
                  <a:cubicBezTo>
                    <a:pt x="618573" y="671486"/>
                    <a:pt x="617313" y="675265"/>
                    <a:pt x="617313" y="677785"/>
                  </a:cubicBezTo>
                  <a:lnTo>
                    <a:pt x="617313" y="679045"/>
                  </a:lnTo>
                  <a:lnTo>
                    <a:pt x="617313" y="679045"/>
                  </a:lnTo>
                  <a:cubicBezTo>
                    <a:pt x="616054" y="681565"/>
                    <a:pt x="616054" y="684084"/>
                    <a:pt x="614794" y="686604"/>
                  </a:cubicBezTo>
                  <a:cubicBezTo>
                    <a:pt x="614794" y="687864"/>
                    <a:pt x="614794" y="689123"/>
                    <a:pt x="614794" y="691643"/>
                  </a:cubicBezTo>
                  <a:lnTo>
                    <a:pt x="614794" y="694163"/>
                  </a:lnTo>
                  <a:lnTo>
                    <a:pt x="614794" y="696682"/>
                  </a:lnTo>
                  <a:cubicBezTo>
                    <a:pt x="614794" y="697942"/>
                    <a:pt x="614794" y="700462"/>
                    <a:pt x="614794" y="701722"/>
                  </a:cubicBezTo>
                  <a:lnTo>
                    <a:pt x="614794" y="701722"/>
                  </a:lnTo>
                  <a:lnTo>
                    <a:pt x="614794" y="701722"/>
                  </a:lnTo>
                  <a:lnTo>
                    <a:pt x="614794" y="704241"/>
                  </a:lnTo>
                  <a:cubicBezTo>
                    <a:pt x="614794" y="706761"/>
                    <a:pt x="614794" y="708021"/>
                    <a:pt x="614794" y="710540"/>
                  </a:cubicBezTo>
                  <a:lnTo>
                    <a:pt x="614794" y="713060"/>
                  </a:lnTo>
                  <a:cubicBezTo>
                    <a:pt x="614794" y="715580"/>
                    <a:pt x="614794" y="718099"/>
                    <a:pt x="614794" y="720619"/>
                  </a:cubicBezTo>
                  <a:cubicBezTo>
                    <a:pt x="616054" y="728178"/>
                    <a:pt x="616054" y="733217"/>
                    <a:pt x="618573" y="738257"/>
                  </a:cubicBezTo>
                  <a:lnTo>
                    <a:pt x="618573" y="739516"/>
                  </a:lnTo>
                  <a:cubicBezTo>
                    <a:pt x="619833" y="743296"/>
                    <a:pt x="619833" y="745815"/>
                    <a:pt x="622353" y="749595"/>
                  </a:cubicBezTo>
                  <a:cubicBezTo>
                    <a:pt x="623613" y="752114"/>
                    <a:pt x="624872" y="755894"/>
                    <a:pt x="626132" y="758414"/>
                  </a:cubicBezTo>
                  <a:cubicBezTo>
                    <a:pt x="626132" y="759674"/>
                    <a:pt x="627392" y="760933"/>
                    <a:pt x="628652" y="762193"/>
                  </a:cubicBezTo>
                  <a:cubicBezTo>
                    <a:pt x="628652" y="763453"/>
                    <a:pt x="629912" y="763453"/>
                    <a:pt x="629912" y="764713"/>
                  </a:cubicBezTo>
                  <a:lnTo>
                    <a:pt x="629912" y="765973"/>
                  </a:lnTo>
                  <a:cubicBezTo>
                    <a:pt x="632431" y="768492"/>
                    <a:pt x="633691" y="771012"/>
                    <a:pt x="636211" y="773532"/>
                  </a:cubicBezTo>
                  <a:lnTo>
                    <a:pt x="636211" y="773532"/>
                  </a:lnTo>
                  <a:cubicBezTo>
                    <a:pt x="637471" y="774791"/>
                    <a:pt x="637471" y="774791"/>
                    <a:pt x="638731" y="776051"/>
                  </a:cubicBezTo>
                  <a:cubicBezTo>
                    <a:pt x="639990" y="777311"/>
                    <a:pt x="641250" y="778571"/>
                    <a:pt x="642510" y="778571"/>
                  </a:cubicBezTo>
                  <a:lnTo>
                    <a:pt x="643770" y="778571"/>
                  </a:lnTo>
                  <a:cubicBezTo>
                    <a:pt x="645030" y="778571"/>
                    <a:pt x="646289" y="779831"/>
                    <a:pt x="646289" y="779831"/>
                  </a:cubicBezTo>
                  <a:cubicBezTo>
                    <a:pt x="648809" y="781090"/>
                    <a:pt x="651329" y="782350"/>
                    <a:pt x="653848" y="783610"/>
                  </a:cubicBezTo>
                  <a:lnTo>
                    <a:pt x="653848" y="783610"/>
                  </a:lnTo>
                  <a:cubicBezTo>
                    <a:pt x="656368" y="784870"/>
                    <a:pt x="660147" y="786130"/>
                    <a:pt x="662667" y="786130"/>
                  </a:cubicBezTo>
                  <a:cubicBezTo>
                    <a:pt x="662667" y="786130"/>
                    <a:pt x="662667" y="786130"/>
                    <a:pt x="662667" y="786130"/>
                  </a:cubicBezTo>
                  <a:lnTo>
                    <a:pt x="662667" y="786130"/>
                  </a:lnTo>
                  <a:lnTo>
                    <a:pt x="662667" y="786130"/>
                  </a:lnTo>
                  <a:cubicBezTo>
                    <a:pt x="662667" y="786130"/>
                    <a:pt x="661407" y="786130"/>
                    <a:pt x="661407" y="786130"/>
                  </a:cubicBezTo>
                  <a:lnTo>
                    <a:pt x="660147" y="786130"/>
                  </a:lnTo>
                  <a:cubicBezTo>
                    <a:pt x="658887" y="786130"/>
                    <a:pt x="657628" y="786130"/>
                    <a:pt x="656368" y="786130"/>
                  </a:cubicBezTo>
                  <a:cubicBezTo>
                    <a:pt x="655108" y="786130"/>
                    <a:pt x="652588" y="786130"/>
                    <a:pt x="651329" y="786130"/>
                  </a:cubicBezTo>
                  <a:cubicBezTo>
                    <a:pt x="645030" y="786130"/>
                    <a:pt x="638731" y="787390"/>
                    <a:pt x="631172" y="787390"/>
                  </a:cubicBezTo>
                  <a:cubicBezTo>
                    <a:pt x="622353" y="787390"/>
                    <a:pt x="612274" y="787390"/>
                    <a:pt x="603455" y="787390"/>
                  </a:cubicBezTo>
                  <a:cubicBezTo>
                    <a:pt x="600936" y="787390"/>
                    <a:pt x="598416" y="787390"/>
                    <a:pt x="595896" y="787390"/>
                  </a:cubicBezTo>
                  <a:lnTo>
                    <a:pt x="593377" y="787390"/>
                  </a:lnTo>
                  <a:lnTo>
                    <a:pt x="593377" y="787390"/>
                  </a:lnTo>
                  <a:cubicBezTo>
                    <a:pt x="590857" y="787390"/>
                    <a:pt x="589597" y="787390"/>
                    <a:pt x="587078" y="787390"/>
                  </a:cubicBezTo>
                  <a:cubicBezTo>
                    <a:pt x="584558" y="787390"/>
                    <a:pt x="580779" y="787390"/>
                    <a:pt x="578259" y="787390"/>
                  </a:cubicBezTo>
                  <a:cubicBezTo>
                    <a:pt x="576999" y="787390"/>
                    <a:pt x="575739" y="787390"/>
                    <a:pt x="573220" y="787390"/>
                  </a:cubicBezTo>
                  <a:lnTo>
                    <a:pt x="573220" y="787390"/>
                  </a:lnTo>
                  <a:lnTo>
                    <a:pt x="573220" y="787390"/>
                  </a:lnTo>
                  <a:cubicBezTo>
                    <a:pt x="569440" y="787390"/>
                    <a:pt x="564401" y="787390"/>
                    <a:pt x="560621" y="787390"/>
                  </a:cubicBezTo>
                  <a:cubicBezTo>
                    <a:pt x="558102" y="787390"/>
                    <a:pt x="556842" y="787390"/>
                    <a:pt x="554322" y="787390"/>
                  </a:cubicBezTo>
                  <a:lnTo>
                    <a:pt x="553062" y="787390"/>
                  </a:lnTo>
                  <a:cubicBezTo>
                    <a:pt x="550543" y="787390"/>
                    <a:pt x="545503" y="787390"/>
                    <a:pt x="541724" y="787390"/>
                  </a:cubicBezTo>
                  <a:lnTo>
                    <a:pt x="536685" y="787390"/>
                  </a:lnTo>
                  <a:lnTo>
                    <a:pt x="535425" y="787390"/>
                  </a:lnTo>
                  <a:lnTo>
                    <a:pt x="535425" y="787390"/>
                  </a:lnTo>
                  <a:lnTo>
                    <a:pt x="535425" y="787390"/>
                  </a:lnTo>
                  <a:cubicBezTo>
                    <a:pt x="531646" y="787390"/>
                    <a:pt x="527866" y="787390"/>
                    <a:pt x="524087" y="787390"/>
                  </a:cubicBezTo>
                  <a:cubicBezTo>
                    <a:pt x="521567" y="787390"/>
                    <a:pt x="519047" y="787390"/>
                    <a:pt x="516528" y="787390"/>
                  </a:cubicBezTo>
                  <a:cubicBezTo>
                    <a:pt x="512748" y="787390"/>
                    <a:pt x="510228" y="787390"/>
                    <a:pt x="506449" y="787390"/>
                  </a:cubicBezTo>
                  <a:cubicBezTo>
                    <a:pt x="501410" y="787390"/>
                    <a:pt x="495110" y="787390"/>
                    <a:pt x="488811" y="786130"/>
                  </a:cubicBezTo>
                  <a:cubicBezTo>
                    <a:pt x="488811" y="786130"/>
                    <a:pt x="487552" y="786130"/>
                    <a:pt x="487552" y="786130"/>
                  </a:cubicBezTo>
                  <a:cubicBezTo>
                    <a:pt x="485032" y="786130"/>
                    <a:pt x="481253" y="786130"/>
                    <a:pt x="478733" y="784870"/>
                  </a:cubicBezTo>
                  <a:lnTo>
                    <a:pt x="477473" y="784870"/>
                  </a:lnTo>
                  <a:lnTo>
                    <a:pt x="477473" y="784870"/>
                  </a:lnTo>
                  <a:cubicBezTo>
                    <a:pt x="474954" y="784870"/>
                    <a:pt x="472434" y="784870"/>
                    <a:pt x="471174" y="783610"/>
                  </a:cubicBezTo>
                  <a:cubicBezTo>
                    <a:pt x="469914" y="783610"/>
                    <a:pt x="469914" y="783610"/>
                    <a:pt x="468654" y="783610"/>
                  </a:cubicBezTo>
                  <a:cubicBezTo>
                    <a:pt x="466135" y="783610"/>
                    <a:pt x="463615" y="783610"/>
                    <a:pt x="461095" y="783610"/>
                  </a:cubicBezTo>
                  <a:cubicBezTo>
                    <a:pt x="458576" y="783610"/>
                    <a:pt x="456056" y="783610"/>
                    <a:pt x="454796" y="783610"/>
                  </a:cubicBezTo>
                  <a:lnTo>
                    <a:pt x="453536" y="783610"/>
                  </a:lnTo>
                  <a:lnTo>
                    <a:pt x="452276" y="783610"/>
                  </a:lnTo>
                  <a:cubicBezTo>
                    <a:pt x="451017" y="783610"/>
                    <a:pt x="449757" y="783610"/>
                    <a:pt x="448497" y="783610"/>
                  </a:cubicBezTo>
                  <a:lnTo>
                    <a:pt x="448497" y="783610"/>
                  </a:lnTo>
                  <a:cubicBezTo>
                    <a:pt x="447237" y="783610"/>
                    <a:pt x="444717" y="783610"/>
                    <a:pt x="443458" y="783610"/>
                  </a:cubicBezTo>
                  <a:cubicBezTo>
                    <a:pt x="440938" y="783610"/>
                    <a:pt x="439678" y="783610"/>
                    <a:pt x="437159" y="783610"/>
                  </a:cubicBezTo>
                  <a:cubicBezTo>
                    <a:pt x="435899" y="783610"/>
                    <a:pt x="435899" y="783610"/>
                    <a:pt x="434639" y="783610"/>
                  </a:cubicBezTo>
                  <a:lnTo>
                    <a:pt x="434639" y="783610"/>
                  </a:lnTo>
                  <a:cubicBezTo>
                    <a:pt x="434639" y="783610"/>
                    <a:pt x="433379" y="783610"/>
                    <a:pt x="433379" y="783610"/>
                  </a:cubicBezTo>
                  <a:cubicBezTo>
                    <a:pt x="430860" y="783610"/>
                    <a:pt x="427080" y="783610"/>
                    <a:pt x="423301" y="783610"/>
                  </a:cubicBezTo>
                  <a:cubicBezTo>
                    <a:pt x="420781" y="783610"/>
                    <a:pt x="417002" y="783610"/>
                    <a:pt x="414482" y="783610"/>
                  </a:cubicBezTo>
                  <a:lnTo>
                    <a:pt x="414482" y="783610"/>
                  </a:lnTo>
                  <a:lnTo>
                    <a:pt x="413222" y="783610"/>
                  </a:lnTo>
                  <a:cubicBezTo>
                    <a:pt x="410702" y="783610"/>
                    <a:pt x="408183" y="783610"/>
                    <a:pt x="405663" y="783610"/>
                  </a:cubicBezTo>
                  <a:lnTo>
                    <a:pt x="405663" y="783610"/>
                  </a:lnTo>
                  <a:lnTo>
                    <a:pt x="405663" y="783610"/>
                  </a:lnTo>
                  <a:cubicBezTo>
                    <a:pt x="396844" y="784870"/>
                    <a:pt x="386766" y="784870"/>
                    <a:pt x="376687" y="784870"/>
                  </a:cubicBezTo>
                  <a:cubicBezTo>
                    <a:pt x="370388" y="784870"/>
                    <a:pt x="364089" y="784870"/>
                    <a:pt x="359050" y="784870"/>
                  </a:cubicBezTo>
                  <a:cubicBezTo>
                    <a:pt x="359050" y="784870"/>
                    <a:pt x="357790" y="784870"/>
                    <a:pt x="357790" y="784870"/>
                  </a:cubicBezTo>
                  <a:lnTo>
                    <a:pt x="356530" y="784870"/>
                  </a:lnTo>
                  <a:lnTo>
                    <a:pt x="356530" y="784870"/>
                  </a:lnTo>
                  <a:lnTo>
                    <a:pt x="355270" y="784870"/>
                  </a:lnTo>
                  <a:cubicBezTo>
                    <a:pt x="354010" y="784870"/>
                    <a:pt x="351491" y="784870"/>
                    <a:pt x="350231" y="784870"/>
                  </a:cubicBezTo>
                  <a:cubicBezTo>
                    <a:pt x="348971" y="784870"/>
                    <a:pt x="347711" y="784870"/>
                    <a:pt x="346451" y="784870"/>
                  </a:cubicBezTo>
                  <a:cubicBezTo>
                    <a:pt x="345192" y="784870"/>
                    <a:pt x="343932" y="784870"/>
                    <a:pt x="342672" y="784870"/>
                  </a:cubicBezTo>
                  <a:lnTo>
                    <a:pt x="342672" y="784870"/>
                  </a:lnTo>
                  <a:cubicBezTo>
                    <a:pt x="341412" y="784870"/>
                    <a:pt x="340152" y="784870"/>
                    <a:pt x="340152" y="783610"/>
                  </a:cubicBezTo>
                  <a:cubicBezTo>
                    <a:pt x="338892" y="783610"/>
                    <a:pt x="338892" y="782350"/>
                    <a:pt x="337632" y="782350"/>
                  </a:cubicBezTo>
                  <a:cubicBezTo>
                    <a:pt x="336373" y="781090"/>
                    <a:pt x="335113" y="781090"/>
                    <a:pt x="335113" y="779831"/>
                  </a:cubicBezTo>
                  <a:cubicBezTo>
                    <a:pt x="333853" y="778571"/>
                    <a:pt x="333853" y="777311"/>
                    <a:pt x="333853" y="774791"/>
                  </a:cubicBezTo>
                  <a:cubicBezTo>
                    <a:pt x="333853" y="773532"/>
                    <a:pt x="333853" y="771012"/>
                    <a:pt x="333853" y="769752"/>
                  </a:cubicBezTo>
                  <a:cubicBezTo>
                    <a:pt x="333853" y="768492"/>
                    <a:pt x="333853" y="765973"/>
                    <a:pt x="332593" y="764713"/>
                  </a:cubicBezTo>
                  <a:lnTo>
                    <a:pt x="332593" y="764713"/>
                  </a:lnTo>
                  <a:cubicBezTo>
                    <a:pt x="332593" y="763453"/>
                    <a:pt x="332593" y="760933"/>
                    <a:pt x="332593" y="759674"/>
                  </a:cubicBezTo>
                  <a:lnTo>
                    <a:pt x="332593" y="759674"/>
                  </a:lnTo>
                  <a:lnTo>
                    <a:pt x="332593" y="759674"/>
                  </a:lnTo>
                  <a:cubicBezTo>
                    <a:pt x="332593" y="758414"/>
                    <a:pt x="332593" y="757154"/>
                    <a:pt x="332593" y="755894"/>
                  </a:cubicBezTo>
                  <a:cubicBezTo>
                    <a:pt x="332593" y="754634"/>
                    <a:pt x="332593" y="753374"/>
                    <a:pt x="332593" y="752114"/>
                  </a:cubicBezTo>
                  <a:cubicBezTo>
                    <a:pt x="331333" y="742036"/>
                    <a:pt x="331333" y="733217"/>
                    <a:pt x="330074" y="724398"/>
                  </a:cubicBezTo>
                  <a:cubicBezTo>
                    <a:pt x="330074" y="719359"/>
                    <a:pt x="328814" y="713060"/>
                    <a:pt x="328814" y="705501"/>
                  </a:cubicBezTo>
                  <a:cubicBezTo>
                    <a:pt x="328814" y="702981"/>
                    <a:pt x="328814" y="699202"/>
                    <a:pt x="328814" y="696682"/>
                  </a:cubicBezTo>
                  <a:cubicBezTo>
                    <a:pt x="328814" y="692903"/>
                    <a:pt x="328814" y="689123"/>
                    <a:pt x="328814" y="684084"/>
                  </a:cubicBezTo>
                  <a:cubicBezTo>
                    <a:pt x="328814" y="681565"/>
                    <a:pt x="328814" y="677785"/>
                    <a:pt x="328814" y="675265"/>
                  </a:cubicBezTo>
                  <a:cubicBezTo>
                    <a:pt x="328814" y="670226"/>
                    <a:pt x="328814" y="666447"/>
                    <a:pt x="328814" y="661407"/>
                  </a:cubicBezTo>
                  <a:cubicBezTo>
                    <a:pt x="328814" y="646289"/>
                    <a:pt x="328814" y="631172"/>
                    <a:pt x="327554" y="617313"/>
                  </a:cubicBezTo>
                  <a:lnTo>
                    <a:pt x="327554" y="614794"/>
                  </a:lnTo>
                  <a:cubicBezTo>
                    <a:pt x="327554" y="607235"/>
                    <a:pt x="327554" y="599676"/>
                    <a:pt x="326294" y="592117"/>
                  </a:cubicBezTo>
                  <a:cubicBezTo>
                    <a:pt x="326294" y="587078"/>
                    <a:pt x="326294" y="583298"/>
                    <a:pt x="326294" y="578259"/>
                  </a:cubicBezTo>
                  <a:cubicBezTo>
                    <a:pt x="326294" y="575739"/>
                    <a:pt x="326294" y="573220"/>
                    <a:pt x="326294" y="570700"/>
                  </a:cubicBezTo>
                  <a:cubicBezTo>
                    <a:pt x="326294" y="563141"/>
                    <a:pt x="326294" y="555582"/>
                    <a:pt x="326294" y="548023"/>
                  </a:cubicBezTo>
                  <a:cubicBezTo>
                    <a:pt x="326294" y="545504"/>
                    <a:pt x="326294" y="542984"/>
                    <a:pt x="326294" y="540464"/>
                  </a:cubicBezTo>
                  <a:cubicBezTo>
                    <a:pt x="326294" y="535425"/>
                    <a:pt x="326294" y="530386"/>
                    <a:pt x="326294" y="525346"/>
                  </a:cubicBezTo>
                  <a:cubicBezTo>
                    <a:pt x="326294" y="520307"/>
                    <a:pt x="326294" y="514008"/>
                    <a:pt x="326294" y="508969"/>
                  </a:cubicBezTo>
                  <a:cubicBezTo>
                    <a:pt x="326294" y="506449"/>
                    <a:pt x="326294" y="503929"/>
                    <a:pt x="326294" y="501410"/>
                  </a:cubicBezTo>
                  <a:cubicBezTo>
                    <a:pt x="326294" y="493851"/>
                    <a:pt x="326294" y="486292"/>
                    <a:pt x="326294" y="479993"/>
                  </a:cubicBezTo>
                  <a:cubicBezTo>
                    <a:pt x="326294" y="473694"/>
                    <a:pt x="326294" y="468654"/>
                    <a:pt x="326294" y="462355"/>
                  </a:cubicBezTo>
                  <a:cubicBezTo>
                    <a:pt x="326294" y="452277"/>
                    <a:pt x="325034" y="443458"/>
                    <a:pt x="326294" y="433379"/>
                  </a:cubicBezTo>
                  <a:lnTo>
                    <a:pt x="326294" y="433379"/>
                  </a:lnTo>
                  <a:cubicBezTo>
                    <a:pt x="326294" y="425820"/>
                    <a:pt x="326294" y="418261"/>
                    <a:pt x="326294" y="410702"/>
                  </a:cubicBezTo>
                  <a:cubicBezTo>
                    <a:pt x="326294" y="405663"/>
                    <a:pt x="326294" y="400624"/>
                    <a:pt x="326294" y="396844"/>
                  </a:cubicBezTo>
                  <a:cubicBezTo>
                    <a:pt x="326294" y="394325"/>
                    <a:pt x="326294" y="390545"/>
                    <a:pt x="326294" y="388026"/>
                  </a:cubicBezTo>
                  <a:cubicBezTo>
                    <a:pt x="326294" y="384246"/>
                    <a:pt x="326294" y="380467"/>
                    <a:pt x="326294" y="377947"/>
                  </a:cubicBezTo>
                  <a:cubicBezTo>
                    <a:pt x="326294" y="374167"/>
                    <a:pt x="326294" y="369128"/>
                    <a:pt x="326294" y="365349"/>
                  </a:cubicBezTo>
                  <a:cubicBezTo>
                    <a:pt x="326294" y="362829"/>
                    <a:pt x="326294" y="359050"/>
                    <a:pt x="326294" y="356530"/>
                  </a:cubicBezTo>
                  <a:cubicBezTo>
                    <a:pt x="326294" y="355270"/>
                    <a:pt x="326294" y="354010"/>
                    <a:pt x="326294" y="352751"/>
                  </a:cubicBezTo>
                  <a:cubicBezTo>
                    <a:pt x="326294" y="348971"/>
                    <a:pt x="326294" y="343932"/>
                    <a:pt x="326294" y="340152"/>
                  </a:cubicBezTo>
                  <a:cubicBezTo>
                    <a:pt x="326294" y="335113"/>
                    <a:pt x="326294" y="331334"/>
                    <a:pt x="326294" y="326294"/>
                  </a:cubicBezTo>
                  <a:cubicBezTo>
                    <a:pt x="326294" y="323775"/>
                    <a:pt x="326294" y="321255"/>
                    <a:pt x="326294" y="318735"/>
                  </a:cubicBezTo>
                  <a:cubicBezTo>
                    <a:pt x="326294" y="312436"/>
                    <a:pt x="326294" y="306137"/>
                    <a:pt x="326294" y="299838"/>
                  </a:cubicBezTo>
                  <a:lnTo>
                    <a:pt x="326294" y="296058"/>
                  </a:lnTo>
                  <a:cubicBezTo>
                    <a:pt x="326294" y="291019"/>
                    <a:pt x="326294" y="285980"/>
                    <a:pt x="326294" y="279681"/>
                  </a:cubicBezTo>
                  <a:cubicBezTo>
                    <a:pt x="326294" y="279681"/>
                    <a:pt x="326294" y="279681"/>
                    <a:pt x="327554" y="279681"/>
                  </a:cubicBezTo>
                  <a:cubicBezTo>
                    <a:pt x="328814" y="279681"/>
                    <a:pt x="328814" y="279681"/>
                    <a:pt x="328814" y="278421"/>
                  </a:cubicBezTo>
                  <a:cubicBezTo>
                    <a:pt x="328814" y="277161"/>
                    <a:pt x="330074" y="277161"/>
                    <a:pt x="330074" y="275901"/>
                  </a:cubicBezTo>
                  <a:cubicBezTo>
                    <a:pt x="330074" y="274642"/>
                    <a:pt x="330074" y="274642"/>
                    <a:pt x="328814" y="273382"/>
                  </a:cubicBezTo>
                  <a:lnTo>
                    <a:pt x="328814" y="273382"/>
                  </a:lnTo>
                  <a:lnTo>
                    <a:pt x="328814" y="273382"/>
                  </a:lnTo>
                  <a:lnTo>
                    <a:pt x="328814" y="273382"/>
                  </a:lnTo>
                  <a:cubicBezTo>
                    <a:pt x="328814" y="270862"/>
                    <a:pt x="328814" y="267083"/>
                    <a:pt x="328814" y="264563"/>
                  </a:cubicBezTo>
                  <a:cubicBezTo>
                    <a:pt x="328814" y="260783"/>
                    <a:pt x="328814" y="255744"/>
                    <a:pt x="330074" y="251965"/>
                  </a:cubicBezTo>
                  <a:cubicBezTo>
                    <a:pt x="330074" y="248185"/>
                    <a:pt x="331333" y="243146"/>
                    <a:pt x="331333" y="238107"/>
                  </a:cubicBezTo>
                  <a:cubicBezTo>
                    <a:pt x="331333" y="236847"/>
                    <a:pt x="331333" y="235587"/>
                    <a:pt x="331333" y="234327"/>
                  </a:cubicBezTo>
                  <a:cubicBezTo>
                    <a:pt x="331333" y="233067"/>
                    <a:pt x="331333" y="231808"/>
                    <a:pt x="331333" y="231808"/>
                  </a:cubicBezTo>
                  <a:cubicBezTo>
                    <a:pt x="331333" y="230548"/>
                    <a:pt x="331333" y="230548"/>
                    <a:pt x="331333" y="229288"/>
                  </a:cubicBezTo>
                  <a:cubicBezTo>
                    <a:pt x="331333" y="228028"/>
                    <a:pt x="331333" y="226768"/>
                    <a:pt x="331333" y="225508"/>
                  </a:cubicBezTo>
                  <a:cubicBezTo>
                    <a:pt x="331333" y="222989"/>
                    <a:pt x="331333" y="221729"/>
                    <a:pt x="331333" y="219209"/>
                  </a:cubicBezTo>
                  <a:lnTo>
                    <a:pt x="331333" y="216690"/>
                  </a:lnTo>
                  <a:cubicBezTo>
                    <a:pt x="331333" y="215430"/>
                    <a:pt x="331333" y="214170"/>
                    <a:pt x="331333" y="212910"/>
                  </a:cubicBezTo>
                  <a:cubicBezTo>
                    <a:pt x="331333" y="211650"/>
                    <a:pt x="331333" y="211650"/>
                    <a:pt x="331333" y="210390"/>
                  </a:cubicBezTo>
                  <a:cubicBezTo>
                    <a:pt x="331333" y="209131"/>
                    <a:pt x="331333" y="207871"/>
                    <a:pt x="331333" y="206611"/>
                  </a:cubicBezTo>
                  <a:cubicBezTo>
                    <a:pt x="331333" y="205351"/>
                    <a:pt x="331333" y="204091"/>
                    <a:pt x="331333" y="204091"/>
                  </a:cubicBezTo>
                  <a:cubicBezTo>
                    <a:pt x="331333" y="202832"/>
                    <a:pt x="331333" y="201572"/>
                    <a:pt x="331333" y="200312"/>
                  </a:cubicBezTo>
                  <a:cubicBezTo>
                    <a:pt x="331333" y="200312"/>
                    <a:pt x="331333" y="199052"/>
                    <a:pt x="331333" y="199052"/>
                  </a:cubicBezTo>
                  <a:cubicBezTo>
                    <a:pt x="331333" y="199052"/>
                    <a:pt x="331333" y="197792"/>
                    <a:pt x="331333" y="197792"/>
                  </a:cubicBezTo>
                  <a:cubicBezTo>
                    <a:pt x="331333" y="196533"/>
                    <a:pt x="331333" y="196533"/>
                    <a:pt x="331333" y="195273"/>
                  </a:cubicBezTo>
                  <a:cubicBezTo>
                    <a:pt x="331333" y="195273"/>
                    <a:pt x="331333" y="195273"/>
                    <a:pt x="330074" y="195273"/>
                  </a:cubicBezTo>
                  <a:cubicBezTo>
                    <a:pt x="330074" y="195273"/>
                    <a:pt x="328814" y="195273"/>
                    <a:pt x="328814" y="195273"/>
                  </a:cubicBezTo>
                  <a:cubicBezTo>
                    <a:pt x="328814" y="195273"/>
                    <a:pt x="328814" y="195273"/>
                    <a:pt x="327554" y="195273"/>
                  </a:cubicBezTo>
                  <a:cubicBezTo>
                    <a:pt x="327554" y="195273"/>
                    <a:pt x="327554" y="195273"/>
                    <a:pt x="327554" y="195273"/>
                  </a:cubicBezTo>
                  <a:lnTo>
                    <a:pt x="327554" y="195273"/>
                  </a:lnTo>
                  <a:cubicBezTo>
                    <a:pt x="327554" y="195273"/>
                    <a:pt x="326294" y="195273"/>
                    <a:pt x="326294" y="195273"/>
                  </a:cubicBezTo>
                  <a:cubicBezTo>
                    <a:pt x="325034" y="195273"/>
                    <a:pt x="323775" y="196533"/>
                    <a:pt x="323775" y="196533"/>
                  </a:cubicBezTo>
                  <a:cubicBezTo>
                    <a:pt x="322515" y="196533"/>
                    <a:pt x="322515" y="197792"/>
                    <a:pt x="321255" y="197792"/>
                  </a:cubicBezTo>
                  <a:cubicBezTo>
                    <a:pt x="319995" y="197792"/>
                    <a:pt x="318735" y="199052"/>
                    <a:pt x="317476" y="199052"/>
                  </a:cubicBezTo>
                  <a:cubicBezTo>
                    <a:pt x="314956" y="200312"/>
                    <a:pt x="313696" y="200312"/>
                    <a:pt x="311177" y="201572"/>
                  </a:cubicBezTo>
                  <a:lnTo>
                    <a:pt x="311177" y="201572"/>
                  </a:lnTo>
                  <a:cubicBezTo>
                    <a:pt x="308657" y="202832"/>
                    <a:pt x="307397" y="202832"/>
                    <a:pt x="304877" y="204091"/>
                  </a:cubicBezTo>
                  <a:cubicBezTo>
                    <a:pt x="303617" y="204091"/>
                    <a:pt x="302358" y="205351"/>
                    <a:pt x="301098" y="205351"/>
                  </a:cubicBezTo>
                  <a:cubicBezTo>
                    <a:pt x="299838" y="205351"/>
                    <a:pt x="298578" y="206611"/>
                    <a:pt x="298578" y="206611"/>
                  </a:cubicBezTo>
                  <a:lnTo>
                    <a:pt x="298578" y="206611"/>
                  </a:lnTo>
                  <a:cubicBezTo>
                    <a:pt x="296058" y="206611"/>
                    <a:pt x="294799" y="207871"/>
                    <a:pt x="292279" y="207871"/>
                  </a:cubicBezTo>
                  <a:cubicBezTo>
                    <a:pt x="291019" y="207871"/>
                    <a:pt x="289759" y="207871"/>
                    <a:pt x="288499" y="209131"/>
                  </a:cubicBezTo>
                  <a:cubicBezTo>
                    <a:pt x="287240" y="209131"/>
                    <a:pt x="285980" y="209131"/>
                    <a:pt x="285980" y="209131"/>
                  </a:cubicBezTo>
                  <a:cubicBezTo>
                    <a:pt x="283460" y="209131"/>
                    <a:pt x="282200" y="210390"/>
                    <a:pt x="279681" y="210390"/>
                  </a:cubicBezTo>
                  <a:cubicBezTo>
                    <a:pt x="274641" y="211650"/>
                    <a:pt x="269602" y="211650"/>
                    <a:pt x="264563" y="212910"/>
                  </a:cubicBezTo>
                  <a:lnTo>
                    <a:pt x="263303" y="212910"/>
                  </a:lnTo>
                  <a:cubicBezTo>
                    <a:pt x="262043" y="212910"/>
                    <a:pt x="259524" y="212910"/>
                    <a:pt x="258264" y="214170"/>
                  </a:cubicBezTo>
                  <a:cubicBezTo>
                    <a:pt x="257004" y="214170"/>
                    <a:pt x="255744" y="214170"/>
                    <a:pt x="254484" y="214170"/>
                  </a:cubicBezTo>
                  <a:cubicBezTo>
                    <a:pt x="253225" y="214170"/>
                    <a:pt x="251965" y="214170"/>
                    <a:pt x="250705" y="214170"/>
                  </a:cubicBezTo>
                  <a:cubicBezTo>
                    <a:pt x="249445" y="214170"/>
                    <a:pt x="248185" y="214170"/>
                    <a:pt x="246925" y="214170"/>
                  </a:cubicBezTo>
                  <a:cubicBezTo>
                    <a:pt x="245666" y="214170"/>
                    <a:pt x="245666" y="214170"/>
                    <a:pt x="244406" y="214170"/>
                  </a:cubicBezTo>
                  <a:lnTo>
                    <a:pt x="244406" y="214170"/>
                  </a:lnTo>
                  <a:cubicBezTo>
                    <a:pt x="241886" y="214170"/>
                    <a:pt x="240626" y="214170"/>
                    <a:pt x="236847" y="214170"/>
                  </a:cubicBezTo>
                  <a:cubicBezTo>
                    <a:pt x="231807" y="214170"/>
                    <a:pt x="228028" y="215430"/>
                    <a:pt x="222989" y="215430"/>
                  </a:cubicBezTo>
                  <a:cubicBezTo>
                    <a:pt x="220469" y="215430"/>
                    <a:pt x="217949" y="216690"/>
                    <a:pt x="215430" y="216690"/>
                  </a:cubicBezTo>
                  <a:cubicBezTo>
                    <a:pt x="214170" y="216690"/>
                    <a:pt x="211650" y="216690"/>
                    <a:pt x="209131" y="217949"/>
                  </a:cubicBezTo>
                  <a:cubicBezTo>
                    <a:pt x="209131" y="217949"/>
                    <a:pt x="207871" y="217949"/>
                    <a:pt x="207871" y="217949"/>
                  </a:cubicBezTo>
                  <a:lnTo>
                    <a:pt x="207871" y="217949"/>
                  </a:lnTo>
                  <a:cubicBezTo>
                    <a:pt x="207871" y="217949"/>
                    <a:pt x="206611" y="217949"/>
                    <a:pt x="206611" y="217949"/>
                  </a:cubicBezTo>
                  <a:cubicBezTo>
                    <a:pt x="204092" y="216690"/>
                    <a:pt x="201572" y="216690"/>
                    <a:pt x="200312" y="215430"/>
                  </a:cubicBezTo>
                  <a:lnTo>
                    <a:pt x="200312" y="215430"/>
                  </a:lnTo>
                  <a:cubicBezTo>
                    <a:pt x="199052" y="215430"/>
                    <a:pt x="199052" y="215430"/>
                    <a:pt x="197792" y="215430"/>
                  </a:cubicBezTo>
                  <a:cubicBezTo>
                    <a:pt x="196533" y="215430"/>
                    <a:pt x="195273" y="215430"/>
                    <a:pt x="194013" y="215430"/>
                  </a:cubicBezTo>
                  <a:cubicBezTo>
                    <a:pt x="194013" y="215430"/>
                    <a:pt x="194013" y="215430"/>
                    <a:pt x="194013" y="215430"/>
                  </a:cubicBezTo>
                  <a:cubicBezTo>
                    <a:pt x="192753" y="215430"/>
                    <a:pt x="192753" y="215430"/>
                    <a:pt x="191493" y="216690"/>
                  </a:cubicBezTo>
                  <a:cubicBezTo>
                    <a:pt x="191493" y="216690"/>
                    <a:pt x="191493" y="216690"/>
                    <a:pt x="191493" y="216690"/>
                  </a:cubicBezTo>
                  <a:cubicBezTo>
                    <a:pt x="191493" y="216690"/>
                    <a:pt x="191493" y="216690"/>
                    <a:pt x="190233" y="216690"/>
                  </a:cubicBezTo>
                  <a:cubicBezTo>
                    <a:pt x="187714" y="215430"/>
                    <a:pt x="183934" y="214170"/>
                    <a:pt x="181414" y="212910"/>
                  </a:cubicBezTo>
                  <a:cubicBezTo>
                    <a:pt x="178895" y="211650"/>
                    <a:pt x="177635" y="211650"/>
                    <a:pt x="175115" y="210390"/>
                  </a:cubicBezTo>
                  <a:cubicBezTo>
                    <a:pt x="173855" y="210390"/>
                    <a:pt x="173855" y="209131"/>
                    <a:pt x="172596" y="209131"/>
                  </a:cubicBezTo>
                  <a:cubicBezTo>
                    <a:pt x="170076" y="207871"/>
                    <a:pt x="167556" y="205351"/>
                    <a:pt x="165037" y="204091"/>
                  </a:cubicBezTo>
                  <a:cubicBezTo>
                    <a:pt x="162517" y="202832"/>
                    <a:pt x="158738" y="200312"/>
                    <a:pt x="154958" y="199052"/>
                  </a:cubicBezTo>
                  <a:cubicBezTo>
                    <a:pt x="152439" y="197792"/>
                    <a:pt x="148659" y="195273"/>
                    <a:pt x="146140" y="194013"/>
                  </a:cubicBezTo>
                  <a:cubicBezTo>
                    <a:pt x="143620" y="192753"/>
                    <a:pt x="141100" y="191493"/>
                    <a:pt x="138581" y="190233"/>
                  </a:cubicBezTo>
                  <a:cubicBezTo>
                    <a:pt x="127242" y="182674"/>
                    <a:pt x="113384" y="175116"/>
                    <a:pt x="99526" y="165037"/>
                  </a:cubicBezTo>
                  <a:lnTo>
                    <a:pt x="99526" y="165037"/>
                  </a:lnTo>
                  <a:cubicBezTo>
                    <a:pt x="93227" y="159998"/>
                    <a:pt x="85668" y="156218"/>
                    <a:pt x="79369" y="151179"/>
                  </a:cubicBezTo>
                  <a:cubicBezTo>
                    <a:pt x="74329" y="147399"/>
                    <a:pt x="69290" y="142360"/>
                    <a:pt x="64251" y="138581"/>
                  </a:cubicBezTo>
                  <a:lnTo>
                    <a:pt x="60471" y="136061"/>
                  </a:lnTo>
                  <a:cubicBezTo>
                    <a:pt x="55432" y="132281"/>
                    <a:pt x="49133" y="127242"/>
                    <a:pt x="42834" y="120943"/>
                  </a:cubicBezTo>
                  <a:lnTo>
                    <a:pt x="41574" y="120943"/>
                  </a:lnTo>
                  <a:cubicBezTo>
                    <a:pt x="36535" y="115904"/>
                    <a:pt x="30236" y="112124"/>
                    <a:pt x="25196" y="105825"/>
                  </a:cubicBezTo>
                  <a:cubicBezTo>
                    <a:pt x="22677" y="103305"/>
                    <a:pt x="20157" y="99526"/>
                    <a:pt x="17637" y="95747"/>
                  </a:cubicBezTo>
                  <a:cubicBezTo>
                    <a:pt x="15118" y="91967"/>
                    <a:pt x="12598" y="89448"/>
                    <a:pt x="11338" y="85668"/>
                  </a:cubicBezTo>
                  <a:cubicBezTo>
                    <a:pt x="7559" y="80629"/>
                    <a:pt x="5039" y="74330"/>
                    <a:pt x="1260" y="69290"/>
                  </a:cubicBezTo>
                  <a:cubicBezTo>
                    <a:pt x="1260" y="68031"/>
                    <a:pt x="0" y="68031"/>
                    <a:pt x="0" y="66771"/>
                  </a:cubicBezTo>
                  <a:cubicBezTo>
                    <a:pt x="3779" y="69290"/>
                    <a:pt x="6299" y="71810"/>
                    <a:pt x="8819" y="74330"/>
                  </a:cubicBezTo>
                  <a:cubicBezTo>
                    <a:pt x="11338" y="75589"/>
                    <a:pt x="13858" y="78109"/>
                    <a:pt x="15118" y="79369"/>
                  </a:cubicBezTo>
                  <a:lnTo>
                    <a:pt x="16378" y="80629"/>
                  </a:lnTo>
                  <a:cubicBezTo>
                    <a:pt x="17637" y="81889"/>
                    <a:pt x="18897" y="81889"/>
                    <a:pt x="21417" y="83148"/>
                  </a:cubicBezTo>
                  <a:cubicBezTo>
                    <a:pt x="26456" y="85668"/>
                    <a:pt x="30236" y="88188"/>
                    <a:pt x="35275" y="89448"/>
                  </a:cubicBezTo>
                  <a:cubicBezTo>
                    <a:pt x="37795" y="89448"/>
                    <a:pt x="39055" y="90707"/>
                    <a:pt x="41574" y="90707"/>
                  </a:cubicBezTo>
                  <a:cubicBezTo>
                    <a:pt x="42834" y="90707"/>
                    <a:pt x="42834" y="90707"/>
                    <a:pt x="44094" y="90707"/>
                  </a:cubicBezTo>
                  <a:cubicBezTo>
                    <a:pt x="45354" y="90707"/>
                    <a:pt x="46614" y="90707"/>
                    <a:pt x="47873" y="91967"/>
                  </a:cubicBezTo>
                  <a:cubicBezTo>
                    <a:pt x="49133" y="91967"/>
                    <a:pt x="51653" y="91967"/>
                    <a:pt x="52913" y="93227"/>
                  </a:cubicBezTo>
                  <a:cubicBezTo>
                    <a:pt x="54172" y="93227"/>
                    <a:pt x="55432" y="93227"/>
                    <a:pt x="56692" y="93227"/>
                  </a:cubicBezTo>
                  <a:cubicBezTo>
                    <a:pt x="59212" y="93227"/>
                    <a:pt x="61731" y="93227"/>
                    <a:pt x="62991" y="93227"/>
                  </a:cubicBezTo>
                  <a:cubicBezTo>
                    <a:pt x="64251" y="93227"/>
                    <a:pt x="65511" y="93227"/>
                    <a:pt x="66770" y="93227"/>
                  </a:cubicBezTo>
                  <a:lnTo>
                    <a:pt x="66770" y="93227"/>
                  </a:lnTo>
                  <a:cubicBezTo>
                    <a:pt x="68030" y="93227"/>
                    <a:pt x="69290" y="93227"/>
                    <a:pt x="70550" y="93227"/>
                  </a:cubicBezTo>
                  <a:cubicBezTo>
                    <a:pt x="73070" y="93227"/>
                    <a:pt x="76849" y="91967"/>
                    <a:pt x="79369" y="91967"/>
                  </a:cubicBezTo>
                  <a:cubicBezTo>
                    <a:pt x="81889" y="91967"/>
                    <a:pt x="84408" y="90707"/>
                    <a:pt x="86928" y="90707"/>
                  </a:cubicBezTo>
                  <a:cubicBezTo>
                    <a:pt x="89448" y="89448"/>
                    <a:pt x="91967" y="89448"/>
                    <a:pt x="93227" y="88188"/>
                  </a:cubicBezTo>
                  <a:cubicBezTo>
                    <a:pt x="94487" y="88188"/>
                    <a:pt x="95747" y="86928"/>
                    <a:pt x="97007" y="86928"/>
                  </a:cubicBezTo>
                  <a:lnTo>
                    <a:pt x="97007" y="86928"/>
                  </a:lnTo>
                  <a:cubicBezTo>
                    <a:pt x="97007" y="86928"/>
                    <a:pt x="98266" y="86928"/>
                    <a:pt x="98266" y="85668"/>
                  </a:cubicBezTo>
                  <a:lnTo>
                    <a:pt x="99526" y="84408"/>
                  </a:lnTo>
                  <a:lnTo>
                    <a:pt x="99526" y="84408"/>
                  </a:lnTo>
                  <a:cubicBezTo>
                    <a:pt x="100786" y="84408"/>
                    <a:pt x="102046" y="83148"/>
                    <a:pt x="104565" y="81889"/>
                  </a:cubicBezTo>
                  <a:lnTo>
                    <a:pt x="105825" y="81889"/>
                  </a:lnTo>
                  <a:cubicBezTo>
                    <a:pt x="108345" y="80629"/>
                    <a:pt x="110864" y="79369"/>
                    <a:pt x="112124" y="78109"/>
                  </a:cubicBezTo>
                  <a:cubicBezTo>
                    <a:pt x="114644" y="76849"/>
                    <a:pt x="115904" y="75589"/>
                    <a:pt x="118423" y="74330"/>
                  </a:cubicBezTo>
                  <a:cubicBezTo>
                    <a:pt x="120943" y="73070"/>
                    <a:pt x="122203" y="70550"/>
                    <a:pt x="124722" y="68031"/>
                  </a:cubicBezTo>
                  <a:cubicBezTo>
                    <a:pt x="125982" y="66771"/>
                    <a:pt x="127242" y="65511"/>
                    <a:pt x="127242" y="64251"/>
                  </a:cubicBezTo>
                  <a:lnTo>
                    <a:pt x="127242" y="64251"/>
                  </a:lnTo>
                  <a:cubicBezTo>
                    <a:pt x="127242" y="62991"/>
                    <a:pt x="128502" y="62991"/>
                    <a:pt x="128502" y="61731"/>
                  </a:cubicBezTo>
                  <a:cubicBezTo>
                    <a:pt x="131022" y="57952"/>
                    <a:pt x="132281" y="55432"/>
                    <a:pt x="133541" y="51653"/>
                  </a:cubicBezTo>
                  <a:cubicBezTo>
                    <a:pt x="133541" y="50393"/>
                    <a:pt x="133541" y="5039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cubicBezTo>
                    <a:pt x="134801" y="49133"/>
                    <a:pt x="134801" y="4913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lnTo>
                    <a:pt x="134801" y="49133"/>
                  </a:lnTo>
                  <a:cubicBezTo>
                    <a:pt x="136061" y="45354"/>
                    <a:pt x="138581" y="40314"/>
                    <a:pt x="139840" y="35275"/>
                  </a:cubicBezTo>
                  <a:lnTo>
                    <a:pt x="139840" y="34015"/>
                  </a:lnTo>
                  <a:cubicBezTo>
                    <a:pt x="139840" y="32755"/>
                    <a:pt x="141100" y="30236"/>
                    <a:pt x="141100" y="28976"/>
                  </a:cubicBezTo>
                  <a:cubicBezTo>
                    <a:pt x="141100" y="26456"/>
                    <a:pt x="142360" y="23937"/>
                    <a:pt x="142360" y="22677"/>
                  </a:cubicBezTo>
                  <a:cubicBezTo>
                    <a:pt x="142360" y="20157"/>
                    <a:pt x="142360" y="17638"/>
                    <a:pt x="142360" y="16378"/>
                  </a:cubicBezTo>
                  <a:cubicBezTo>
                    <a:pt x="142360" y="16378"/>
                    <a:pt x="142360" y="16378"/>
                    <a:pt x="142360" y="15118"/>
                  </a:cubicBezTo>
                  <a:lnTo>
                    <a:pt x="142360" y="15118"/>
                  </a:lnTo>
                  <a:lnTo>
                    <a:pt x="142360" y="15118"/>
                  </a:lnTo>
                  <a:cubicBezTo>
                    <a:pt x="142360" y="13858"/>
                    <a:pt x="142360" y="13858"/>
                    <a:pt x="142360" y="12598"/>
                  </a:cubicBezTo>
                  <a:cubicBezTo>
                    <a:pt x="142360" y="10079"/>
                    <a:pt x="141100" y="7559"/>
                    <a:pt x="141100" y="5039"/>
                  </a:cubicBezTo>
                  <a:cubicBezTo>
                    <a:pt x="141100" y="3780"/>
                    <a:pt x="141100" y="1260"/>
                    <a:pt x="139840" y="0"/>
                  </a:cubicBezTo>
                  <a:cubicBezTo>
                    <a:pt x="149919" y="11339"/>
                    <a:pt x="151179" y="12598"/>
                    <a:pt x="151179" y="12598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9" name="任意多边形: 形状 10248"/>
            <p:cNvSpPr/>
            <p:nvPr/>
          </p:nvSpPr>
          <p:spPr>
            <a:xfrm>
              <a:off x="5179849" y="3591517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0" name="任意多边形: 形状 10249"/>
            <p:cNvSpPr/>
            <p:nvPr/>
          </p:nvSpPr>
          <p:spPr>
            <a:xfrm>
              <a:off x="4665841" y="2810426"/>
              <a:ext cx="251965" cy="113384"/>
            </a:xfrm>
            <a:custGeom>
              <a:avLst/>
              <a:gdLst>
                <a:gd name="connsiteX0" fmla="*/ 5039 w 251964"/>
                <a:gd name="connsiteY0" fmla="*/ 6299 h 113384"/>
                <a:gd name="connsiteX1" fmla="*/ 15118 w 251964"/>
                <a:gd name="connsiteY1" fmla="*/ 11339 h 113384"/>
                <a:gd name="connsiteX2" fmla="*/ 25196 w 251964"/>
                <a:gd name="connsiteY2" fmla="*/ 16378 h 113384"/>
                <a:gd name="connsiteX3" fmla="*/ 44094 w 251964"/>
                <a:gd name="connsiteY3" fmla="*/ 26456 h 113384"/>
                <a:gd name="connsiteX4" fmla="*/ 52912 w 251964"/>
                <a:gd name="connsiteY4" fmla="*/ 31496 h 113384"/>
                <a:gd name="connsiteX5" fmla="*/ 73070 w 251964"/>
                <a:gd name="connsiteY5" fmla="*/ 40315 h 113384"/>
                <a:gd name="connsiteX6" fmla="*/ 93227 w 251964"/>
                <a:gd name="connsiteY6" fmla="*/ 49133 h 113384"/>
                <a:gd name="connsiteX7" fmla="*/ 113384 w 251964"/>
                <a:gd name="connsiteY7" fmla="*/ 57952 h 113384"/>
                <a:gd name="connsiteX8" fmla="*/ 123463 w 251964"/>
                <a:gd name="connsiteY8" fmla="*/ 61731 h 113384"/>
                <a:gd name="connsiteX9" fmla="*/ 133541 w 251964"/>
                <a:gd name="connsiteY9" fmla="*/ 65511 h 113384"/>
                <a:gd name="connsiteX10" fmla="*/ 154958 w 251964"/>
                <a:gd name="connsiteY10" fmla="*/ 74330 h 113384"/>
                <a:gd name="connsiteX11" fmla="*/ 165037 w 251964"/>
                <a:gd name="connsiteY11" fmla="*/ 78109 h 113384"/>
                <a:gd name="connsiteX12" fmla="*/ 175115 w 251964"/>
                <a:gd name="connsiteY12" fmla="*/ 81889 h 113384"/>
                <a:gd name="connsiteX13" fmla="*/ 196532 w 251964"/>
                <a:gd name="connsiteY13" fmla="*/ 89448 h 113384"/>
                <a:gd name="connsiteX14" fmla="*/ 216689 w 251964"/>
                <a:gd name="connsiteY14" fmla="*/ 97007 h 113384"/>
                <a:gd name="connsiteX15" fmla="*/ 250705 w 251964"/>
                <a:gd name="connsiteY15" fmla="*/ 109605 h 113384"/>
                <a:gd name="connsiteX16" fmla="*/ 255744 w 251964"/>
                <a:gd name="connsiteY16" fmla="*/ 115904 h 113384"/>
                <a:gd name="connsiteX17" fmla="*/ 253224 w 251964"/>
                <a:gd name="connsiteY17" fmla="*/ 119683 h 113384"/>
                <a:gd name="connsiteX18" fmla="*/ 248185 w 251964"/>
                <a:gd name="connsiteY18" fmla="*/ 120943 h 113384"/>
                <a:gd name="connsiteX19" fmla="*/ 236847 w 251964"/>
                <a:gd name="connsiteY19" fmla="*/ 118424 h 113384"/>
                <a:gd name="connsiteX20" fmla="*/ 226768 w 251964"/>
                <a:gd name="connsiteY20" fmla="*/ 114644 h 113384"/>
                <a:gd name="connsiteX21" fmla="*/ 206611 w 251964"/>
                <a:gd name="connsiteY21" fmla="*/ 107085 h 113384"/>
                <a:gd name="connsiteX22" fmla="*/ 165037 w 251964"/>
                <a:gd name="connsiteY22" fmla="*/ 93227 h 113384"/>
                <a:gd name="connsiteX23" fmla="*/ 144880 w 251964"/>
                <a:gd name="connsiteY23" fmla="*/ 85668 h 113384"/>
                <a:gd name="connsiteX24" fmla="*/ 123463 w 251964"/>
                <a:gd name="connsiteY24" fmla="*/ 76849 h 113384"/>
                <a:gd name="connsiteX25" fmla="*/ 103305 w 251964"/>
                <a:gd name="connsiteY25" fmla="*/ 69290 h 113384"/>
                <a:gd name="connsiteX26" fmla="*/ 83148 w 251964"/>
                <a:gd name="connsiteY26" fmla="*/ 59212 h 113384"/>
                <a:gd name="connsiteX27" fmla="*/ 62991 w 251964"/>
                <a:gd name="connsiteY27" fmla="*/ 50393 h 113384"/>
                <a:gd name="connsiteX28" fmla="*/ 42834 w 251964"/>
                <a:gd name="connsiteY28" fmla="*/ 40315 h 113384"/>
                <a:gd name="connsiteX29" fmla="*/ 23937 w 251964"/>
                <a:gd name="connsiteY29" fmla="*/ 28976 h 113384"/>
                <a:gd name="connsiteX30" fmla="*/ 5039 w 251964"/>
                <a:gd name="connsiteY30" fmla="*/ 17638 h 113384"/>
                <a:gd name="connsiteX31" fmla="*/ 0 w 251964"/>
                <a:gd name="connsiteY31" fmla="*/ 15118 h 113384"/>
                <a:gd name="connsiteX32" fmla="*/ 1260 w 251964"/>
                <a:gd name="connsiteY32" fmla="*/ 8819 h 113384"/>
                <a:gd name="connsiteX33" fmla="*/ 1260 w 251964"/>
                <a:gd name="connsiteY33" fmla="*/ 2520 h 113384"/>
                <a:gd name="connsiteX34" fmla="*/ 1260 w 251964"/>
                <a:gd name="connsiteY34" fmla="*/ 1260 h 113384"/>
                <a:gd name="connsiteX35" fmla="*/ 1260 w 251964"/>
                <a:gd name="connsiteY35" fmla="*/ 1260 h 113384"/>
                <a:gd name="connsiteX36" fmla="*/ 1260 w 251964"/>
                <a:gd name="connsiteY36" fmla="*/ 1260 h 113384"/>
                <a:gd name="connsiteX37" fmla="*/ 1260 w 251964"/>
                <a:gd name="connsiteY37" fmla="*/ 0 h 113384"/>
                <a:gd name="connsiteX38" fmla="*/ 5039 w 251964"/>
                <a:gd name="connsiteY38" fmla="*/ 6299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1964" h="113384">
                  <a:moveTo>
                    <a:pt x="5039" y="6299"/>
                  </a:moveTo>
                  <a:cubicBezTo>
                    <a:pt x="8819" y="7559"/>
                    <a:pt x="11338" y="10079"/>
                    <a:pt x="15118" y="11339"/>
                  </a:cubicBezTo>
                  <a:cubicBezTo>
                    <a:pt x="18897" y="12598"/>
                    <a:pt x="21417" y="15118"/>
                    <a:pt x="25196" y="16378"/>
                  </a:cubicBezTo>
                  <a:cubicBezTo>
                    <a:pt x="31496" y="20157"/>
                    <a:pt x="37795" y="22677"/>
                    <a:pt x="44094" y="26456"/>
                  </a:cubicBezTo>
                  <a:cubicBezTo>
                    <a:pt x="46613" y="27716"/>
                    <a:pt x="49133" y="28976"/>
                    <a:pt x="52912" y="31496"/>
                  </a:cubicBezTo>
                  <a:cubicBezTo>
                    <a:pt x="59211" y="34015"/>
                    <a:pt x="65511" y="37795"/>
                    <a:pt x="73070" y="40315"/>
                  </a:cubicBezTo>
                  <a:cubicBezTo>
                    <a:pt x="79369" y="42834"/>
                    <a:pt x="86928" y="46614"/>
                    <a:pt x="93227" y="49133"/>
                  </a:cubicBezTo>
                  <a:cubicBezTo>
                    <a:pt x="99526" y="52913"/>
                    <a:pt x="107085" y="55432"/>
                    <a:pt x="113384" y="57952"/>
                  </a:cubicBezTo>
                  <a:cubicBezTo>
                    <a:pt x="117163" y="59212"/>
                    <a:pt x="119683" y="60472"/>
                    <a:pt x="123463" y="61731"/>
                  </a:cubicBezTo>
                  <a:cubicBezTo>
                    <a:pt x="127242" y="62991"/>
                    <a:pt x="129762" y="64251"/>
                    <a:pt x="133541" y="65511"/>
                  </a:cubicBezTo>
                  <a:cubicBezTo>
                    <a:pt x="141100" y="68031"/>
                    <a:pt x="147399" y="71810"/>
                    <a:pt x="154958" y="74330"/>
                  </a:cubicBezTo>
                  <a:cubicBezTo>
                    <a:pt x="158737" y="75589"/>
                    <a:pt x="161257" y="76849"/>
                    <a:pt x="165037" y="78109"/>
                  </a:cubicBezTo>
                  <a:cubicBezTo>
                    <a:pt x="168816" y="79369"/>
                    <a:pt x="171336" y="80629"/>
                    <a:pt x="175115" y="81889"/>
                  </a:cubicBezTo>
                  <a:cubicBezTo>
                    <a:pt x="182674" y="84408"/>
                    <a:pt x="188973" y="86928"/>
                    <a:pt x="196532" y="89448"/>
                  </a:cubicBezTo>
                  <a:cubicBezTo>
                    <a:pt x="202831" y="91967"/>
                    <a:pt x="210390" y="94487"/>
                    <a:pt x="216689" y="97007"/>
                  </a:cubicBezTo>
                  <a:cubicBezTo>
                    <a:pt x="228028" y="100786"/>
                    <a:pt x="239366" y="105825"/>
                    <a:pt x="250705" y="109605"/>
                  </a:cubicBezTo>
                  <a:cubicBezTo>
                    <a:pt x="253224" y="110864"/>
                    <a:pt x="255744" y="113384"/>
                    <a:pt x="255744" y="115904"/>
                  </a:cubicBezTo>
                  <a:cubicBezTo>
                    <a:pt x="255744" y="117164"/>
                    <a:pt x="254484" y="119683"/>
                    <a:pt x="253224" y="119683"/>
                  </a:cubicBezTo>
                  <a:cubicBezTo>
                    <a:pt x="251965" y="120943"/>
                    <a:pt x="249445" y="120943"/>
                    <a:pt x="248185" y="120943"/>
                  </a:cubicBezTo>
                  <a:cubicBezTo>
                    <a:pt x="244406" y="119683"/>
                    <a:pt x="240626" y="119683"/>
                    <a:pt x="236847" y="118424"/>
                  </a:cubicBezTo>
                  <a:cubicBezTo>
                    <a:pt x="233067" y="117164"/>
                    <a:pt x="230548" y="115904"/>
                    <a:pt x="226768" y="114644"/>
                  </a:cubicBezTo>
                  <a:cubicBezTo>
                    <a:pt x="220469" y="112124"/>
                    <a:pt x="212910" y="109605"/>
                    <a:pt x="206611" y="107085"/>
                  </a:cubicBezTo>
                  <a:cubicBezTo>
                    <a:pt x="192753" y="102046"/>
                    <a:pt x="178895" y="97007"/>
                    <a:pt x="165037" y="93227"/>
                  </a:cubicBezTo>
                  <a:cubicBezTo>
                    <a:pt x="158737" y="90707"/>
                    <a:pt x="151179" y="88188"/>
                    <a:pt x="144880" y="85668"/>
                  </a:cubicBezTo>
                  <a:cubicBezTo>
                    <a:pt x="137321" y="83148"/>
                    <a:pt x="131022" y="79369"/>
                    <a:pt x="123463" y="76849"/>
                  </a:cubicBezTo>
                  <a:cubicBezTo>
                    <a:pt x="117163" y="74330"/>
                    <a:pt x="109604" y="71810"/>
                    <a:pt x="103305" y="69290"/>
                  </a:cubicBezTo>
                  <a:cubicBezTo>
                    <a:pt x="97006" y="66771"/>
                    <a:pt x="89447" y="62991"/>
                    <a:pt x="83148" y="59212"/>
                  </a:cubicBezTo>
                  <a:cubicBezTo>
                    <a:pt x="76849" y="56692"/>
                    <a:pt x="70550" y="52913"/>
                    <a:pt x="62991" y="50393"/>
                  </a:cubicBezTo>
                  <a:cubicBezTo>
                    <a:pt x="55432" y="47873"/>
                    <a:pt x="49133" y="44094"/>
                    <a:pt x="42834" y="40315"/>
                  </a:cubicBezTo>
                  <a:cubicBezTo>
                    <a:pt x="36535" y="36535"/>
                    <a:pt x="30236" y="32755"/>
                    <a:pt x="23937" y="28976"/>
                  </a:cubicBezTo>
                  <a:cubicBezTo>
                    <a:pt x="17637" y="25196"/>
                    <a:pt x="11338" y="21417"/>
                    <a:pt x="5039" y="17638"/>
                  </a:cubicBezTo>
                  <a:cubicBezTo>
                    <a:pt x="3779" y="16378"/>
                    <a:pt x="1260" y="16378"/>
                    <a:pt x="0" y="15118"/>
                  </a:cubicBezTo>
                  <a:cubicBezTo>
                    <a:pt x="0" y="12598"/>
                    <a:pt x="0" y="10079"/>
                    <a:pt x="1260" y="8819"/>
                  </a:cubicBezTo>
                  <a:cubicBezTo>
                    <a:pt x="1260" y="6299"/>
                    <a:pt x="1260" y="3780"/>
                    <a:pt x="1260" y="2520"/>
                  </a:cubicBezTo>
                  <a:cubicBezTo>
                    <a:pt x="1260" y="2520"/>
                    <a:pt x="1260" y="2520"/>
                    <a:pt x="1260" y="1260"/>
                  </a:cubicBezTo>
                  <a:lnTo>
                    <a:pt x="1260" y="1260"/>
                  </a:lnTo>
                  <a:lnTo>
                    <a:pt x="1260" y="1260"/>
                  </a:lnTo>
                  <a:cubicBezTo>
                    <a:pt x="1260" y="1260"/>
                    <a:pt x="1260" y="0"/>
                    <a:pt x="1260" y="0"/>
                  </a:cubicBezTo>
                  <a:cubicBezTo>
                    <a:pt x="0" y="3780"/>
                    <a:pt x="2519" y="5039"/>
                    <a:pt x="5039" y="629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1" name="任意多边形: 形状 10250"/>
            <p:cNvSpPr/>
            <p:nvPr/>
          </p:nvSpPr>
          <p:spPr>
            <a:xfrm>
              <a:off x="4662062" y="2802867"/>
              <a:ext cx="264563" cy="100786"/>
            </a:xfrm>
            <a:custGeom>
              <a:avLst/>
              <a:gdLst>
                <a:gd name="connsiteX0" fmla="*/ 8819 w 264562"/>
                <a:gd name="connsiteY0" fmla="*/ 5039 h 100785"/>
                <a:gd name="connsiteX1" fmla="*/ 0 w 264562"/>
                <a:gd name="connsiteY1" fmla="*/ 0 h 100785"/>
                <a:gd name="connsiteX2" fmla="*/ 0 w 264562"/>
                <a:gd name="connsiteY2" fmla="*/ 1260 h 100785"/>
                <a:gd name="connsiteX3" fmla="*/ 1260 w 264562"/>
                <a:gd name="connsiteY3" fmla="*/ 8819 h 100785"/>
                <a:gd name="connsiteX4" fmla="*/ 1260 w 264562"/>
                <a:gd name="connsiteY4" fmla="*/ 11338 h 100785"/>
                <a:gd name="connsiteX5" fmla="*/ 1260 w 264562"/>
                <a:gd name="connsiteY5" fmla="*/ 11338 h 100785"/>
                <a:gd name="connsiteX6" fmla="*/ 1260 w 264562"/>
                <a:gd name="connsiteY6" fmla="*/ 11338 h 100785"/>
                <a:gd name="connsiteX7" fmla="*/ 1260 w 264562"/>
                <a:gd name="connsiteY7" fmla="*/ 12598 h 100785"/>
                <a:gd name="connsiteX8" fmla="*/ 1260 w 264562"/>
                <a:gd name="connsiteY8" fmla="*/ 18897 h 100785"/>
                <a:gd name="connsiteX9" fmla="*/ 1260 w 264562"/>
                <a:gd name="connsiteY9" fmla="*/ 22677 h 100785"/>
                <a:gd name="connsiteX10" fmla="*/ 7559 w 264562"/>
                <a:gd name="connsiteY10" fmla="*/ 26456 h 100785"/>
                <a:gd name="connsiteX11" fmla="*/ 27716 w 264562"/>
                <a:gd name="connsiteY11" fmla="*/ 37795 h 100785"/>
                <a:gd name="connsiteX12" fmla="*/ 45354 w 264562"/>
                <a:gd name="connsiteY12" fmla="*/ 47873 h 100785"/>
                <a:gd name="connsiteX13" fmla="*/ 68030 w 264562"/>
                <a:gd name="connsiteY13" fmla="*/ 59212 h 100785"/>
                <a:gd name="connsiteX14" fmla="*/ 89448 w 264562"/>
                <a:gd name="connsiteY14" fmla="*/ 68030 h 100785"/>
                <a:gd name="connsiteX15" fmla="*/ 109605 w 264562"/>
                <a:gd name="connsiteY15" fmla="*/ 76849 h 100785"/>
                <a:gd name="connsiteX16" fmla="*/ 129762 w 264562"/>
                <a:gd name="connsiteY16" fmla="*/ 84408 h 100785"/>
                <a:gd name="connsiteX17" fmla="*/ 141100 w 264562"/>
                <a:gd name="connsiteY17" fmla="*/ 88188 h 100785"/>
                <a:gd name="connsiteX18" fmla="*/ 151179 w 264562"/>
                <a:gd name="connsiteY18" fmla="*/ 91967 h 100785"/>
                <a:gd name="connsiteX19" fmla="*/ 163777 w 264562"/>
                <a:gd name="connsiteY19" fmla="*/ 95746 h 100785"/>
                <a:gd name="connsiteX20" fmla="*/ 173856 w 264562"/>
                <a:gd name="connsiteY20" fmla="*/ 98266 h 100785"/>
                <a:gd name="connsiteX21" fmla="*/ 195273 w 264562"/>
                <a:gd name="connsiteY21" fmla="*/ 102046 h 100785"/>
                <a:gd name="connsiteX22" fmla="*/ 215430 w 264562"/>
                <a:gd name="connsiteY22" fmla="*/ 105825 h 100785"/>
                <a:gd name="connsiteX23" fmla="*/ 215430 w 264562"/>
                <a:gd name="connsiteY23" fmla="*/ 105825 h 100785"/>
                <a:gd name="connsiteX24" fmla="*/ 215430 w 264562"/>
                <a:gd name="connsiteY24" fmla="*/ 105825 h 100785"/>
                <a:gd name="connsiteX25" fmla="*/ 215430 w 264562"/>
                <a:gd name="connsiteY25" fmla="*/ 105825 h 100785"/>
                <a:gd name="connsiteX26" fmla="*/ 216690 w 264562"/>
                <a:gd name="connsiteY26" fmla="*/ 105825 h 100785"/>
                <a:gd name="connsiteX27" fmla="*/ 219209 w 264562"/>
                <a:gd name="connsiteY27" fmla="*/ 105825 h 100785"/>
                <a:gd name="connsiteX28" fmla="*/ 217950 w 264562"/>
                <a:gd name="connsiteY28" fmla="*/ 105825 h 100785"/>
                <a:gd name="connsiteX29" fmla="*/ 236847 w 264562"/>
                <a:gd name="connsiteY29" fmla="*/ 109605 h 100785"/>
                <a:gd name="connsiteX30" fmla="*/ 244406 w 264562"/>
                <a:gd name="connsiteY30" fmla="*/ 110864 h 100785"/>
                <a:gd name="connsiteX31" fmla="*/ 250705 w 264562"/>
                <a:gd name="connsiteY31" fmla="*/ 112124 h 100785"/>
                <a:gd name="connsiteX32" fmla="*/ 265823 w 264562"/>
                <a:gd name="connsiteY32" fmla="*/ 112124 h 100785"/>
                <a:gd name="connsiteX33" fmla="*/ 269602 w 264562"/>
                <a:gd name="connsiteY33" fmla="*/ 110864 h 100785"/>
                <a:gd name="connsiteX34" fmla="*/ 272122 w 264562"/>
                <a:gd name="connsiteY34" fmla="*/ 107085 h 100785"/>
                <a:gd name="connsiteX35" fmla="*/ 267083 w 264562"/>
                <a:gd name="connsiteY35" fmla="*/ 100786 h 100785"/>
                <a:gd name="connsiteX36" fmla="*/ 255744 w 264562"/>
                <a:gd name="connsiteY36" fmla="*/ 100786 h 100785"/>
                <a:gd name="connsiteX37" fmla="*/ 246925 w 264562"/>
                <a:gd name="connsiteY37" fmla="*/ 99526 h 100785"/>
                <a:gd name="connsiteX38" fmla="*/ 231807 w 264562"/>
                <a:gd name="connsiteY38" fmla="*/ 95746 h 100785"/>
                <a:gd name="connsiteX39" fmla="*/ 210391 w 264562"/>
                <a:gd name="connsiteY39" fmla="*/ 90707 h 100785"/>
                <a:gd name="connsiteX40" fmla="*/ 200312 w 264562"/>
                <a:gd name="connsiteY40" fmla="*/ 88188 h 100785"/>
                <a:gd name="connsiteX41" fmla="*/ 191493 w 264562"/>
                <a:gd name="connsiteY41" fmla="*/ 85668 h 100785"/>
                <a:gd name="connsiteX42" fmla="*/ 187714 w 264562"/>
                <a:gd name="connsiteY42" fmla="*/ 84408 h 100785"/>
                <a:gd name="connsiteX43" fmla="*/ 181414 w 264562"/>
                <a:gd name="connsiteY43" fmla="*/ 83148 h 100785"/>
                <a:gd name="connsiteX44" fmla="*/ 175115 w 264562"/>
                <a:gd name="connsiteY44" fmla="*/ 81889 h 100785"/>
                <a:gd name="connsiteX45" fmla="*/ 161258 w 264562"/>
                <a:gd name="connsiteY45" fmla="*/ 76849 h 100785"/>
                <a:gd name="connsiteX46" fmla="*/ 163777 w 264562"/>
                <a:gd name="connsiteY46" fmla="*/ 78109 h 100785"/>
                <a:gd name="connsiteX47" fmla="*/ 148659 w 264562"/>
                <a:gd name="connsiteY47" fmla="*/ 73070 h 100785"/>
                <a:gd name="connsiteX48" fmla="*/ 149919 w 264562"/>
                <a:gd name="connsiteY48" fmla="*/ 73070 h 100785"/>
                <a:gd name="connsiteX49" fmla="*/ 136061 w 264562"/>
                <a:gd name="connsiteY49" fmla="*/ 68030 h 100785"/>
                <a:gd name="connsiteX50" fmla="*/ 124722 w 264562"/>
                <a:gd name="connsiteY50" fmla="*/ 64251 h 100785"/>
                <a:gd name="connsiteX51" fmla="*/ 115904 w 264562"/>
                <a:gd name="connsiteY51" fmla="*/ 60472 h 100785"/>
                <a:gd name="connsiteX52" fmla="*/ 95747 w 264562"/>
                <a:gd name="connsiteY52" fmla="*/ 52913 h 100785"/>
                <a:gd name="connsiteX53" fmla="*/ 86928 w 264562"/>
                <a:gd name="connsiteY53" fmla="*/ 49133 h 100785"/>
                <a:gd name="connsiteX54" fmla="*/ 78109 w 264562"/>
                <a:gd name="connsiteY54" fmla="*/ 45354 h 100785"/>
                <a:gd name="connsiteX55" fmla="*/ 60472 w 264562"/>
                <a:gd name="connsiteY55" fmla="*/ 36535 h 100785"/>
                <a:gd name="connsiteX56" fmla="*/ 46614 w 264562"/>
                <a:gd name="connsiteY56" fmla="*/ 28976 h 100785"/>
                <a:gd name="connsiteX57" fmla="*/ 39055 w 264562"/>
                <a:gd name="connsiteY57" fmla="*/ 25196 h 100785"/>
                <a:gd name="connsiteX58" fmla="*/ 30236 w 264562"/>
                <a:gd name="connsiteY58" fmla="*/ 20157 h 100785"/>
                <a:gd name="connsiteX59" fmla="*/ 30236 w 264562"/>
                <a:gd name="connsiteY59" fmla="*/ 20157 h 100785"/>
                <a:gd name="connsiteX60" fmla="*/ 26456 w 264562"/>
                <a:gd name="connsiteY60" fmla="*/ 17637 h 100785"/>
                <a:gd name="connsiteX61" fmla="*/ 17637 w 264562"/>
                <a:gd name="connsiteY61" fmla="*/ 12598 h 100785"/>
                <a:gd name="connsiteX62" fmla="*/ 8819 w 264562"/>
                <a:gd name="connsiteY62" fmla="*/ 5039 h 100785"/>
                <a:gd name="connsiteX63" fmla="*/ 8819 w 264562"/>
                <a:gd name="connsiteY63" fmla="*/ 5039 h 100785"/>
                <a:gd name="connsiteX64" fmla="*/ 214170 w 264562"/>
                <a:gd name="connsiteY64" fmla="*/ 104565 h 100785"/>
                <a:gd name="connsiteX65" fmla="*/ 214170 w 264562"/>
                <a:gd name="connsiteY65" fmla="*/ 104565 h 100785"/>
                <a:gd name="connsiteX66" fmla="*/ 214170 w 264562"/>
                <a:gd name="connsiteY66" fmla="*/ 10456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64562" h="100785">
                  <a:moveTo>
                    <a:pt x="8819" y="5039"/>
                  </a:moveTo>
                  <a:cubicBezTo>
                    <a:pt x="6299" y="3780"/>
                    <a:pt x="252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0" y="3780"/>
                    <a:pt x="1260" y="6299"/>
                    <a:pt x="1260" y="8819"/>
                  </a:cubicBezTo>
                  <a:cubicBezTo>
                    <a:pt x="1260" y="10079"/>
                    <a:pt x="1260" y="10079"/>
                    <a:pt x="1260" y="11338"/>
                  </a:cubicBezTo>
                  <a:lnTo>
                    <a:pt x="1260" y="11338"/>
                  </a:lnTo>
                  <a:lnTo>
                    <a:pt x="1260" y="11338"/>
                  </a:lnTo>
                  <a:cubicBezTo>
                    <a:pt x="1260" y="11338"/>
                    <a:pt x="1260" y="11338"/>
                    <a:pt x="1260" y="12598"/>
                  </a:cubicBezTo>
                  <a:cubicBezTo>
                    <a:pt x="1260" y="13858"/>
                    <a:pt x="1260" y="16378"/>
                    <a:pt x="1260" y="18897"/>
                  </a:cubicBezTo>
                  <a:cubicBezTo>
                    <a:pt x="1260" y="20157"/>
                    <a:pt x="1260" y="21417"/>
                    <a:pt x="1260" y="22677"/>
                  </a:cubicBezTo>
                  <a:cubicBezTo>
                    <a:pt x="3780" y="23937"/>
                    <a:pt x="6299" y="25196"/>
                    <a:pt x="7559" y="26456"/>
                  </a:cubicBezTo>
                  <a:cubicBezTo>
                    <a:pt x="13858" y="30236"/>
                    <a:pt x="20157" y="34015"/>
                    <a:pt x="27716" y="37795"/>
                  </a:cubicBezTo>
                  <a:cubicBezTo>
                    <a:pt x="34015" y="41574"/>
                    <a:pt x="40314" y="44094"/>
                    <a:pt x="45354" y="47873"/>
                  </a:cubicBezTo>
                  <a:cubicBezTo>
                    <a:pt x="52913" y="51653"/>
                    <a:pt x="60472" y="55432"/>
                    <a:pt x="68030" y="59212"/>
                  </a:cubicBezTo>
                  <a:cubicBezTo>
                    <a:pt x="75589" y="61731"/>
                    <a:pt x="81889" y="65511"/>
                    <a:pt x="89448" y="68030"/>
                  </a:cubicBezTo>
                  <a:cubicBezTo>
                    <a:pt x="95747" y="70550"/>
                    <a:pt x="103306" y="74330"/>
                    <a:pt x="109605" y="76849"/>
                  </a:cubicBezTo>
                  <a:cubicBezTo>
                    <a:pt x="115904" y="79369"/>
                    <a:pt x="123463" y="81889"/>
                    <a:pt x="129762" y="84408"/>
                  </a:cubicBezTo>
                  <a:cubicBezTo>
                    <a:pt x="133541" y="85668"/>
                    <a:pt x="137321" y="86928"/>
                    <a:pt x="141100" y="88188"/>
                  </a:cubicBezTo>
                  <a:cubicBezTo>
                    <a:pt x="143620" y="89447"/>
                    <a:pt x="147399" y="90707"/>
                    <a:pt x="151179" y="91967"/>
                  </a:cubicBezTo>
                  <a:cubicBezTo>
                    <a:pt x="154958" y="93227"/>
                    <a:pt x="159998" y="94487"/>
                    <a:pt x="163777" y="95746"/>
                  </a:cubicBezTo>
                  <a:cubicBezTo>
                    <a:pt x="167557" y="97006"/>
                    <a:pt x="170076" y="97006"/>
                    <a:pt x="173856" y="98266"/>
                  </a:cubicBezTo>
                  <a:cubicBezTo>
                    <a:pt x="181414" y="99526"/>
                    <a:pt x="187714" y="100786"/>
                    <a:pt x="195273" y="102046"/>
                  </a:cubicBezTo>
                  <a:cubicBezTo>
                    <a:pt x="201572" y="103305"/>
                    <a:pt x="209131" y="10456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lnTo>
                    <a:pt x="215430" y="105825"/>
                  </a:lnTo>
                  <a:cubicBezTo>
                    <a:pt x="215430" y="105825"/>
                    <a:pt x="215430" y="105825"/>
                    <a:pt x="216690" y="105825"/>
                  </a:cubicBezTo>
                  <a:cubicBezTo>
                    <a:pt x="217950" y="105825"/>
                    <a:pt x="217950" y="105825"/>
                    <a:pt x="219209" y="105825"/>
                  </a:cubicBezTo>
                  <a:cubicBezTo>
                    <a:pt x="219209" y="105825"/>
                    <a:pt x="217950" y="105825"/>
                    <a:pt x="217950" y="105825"/>
                  </a:cubicBezTo>
                  <a:cubicBezTo>
                    <a:pt x="224249" y="107085"/>
                    <a:pt x="230548" y="108345"/>
                    <a:pt x="236847" y="109605"/>
                  </a:cubicBezTo>
                  <a:cubicBezTo>
                    <a:pt x="239366" y="109605"/>
                    <a:pt x="241886" y="110864"/>
                    <a:pt x="244406" y="110864"/>
                  </a:cubicBezTo>
                  <a:cubicBezTo>
                    <a:pt x="246925" y="110864"/>
                    <a:pt x="248185" y="110864"/>
                    <a:pt x="250705" y="112124"/>
                  </a:cubicBezTo>
                  <a:cubicBezTo>
                    <a:pt x="255744" y="112124"/>
                    <a:pt x="260784" y="112124"/>
                    <a:pt x="265823" y="112124"/>
                  </a:cubicBezTo>
                  <a:cubicBezTo>
                    <a:pt x="267083" y="112124"/>
                    <a:pt x="268343" y="112124"/>
                    <a:pt x="269602" y="110864"/>
                  </a:cubicBezTo>
                  <a:cubicBezTo>
                    <a:pt x="270862" y="109605"/>
                    <a:pt x="270862" y="108345"/>
                    <a:pt x="272122" y="107085"/>
                  </a:cubicBezTo>
                  <a:cubicBezTo>
                    <a:pt x="272122" y="104565"/>
                    <a:pt x="269602" y="100786"/>
                    <a:pt x="267083" y="100786"/>
                  </a:cubicBezTo>
                  <a:cubicBezTo>
                    <a:pt x="263303" y="100786"/>
                    <a:pt x="259524" y="100786"/>
                    <a:pt x="255744" y="100786"/>
                  </a:cubicBezTo>
                  <a:cubicBezTo>
                    <a:pt x="253225" y="100786"/>
                    <a:pt x="249445" y="100786"/>
                    <a:pt x="246925" y="99526"/>
                  </a:cubicBezTo>
                  <a:cubicBezTo>
                    <a:pt x="241886" y="98266"/>
                    <a:pt x="236847" y="97006"/>
                    <a:pt x="231807" y="95746"/>
                  </a:cubicBezTo>
                  <a:cubicBezTo>
                    <a:pt x="224249" y="94487"/>
                    <a:pt x="217950" y="91967"/>
                    <a:pt x="210391" y="90707"/>
                  </a:cubicBezTo>
                  <a:cubicBezTo>
                    <a:pt x="206611" y="89447"/>
                    <a:pt x="204092" y="89447"/>
                    <a:pt x="200312" y="88188"/>
                  </a:cubicBezTo>
                  <a:cubicBezTo>
                    <a:pt x="197792" y="86928"/>
                    <a:pt x="195273" y="86928"/>
                    <a:pt x="191493" y="85668"/>
                  </a:cubicBezTo>
                  <a:cubicBezTo>
                    <a:pt x="190233" y="85668"/>
                    <a:pt x="188973" y="85668"/>
                    <a:pt x="187714" y="84408"/>
                  </a:cubicBezTo>
                  <a:cubicBezTo>
                    <a:pt x="185194" y="84408"/>
                    <a:pt x="183934" y="83148"/>
                    <a:pt x="181414" y="83148"/>
                  </a:cubicBezTo>
                  <a:cubicBezTo>
                    <a:pt x="178895" y="83148"/>
                    <a:pt x="177635" y="81889"/>
                    <a:pt x="175115" y="81889"/>
                  </a:cubicBezTo>
                  <a:cubicBezTo>
                    <a:pt x="170076" y="80629"/>
                    <a:pt x="165037" y="79369"/>
                    <a:pt x="161258" y="76849"/>
                  </a:cubicBezTo>
                  <a:lnTo>
                    <a:pt x="163777" y="78109"/>
                  </a:lnTo>
                  <a:cubicBezTo>
                    <a:pt x="158738" y="76849"/>
                    <a:pt x="153699" y="74330"/>
                    <a:pt x="148659" y="73070"/>
                  </a:cubicBezTo>
                  <a:cubicBezTo>
                    <a:pt x="148659" y="73070"/>
                    <a:pt x="148659" y="73070"/>
                    <a:pt x="149919" y="73070"/>
                  </a:cubicBezTo>
                  <a:cubicBezTo>
                    <a:pt x="144880" y="71810"/>
                    <a:pt x="141100" y="70550"/>
                    <a:pt x="136061" y="68030"/>
                  </a:cubicBezTo>
                  <a:cubicBezTo>
                    <a:pt x="132281" y="66771"/>
                    <a:pt x="128502" y="65511"/>
                    <a:pt x="124722" y="64251"/>
                  </a:cubicBezTo>
                  <a:cubicBezTo>
                    <a:pt x="122203" y="62991"/>
                    <a:pt x="118423" y="61731"/>
                    <a:pt x="115904" y="60472"/>
                  </a:cubicBezTo>
                  <a:cubicBezTo>
                    <a:pt x="109605" y="57952"/>
                    <a:pt x="103306" y="55432"/>
                    <a:pt x="95747" y="52913"/>
                  </a:cubicBezTo>
                  <a:cubicBezTo>
                    <a:pt x="93227" y="51653"/>
                    <a:pt x="89448" y="50393"/>
                    <a:pt x="86928" y="49133"/>
                  </a:cubicBezTo>
                  <a:cubicBezTo>
                    <a:pt x="83148" y="47873"/>
                    <a:pt x="80629" y="46613"/>
                    <a:pt x="78109" y="45354"/>
                  </a:cubicBezTo>
                  <a:cubicBezTo>
                    <a:pt x="71810" y="42834"/>
                    <a:pt x="66771" y="39054"/>
                    <a:pt x="60472" y="36535"/>
                  </a:cubicBezTo>
                  <a:cubicBezTo>
                    <a:pt x="55432" y="34015"/>
                    <a:pt x="51653" y="31496"/>
                    <a:pt x="46614" y="28976"/>
                  </a:cubicBezTo>
                  <a:cubicBezTo>
                    <a:pt x="44094" y="27716"/>
                    <a:pt x="41574" y="26456"/>
                    <a:pt x="39055" y="25196"/>
                  </a:cubicBezTo>
                  <a:cubicBezTo>
                    <a:pt x="36535" y="23937"/>
                    <a:pt x="32755" y="21417"/>
                    <a:pt x="30236" y="20157"/>
                  </a:cubicBezTo>
                  <a:lnTo>
                    <a:pt x="30236" y="20157"/>
                  </a:lnTo>
                  <a:cubicBezTo>
                    <a:pt x="28976" y="18897"/>
                    <a:pt x="27716" y="18897"/>
                    <a:pt x="26456" y="17637"/>
                  </a:cubicBezTo>
                  <a:cubicBezTo>
                    <a:pt x="23937" y="16378"/>
                    <a:pt x="20157" y="13858"/>
                    <a:pt x="17637" y="12598"/>
                  </a:cubicBezTo>
                  <a:cubicBezTo>
                    <a:pt x="13858" y="10079"/>
                    <a:pt x="11338" y="7559"/>
                    <a:pt x="8819" y="5039"/>
                  </a:cubicBezTo>
                  <a:cubicBezTo>
                    <a:pt x="10079" y="5039"/>
                    <a:pt x="8819" y="5039"/>
                    <a:pt x="8819" y="5039"/>
                  </a:cubicBezTo>
                  <a:moveTo>
                    <a:pt x="214170" y="104565"/>
                  </a:moveTo>
                  <a:cubicBezTo>
                    <a:pt x="214170" y="104565"/>
                    <a:pt x="214170" y="104565"/>
                    <a:pt x="214170" y="104565"/>
                  </a:cubicBezTo>
                  <a:cubicBezTo>
                    <a:pt x="214170" y="104565"/>
                    <a:pt x="214170" y="104565"/>
                    <a:pt x="214170" y="104565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2" name="任意多边形: 形状 10251"/>
            <p:cNvSpPr/>
            <p:nvPr/>
          </p:nvSpPr>
          <p:spPr>
            <a:xfrm>
              <a:off x="4999134" y="2775151"/>
              <a:ext cx="25196" cy="125982"/>
            </a:xfrm>
            <a:custGeom>
              <a:avLst/>
              <a:gdLst>
                <a:gd name="connsiteX0" fmla="*/ 20717 w 25196"/>
                <a:gd name="connsiteY0" fmla="*/ 0 h 125982"/>
                <a:gd name="connsiteX1" fmla="*/ 20717 w 25196"/>
                <a:gd name="connsiteY1" fmla="*/ 0 h 125982"/>
                <a:gd name="connsiteX2" fmla="*/ 15678 w 25196"/>
                <a:gd name="connsiteY2" fmla="*/ 2520 h 125982"/>
                <a:gd name="connsiteX3" fmla="*/ 14418 w 25196"/>
                <a:gd name="connsiteY3" fmla="*/ 5039 h 125982"/>
                <a:gd name="connsiteX4" fmla="*/ 14418 w 25196"/>
                <a:gd name="connsiteY4" fmla="*/ 7559 h 125982"/>
                <a:gd name="connsiteX5" fmla="*/ 13158 w 25196"/>
                <a:gd name="connsiteY5" fmla="*/ 12598 h 125982"/>
                <a:gd name="connsiteX6" fmla="*/ 10638 w 25196"/>
                <a:gd name="connsiteY6" fmla="*/ 22677 h 125982"/>
                <a:gd name="connsiteX7" fmla="*/ 6859 w 25196"/>
                <a:gd name="connsiteY7" fmla="*/ 44094 h 125982"/>
                <a:gd name="connsiteX8" fmla="*/ 3079 w 25196"/>
                <a:gd name="connsiteY8" fmla="*/ 61731 h 125982"/>
                <a:gd name="connsiteX9" fmla="*/ 1819 w 25196"/>
                <a:gd name="connsiteY9" fmla="*/ 70550 h 125982"/>
                <a:gd name="connsiteX10" fmla="*/ 560 w 25196"/>
                <a:gd name="connsiteY10" fmla="*/ 79369 h 125982"/>
                <a:gd name="connsiteX11" fmla="*/ 560 w 25196"/>
                <a:gd name="connsiteY11" fmla="*/ 99526 h 125982"/>
                <a:gd name="connsiteX12" fmla="*/ 1819 w 25196"/>
                <a:gd name="connsiteY12" fmla="*/ 105825 h 125982"/>
                <a:gd name="connsiteX13" fmla="*/ 3079 w 25196"/>
                <a:gd name="connsiteY13" fmla="*/ 109605 h 125982"/>
                <a:gd name="connsiteX14" fmla="*/ 5599 w 25196"/>
                <a:gd name="connsiteY14" fmla="*/ 113384 h 125982"/>
                <a:gd name="connsiteX15" fmla="*/ 6859 w 25196"/>
                <a:gd name="connsiteY15" fmla="*/ 114644 h 125982"/>
                <a:gd name="connsiteX16" fmla="*/ 9378 w 25196"/>
                <a:gd name="connsiteY16" fmla="*/ 117163 h 125982"/>
                <a:gd name="connsiteX17" fmla="*/ 11898 w 25196"/>
                <a:gd name="connsiteY17" fmla="*/ 119683 h 125982"/>
                <a:gd name="connsiteX18" fmla="*/ 14418 w 25196"/>
                <a:gd name="connsiteY18" fmla="*/ 122203 h 125982"/>
                <a:gd name="connsiteX19" fmla="*/ 16938 w 25196"/>
                <a:gd name="connsiteY19" fmla="*/ 123463 h 125982"/>
                <a:gd name="connsiteX20" fmla="*/ 23237 w 25196"/>
                <a:gd name="connsiteY20" fmla="*/ 127242 h 125982"/>
                <a:gd name="connsiteX21" fmla="*/ 28276 w 25196"/>
                <a:gd name="connsiteY21" fmla="*/ 129762 h 125982"/>
                <a:gd name="connsiteX22" fmla="*/ 34575 w 25196"/>
                <a:gd name="connsiteY22" fmla="*/ 127242 h 125982"/>
                <a:gd name="connsiteX23" fmla="*/ 32056 w 25196"/>
                <a:gd name="connsiteY23" fmla="*/ 120943 h 125982"/>
                <a:gd name="connsiteX24" fmla="*/ 25756 w 25196"/>
                <a:gd name="connsiteY24" fmla="*/ 118423 h 125982"/>
                <a:gd name="connsiteX25" fmla="*/ 20717 w 25196"/>
                <a:gd name="connsiteY25" fmla="*/ 114644 h 125982"/>
                <a:gd name="connsiteX26" fmla="*/ 16938 w 25196"/>
                <a:gd name="connsiteY26" fmla="*/ 109605 h 125982"/>
                <a:gd name="connsiteX27" fmla="*/ 13158 w 25196"/>
                <a:gd name="connsiteY27" fmla="*/ 105825 h 125982"/>
                <a:gd name="connsiteX28" fmla="*/ 11898 w 25196"/>
                <a:gd name="connsiteY28" fmla="*/ 103305 h 125982"/>
                <a:gd name="connsiteX29" fmla="*/ 10638 w 25196"/>
                <a:gd name="connsiteY29" fmla="*/ 98266 h 125982"/>
                <a:gd name="connsiteX30" fmla="*/ 10638 w 25196"/>
                <a:gd name="connsiteY30" fmla="*/ 93227 h 125982"/>
                <a:gd name="connsiteX31" fmla="*/ 14418 w 25196"/>
                <a:gd name="connsiteY31" fmla="*/ 69290 h 125982"/>
                <a:gd name="connsiteX32" fmla="*/ 14418 w 25196"/>
                <a:gd name="connsiteY32" fmla="*/ 68030 h 125982"/>
                <a:gd name="connsiteX33" fmla="*/ 15678 w 25196"/>
                <a:gd name="connsiteY33" fmla="*/ 62991 h 125982"/>
                <a:gd name="connsiteX34" fmla="*/ 15678 w 25196"/>
                <a:gd name="connsiteY34" fmla="*/ 64251 h 125982"/>
                <a:gd name="connsiteX35" fmla="*/ 16938 w 25196"/>
                <a:gd name="connsiteY35" fmla="*/ 60471 h 125982"/>
                <a:gd name="connsiteX36" fmla="*/ 20717 w 25196"/>
                <a:gd name="connsiteY36" fmla="*/ 45354 h 125982"/>
                <a:gd name="connsiteX37" fmla="*/ 23237 w 25196"/>
                <a:gd name="connsiteY37" fmla="*/ 31496 h 125982"/>
                <a:gd name="connsiteX38" fmla="*/ 25756 w 25196"/>
                <a:gd name="connsiteY38" fmla="*/ 18897 h 125982"/>
                <a:gd name="connsiteX39" fmla="*/ 27016 w 25196"/>
                <a:gd name="connsiteY39" fmla="*/ 12598 h 125982"/>
                <a:gd name="connsiteX40" fmla="*/ 27016 w 25196"/>
                <a:gd name="connsiteY40" fmla="*/ 6299 h 125982"/>
                <a:gd name="connsiteX41" fmla="*/ 25756 w 25196"/>
                <a:gd name="connsiteY41" fmla="*/ 3779 h 125982"/>
                <a:gd name="connsiteX42" fmla="*/ 24497 w 25196"/>
                <a:gd name="connsiteY42" fmla="*/ 2520 h 125982"/>
                <a:gd name="connsiteX43" fmla="*/ 20717 w 25196"/>
                <a:gd name="connsiteY43" fmla="*/ 0 h 125982"/>
                <a:gd name="connsiteX44" fmla="*/ 14418 w 25196"/>
                <a:gd name="connsiteY44" fmla="*/ 66770 h 125982"/>
                <a:gd name="connsiteX45" fmla="*/ 14418 w 25196"/>
                <a:gd name="connsiteY45" fmla="*/ 68030 h 125982"/>
                <a:gd name="connsiteX46" fmla="*/ 14418 w 25196"/>
                <a:gd name="connsiteY46" fmla="*/ 6677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5196" h="125982">
                  <a:moveTo>
                    <a:pt x="20717" y="0"/>
                  </a:moveTo>
                  <a:cubicBezTo>
                    <a:pt x="20717" y="0"/>
                    <a:pt x="20717" y="0"/>
                    <a:pt x="20717" y="0"/>
                  </a:cubicBezTo>
                  <a:cubicBezTo>
                    <a:pt x="18197" y="0"/>
                    <a:pt x="16938" y="1260"/>
                    <a:pt x="15678" y="2520"/>
                  </a:cubicBezTo>
                  <a:cubicBezTo>
                    <a:pt x="14418" y="3779"/>
                    <a:pt x="14418" y="5039"/>
                    <a:pt x="14418" y="5039"/>
                  </a:cubicBezTo>
                  <a:lnTo>
                    <a:pt x="14418" y="7559"/>
                  </a:lnTo>
                  <a:cubicBezTo>
                    <a:pt x="14418" y="8819"/>
                    <a:pt x="13158" y="11338"/>
                    <a:pt x="13158" y="12598"/>
                  </a:cubicBezTo>
                  <a:cubicBezTo>
                    <a:pt x="11898" y="16378"/>
                    <a:pt x="11898" y="18897"/>
                    <a:pt x="10638" y="22677"/>
                  </a:cubicBezTo>
                  <a:cubicBezTo>
                    <a:pt x="9378" y="28976"/>
                    <a:pt x="8119" y="36535"/>
                    <a:pt x="6859" y="44094"/>
                  </a:cubicBezTo>
                  <a:cubicBezTo>
                    <a:pt x="5599" y="50393"/>
                    <a:pt x="4339" y="56692"/>
                    <a:pt x="3079" y="61731"/>
                  </a:cubicBezTo>
                  <a:cubicBezTo>
                    <a:pt x="3079" y="64251"/>
                    <a:pt x="1819" y="66770"/>
                    <a:pt x="1819" y="70550"/>
                  </a:cubicBezTo>
                  <a:cubicBezTo>
                    <a:pt x="1819" y="73070"/>
                    <a:pt x="560" y="76849"/>
                    <a:pt x="560" y="79369"/>
                  </a:cubicBezTo>
                  <a:cubicBezTo>
                    <a:pt x="560" y="85668"/>
                    <a:pt x="-700" y="91967"/>
                    <a:pt x="560" y="99526"/>
                  </a:cubicBezTo>
                  <a:cubicBezTo>
                    <a:pt x="560" y="102046"/>
                    <a:pt x="1819" y="103305"/>
                    <a:pt x="1819" y="105825"/>
                  </a:cubicBezTo>
                  <a:cubicBezTo>
                    <a:pt x="1819" y="107085"/>
                    <a:pt x="3079" y="108345"/>
                    <a:pt x="3079" y="109605"/>
                  </a:cubicBezTo>
                  <a:cubicBezTo>
                    <a:pt x="3079" y="110864"/>
                    <a:pt x="4339" y="112124"/>
                    <a:pt x="5599" y="113384"/>
                  </a:cubicBezTo>
                  <a:cubicBezTo>
                    <a:pt x="5599" y="113384"/>
                    <a:pt x="6859" y="114644"/>
                    <a:pt x="6859" y="114644"/>
                  </a:cubicBezTo>
                  <a:cubicBezTo>
                    <a:pt x="8119" y="115904"/>
                    <a:pt x="8119" y="115904"/>
                    <a:pt x="9378" y="117163"/>
                  </a:cubicBezTo>
                  <a:cubicBezTo>
                    <a:pt x="10638" y="118423"/>
                    <a:pt x="10638" y="118423"/>
                    <a:pt x="11898" y="119683"/>
                  </a:cubicBezTo>
                  <a:cubicBezTo>
                    <a:pt x="13158" y="120943"/>
                    <a:pt x="14418" y="122203"/>
                    <a:pt x="14418" y="122203"/>
                  </a:cubicBezTo>
                  <a:cubicBezTo>
                    <a:pt x="15678" y="122203"/>
                    <a:pt x="15678" y="123463"/>
                    <a:pt x="16938" y="123463"/>
                  </a:cubicBezTo>
                  <a:cubicBezTo>
                    <a:pt x="19457" y="124722"/>
                    <a:pt x="20717" y="125982"/>
                    <a:pt x="23237" y="127242"/>
                  </a:cubicBezTo>
                  <a:cubicBezTo>
                    <a:pt x="24497" y="128502"/>
                    <a:pt x="27016" y="128502"/>
                    <a:pt x="28276" y="129762"/>
                  </a:cubicBezTo>
                  <a:cubicBezTo>
                    <a:pt x="30796" y="131022"/>
                    <a:pt x="34575" y="129762"/>
                    <a:pt x="34575" y="127242"/>
                  </a:cubicBezTo>
                  <a:cubicBezTo>
                    <a:pt x="35835" y="124722"/>
                    <a:pt x="34575" y="122203"/>
                    <a:pt x="32056" y="120943"/>
                  </a:cubicBezTo>
                  <a:cubicBezTo>
                    <a:pt x="29536" y="119683"/>
                    <a:pt x="28276" y="119683"/>
                    <a:pt x="25756" y="118423"/>
                  </a:cubicBezTo>
                  <a:cubicBezTo>
                    <a:pt x="24497" y="117163"/>
                    <a:pt x="21977" y="115904"/>
                    <a:pt x="20717" y="114644"/>
                  </a:cubicBezTo>
                  <a:cubicBezTo>
                    <a:pt x="19457" y="113384"/>
                    <a:pt x="18197" y="112124"/>
                    <a:pt x="16938" y="109605"/>
                  </a:cubicBezTo>
                  <a:cubicBezTo>
                    <a:pt x="15678" y="108345"/>
                    <a:pt x="14418" y="107085"/>
                    <a:pt x="13158" y="105825"/>
                  </a:cubicBezTo>
                  <a:cubicBezTo>
                    <a:pt x="13158" y="104565"/>
                    <a:pt x="11898" y="104565"/>
                    <a:pt x="11898" y="103305"/>
                  </a:cubicBezTo>
                  <a:cubicBezTo>
                    <a:pt x="11898" y="102046"/>
                    <a:pt x="10638" y="99526"/>
                    <a:pt x="10638" y="98266"/>
                  </a:cubicBezTo>
                  <a:cubicBezTo>
                    <a:pt x="10638" y="97006"/>
                    <a:pt x="10638" y="95746"/>
                    <a:pt x="10638" y="93227"/>
                  </a:cubicBezTo>
                  <a:cubicBezTo>
                    <a:pt x="10638" y="84408"/>
                    <a:pt x="11898" y="76849"/>
                    <a:pt x="14418" y="69290"/>
                  </a:cubicBezTo>
                  <a:cubicBezTo>
                    <a:pt x="14418" y="69290"/>
                    <a:pt x="14418" y="68030"/>
                    <a:pt x="14418" y="68030"/>
                  </a:cubicBezTo>
                  <a:cubicBezTo>
                    <a:pt x="14418" y="66770"/>
                    <a:pt x="15678" y="65511"/>
                    <a:pt x="15678" y="62991"/>
                  </a:cubicBezTo>
                  <a:cubicBezTo>
                    <a:pt x="15678" y="62991"/>
                    <a:pt x="15678" y="64251"/>
                    <a:pt x="15678" y="64251"/>
                  </a:cubicBezTo>
                  <a:cubicBezTo>
                    <a:pt x="15678" y="62991"/>
                    <a:pt x="15678" y="61731"/>
                    <a:pt x="16938" y="60471"/>
                  </a:cubicBezTo>
                  <a:cubicBezTo>
                    <a:pt x="18197" y="55432"/>
                    <a:pt x="19457" y="50393"/>
                    <a:pt x="20717" y="45354"/>
                  </a:cubicBezTo>
                  <a:cubicBezTo>
                    <a:pt x="21977" y="40314"/>
                    <a:pt x="21977" y="36535"/>
                    <a:pt x="23237" y="31496"/>
                  </a:cubicBezTo>
                  <a:cubicBezTo>
                    <a:pt x="24497" y="27716"/>
                    <a:pt x="24497" y="22677"/>
                    <a:pt x="25756" y="18897"/>
                  </a:cubicBezTo>
                  <a:cubicBezTo>
                    <a:pt x="25756" y="16378"/>
                    <a:pt x="27016" y="13858"/>
                    <a:pt x="27016" y="12598"/>
                  </a:cubicBezTo>
                  <a:cubicBezTo>
                    <a:pt x="27016" y="10078"/>
                    <a:pt x="28276" y="7559"/>
                    <a:pt x="27016" y="6299"/>
                  </a:cubicBezTo>
                  <a:cubicBezTo>
                    <a:pt x="27016" y="5039"/>
                    <a:pt x="27016" y="3779"/>
                    <a:pt x="25756" y="3779"/>
                  </a:cubicBezTo>
                  <a:cubicBezTo>
                    <a:pt x="25756" y="3779"/>
                    <a:pt x="24497" y="2520"/>
                    <a:pt x="24497" y="2520"/>
                  </a:cubicBezTo>
                  <a:cubicBezTo>
                    <a:pt x="21977" y="1260"/>
                    <a:pt x="21977" y="0"/>
                    <a:pt x="20717" y="0"/>
                  </a:cubicBezTo>
                  <a:moveTo>
                    <a:pt x="14418" y="66770"/>
                  </a:moveTo>
                  <a:cubicBezTo>
                    <a:pt x="14418" y="66770"/>
                    <a:pt x="14418" y="68030"/>
                    <a:pt x="14418" y="68030"/>
                  </a:cubicBezTo>
                  <a:cubicBezTo>
                    <a:pt x="14418" y="68030"/>
                    <a:pt x="14418" y="66770"/>
                    <a:pt x="14418" y="6677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3" name="任意多边形: 形状 10252"/>
            <p:cNvSpPr/>
            <p:nvPr/>
          </p:nvSpPr>
          <p:spPr>
            <a:xfrm>
              <a:off x="4709935" y="2993101"/>
              <a:ext cx="138581" cy="75589"/>
            </a:xfrm>
            <a:custGeom>
              <a:avLst/>
              <a:gdLst>
                <a:gd name="connsiteX0" fmla="*/ 139840 w 138580"/>
                <a:gd name="connsiteY0" fmla="*/ 1260 h 75589"/>
                <a:gd name="connsiteX1" fmla="*/ 139840 w 138580"/>
                <a:gd name="connsiteY1" fmla="*/ 3780 h 75589"/>
                <a:gd name="connsiteX2" fmla="*/ 139840 w 138580"/>
                <a:gd name="connsiteY2" fmla="*/ 5039 h 75589"/>
                <a:gd name="connsiteX3" fmla="*/ 139840 w 138580"/>
                <a:gd name="connsiteY3" fmla="*/ 6299 h 75589"/>
                <a:gd name="connsiteX4" fmla="*/ 139840 w 138580"/>
                <a:gd name="connsiteY4" fmla="*/ 10079 h 75589"/>
                <a:gd name="connsiteX5" fmla="*/ 139840 w 138580"/>
                <a:gd name="connsiteY5" fmla="*/ 12598 h 75589"/>
                <a:gd name="connsiteX6" fmla="*/ 139840 w 138580"/>
                <a:gd name="connsiteY6" fmla="*/ 16378 h 75589"/>
                <a:gd name="connsiteX7" fmla="*/ 139840 w 138580"/>
                <a:gd name="connsiteY7" fmla="*/ 18897 h 75589"/>
                <a:gd name="connsiteX8" fmla="*/ 139840 w 138580"/>
                <a:gd name="connsiteY8" fmla="*/ 22677 h 75589"/>
                <a:gd name="connsiteX9" fmla="*/ 139840 w 138580"/>
                <a:gd name="connsiteY9" fmla="*/ 25196 h 75589"/>
                <a:gd name="connsiteX10" fmla="*/ 139840 w 138580"/>
                <a:gd name="connsiteY10" fmla="*/ 31496 h 75589"/>
                <a:gd name="connsiteX11" fmla="*/ 139840 w 138580"/>
                <a:gd name="connsiteY11" fmla="*/ 35275 h 75589"/>
                <a:gd name="connsiteX12" fmla="*/ 139840 w 138580"/>
                <a:gd name="connsiteY12" fmla="*/ 37795 h 75589"/>
                <a:gd name="connsiteX13" fmla="*/ 139840 w 138580"/>
                <a:gd name="connsiteY13" fmla="*/ 40315 h 75589"/>
                <a:gd name="connsiteX14" fmla="*/ 139840 w 138580"/>
                <a:gd name="connsiteY14" fmla="*/ 44094 h 75589"/>
                <a:gd name="connsiteX15" fmla="*/ 138581 w 138580"/>
                <a:gd name="connsiteY15" fmla="*/ 57952 h 75589"/>
                <a:gd name="connsiteX16" fmla="*/ 137321 w 138580"/>
                <a:gd name="connsiteY16" fmla="*/ 70550 h 75589"/>
                <a:gd name="connsiteX17" fmla="*/ 137321 w 138580"/>
                <a:gd name="connsiteY17" fmla="*/ 79369 h 75589"/>
                <a:gd name="connsiteX18" fmla="*/ 137321 w 138580"/>
                <a:gd name="connsiteY18" fmla="*/ 79369 h 75589"/>
                <a:gd name="connsiteX19" fmla="*/ 137321 w 138580"/>
                <a:gd name="connsiteY19" fmla="*/ 79369 h 75589"/>
                <a:gd name="connsiteX20" fmla="*/ 137321 w 138580"/>
                <a:gd name="connsiteY20" fmla="*/ 79369 h 75589"/>
                <a:gd name="connsiteX21" fmla="*/ 138581 w 138580"/>
                <a:gd name="connsiteY21" fmla="*/ 81889 h 75589"/>
                <a:gd name="connsiteX22" fmla="*/ 137321 w 138580"/>
                <a:gd name="connsiteY22" fmla="*/ 84408 h 75589"/>
                <a:gd name="connsiteX23" fmla="*/ 136061 w 138580"/>
                <a:gd name="connsiteY23" fmla="*/ 85668 h 75589"/>
                <a:gd name="connsiteX24" fmla="*/ 134801 w 138580"/>
                <a:gd name="connsiteY24" fmla="*/ 85668 h 75589"/>
                <a:gd name="connsiteX25" fmla="*/ 134801 w 138580"/>
                <a:gd name="connsiteY25" fmla="*/ 85668 h 75589"/>
                <a:gd name="connsiteX26" fmla="*/ 134801 w 138580"/>
                <a:gd name="connsiteY26" fmla="*/ 85668 h 75589"/>
                <a:gd name="connsiteX27" fmla="*/ 133541 w 138580"/>
                <a:gd name="connsiteY27" fmla="*/ 84408 h 75589"/>
                <a:gd name="connsiteX28" fmla="*/ 132281 w 138580"/>
                <a:gd name="connsiteY28" fmla="*/ 84408 h 75589"/>
                <a:gd name="connsiteX29" fmla="*/ 131022 w 138580"/>
                <a:gd name="connsiteY29" fmla="*/ 84408 h 75589"/>
                <a:gd name="connsiteX30" fmla="*/ 131022 w 138580"/>
                <a:gd name="connsiteY30" fmla="*/ 84408 h 75589"/>
                <a:gd name="connsiteX31" fmla="*/ 131022 w 138580"/>
                <a:gd name="connsiteY31" fmla="*/ 84408 h 75589"/>
                <a:gd name="connsiteX32" fmla="*/ 131022 w 138580"/>
                <a:gd name="connsiteY32" fmla="*/ 84408 h 75589"/>
                <a:gd name="connsiteX33" fmla="*/ 131022 w 138580"/>
                <a:gd name="connsiteY33" fmla="*/ 84408 h 75589"/>
                <a:gd name="connsiteX34" fmla="*/ 131022 w 138580"/>
                <a:gd name="connsiteY34" fmla="*/ 84408 h 75589"/>
                <a:gd name="connsiteX35" fmla="*/ 131022 w 138580"/>
                <a:gd name="connsiteY35" fmla="*/ 84408 h 75589"/>
                <a:gd name="connsiteX36" fmla="*/ 131022 w 138580"/>
                <a:gd name="connsiteY36" fmla="*/ 84408 h 75589"/>
                <a:gd name="connsiteX37" fmla="*/ 123463 w 138580"/>
                <a:gd name="connsiteY37" fmla="*/ 79369 h 75589"/>
                <a:gd name="connsiteX38" fmla="*/ 120943 w 138580"/>
                <a:gd name="connsiteY38" fmla="*/ 78109 h 75589"/>
                <a:gd name="connsiteX39" fmla="*/ 119683 w 138580"/>
                <a:gd name="connsiteY39" fmla="*/ 78109 h 75589"/>
                <a:gd name="connsiteX40" fmla="*/ 118423 w 138580"/>
                <a:gd name="connsiteY40" fmla="*/ 78109 h 75589"/>
                <a:gd name="connsiteX41" fmla="*/ 117163 w 138580"/>
                <a:gd name="connsiteY41" fmla="*/ 78109 h 75589"/>
                <a:gd name="connsiteX42" fmla="*/ 115904 w 138580"/>
                <a:gd name="connsiteY42" fmla="*/ 76849 h 75589"/>
                <a:gd name="connsiteX43" fmla="*/ 114644 w 138580"/>
                <a:gd name="connsiteY43" fmla="*/ 75589 h 75589"/>
                <a:gd name="connsiteX44" fmla="*/ 105825 w 138580"/>
                <a:gd name="connsiteY44" fmla="*/ 71810 h 75589"/>
                <a:gd name="connsiteX45" fmla="*/ 100786 w 138580"/>
                <a:gd name="connsiteY45" fmla="*/ 70550 h 75589"/>
                <a:gd name="connsiteX46" fmla="*/ 94487 w 138580"/>
                <a:gd name="connsiteY46" fmla="*/ 68031 h 75589"/>
                <a:gd name="connsiteX47" fmla="*/ 93227 w 138580"/>
                <a:gd name="connsiteY47" fmla="*/ 66771 h 75589"/>
                <a:gd name="connsiteX48" fmla="*/ 90707 w 138580"/>
                <a:gd name="connsiteY48" fmla="*/ 65511 h 75589"/>
                <a:gd name="connsiteX49" fmla="*/ 78109 w 138580"/>
                <a:gd name="connsiteY49" fmla="*/ 60472 h 75589"/>
                <a:gd name="connsiteX50" fmla="*/ 64251 w 138580"/>
                <a:gd name="connsiteY50" fmla="*/ 54172 h 75589"/>
                <a:gd name="connsiteX51" fmla="*/ 56692 w 138580"/>
                <a:gd name="connsiteY51" fmla="*/ 50393 h 75589"/>
                <a:gd name="connsiteX52" fmla="*/ 47873 w 138580"/>
                <a:gd name="connsiteY52" fmla="*/ 46614 h 75589"/>
                <a:gd name="connsiteX53" fmla="*/ 31496 w 138580"/>
                <a:gd name="connsiteY53" fmla="*/ 39055 h 75589"/>
                <a:gd name="connsiteX54" fmla="*/ 22677 w 138580"/>
                <a:gd name="connsiteY54" fmla="*/ 35275 h 75589"/>
                <a:gd name="connsiteX55" fmla="*/ 22677 w 138580"/>
                <a:gd name="connsiteY55" fmla="*/ 35275 h 75589"/>
                <a:gd name="connsiteX56" fmla="*/ 7559 w 138580"/>
                <a:gd name="connsiteY56" fmla="*/ 26456 h 75589"/>
                <a:gd name="connsiteX57" fmla="*/ 0 w 138580"/>
                <a:gd name="connsiteY57" fmla="*/ 21417 h 75589"/>
                <a:gd name="connsiteX58" fmla="*/ 0 w 138580"/>
                <a:gd name="connsiteY58" fmla="*/ 21417 h 75589"/>
                <a:gd name="connsiteX59" fmla="*/ 2519 w 138580"/>
                <a:gd name="connsiteY59" fmla="*/ 20157 h 75589"/>
                <a:gd name="connsiteX60" fmla="*/ 2519 w 138580"/>
                <a:gd name="connsiteY60" fmla="*/ 20157 h 75589"/>
                <a:gd name="connsiteX61" fmla="*/ 6299 w 138580"/>
                <a:gd name="connsiteY61" fmla="*/ 20157 h 75589"/>
                <a:gd name="connsiteX62" fmla="*/ 8819 w 138580"/>
                <a:gd name="connsiteY62" fmla="*/ 20157 h 75589"/>
                <a:gd name="connsiteX63" fmla="*/ 8819 w 138580"/>
                <a:gd name="connsiteY63" fmla="*/ 20157 h 75589"/>
                <a:gd name="connsiteX64" fmla="*/ 15118 w 138580"/>
                <a:gd name="connsiteY64" fmla="*/ 22677 h 75589"/>
                <a:gd name="connsiteX65" fmla="*/ 16378 w 138580"/>
                <a:gd name="connsiteY65" fmla="*/ 22677 h 75589"/>
                <a:gd name="connsiteX66" fmla="*/ 17637 w 138580"/>
                <a:gd name="connsiteY66" fmla="*/ 22677 h 75589"/>
                <a:gd name="connsiteX67" fmla="*/ 18897 w 138580"/>
                <a:gd name="connsiteY67" fmla="*/ 22677 h 75589"/>
                <a:gd name="connsiteX68" fmla="*/ 25196 w 138580"/>
                <a:gd name="connsiteY68" fmla="*/ 21417 h 75589"/>
                <a:gd name="connsiteX69" fmla="*/ 32755 w 138580"/>
                <a:gd name="connsiteY69" fmla="*/ 20157 h 75589"/>
                <a:gd name="connsiteX70" fmla="*/ 46613 w 138580"/>
                <a:gd name="connsiteY70" fmla="*/ 18897 h 75589"/>
                <a:gd name="connsiteX71" fmla="*/ 54172 w 138580"/>
                <a:gd name="connsiteY71" fmla="*/ 18897 h 75589"/>
                <a:gd name="connsiteX72" fmla="*/ 54172 w 138580"/>
                <a:gd name="connsiteY72" fmla="*/ 18897 h 75589"/>
                <a:gd name="connsiteX73" fmla="*/ 56692 w 138580"/>
                <a:gd name="connsiteY73" fmla="*/ 18897 h 75589"/>
                <a:gd name="connsiteX74" fmla="*/ 60471 w 138580"/>
                <a:gd name="connsiteY74" fmla="*/ 18897 h 75589"/>
                <a:gd name="connsiteX75" fmla="*/ 64251 w 138580"/>
                <a:gd name="connsiteY75" fmla="*/ 18897 h 75589"/>
                <a:gd name="connsiteX76" fmla="*/ 68030 w 138580"/>
                <a:gd name="connsiteY76" fmla="*/ 18897 h 75589"/>
                <a:gd name="connsiteX77" fmla="*/ 73070 w 138580"/>
                <a:gd name="connsiteY77" fmla="*/ 17638 h 75589"/>
                <a:gd name="connsiteX78" fmla="*/ 74329 w 138580"/>
                <a:gd name="connsiteY78" fmla="*/ 17638 h 75589"/>
                <a:gd name="connsiteX79" fmla="*/ 89447 w 138580"/>
                <a:gd name="connsiteY79" fmla="*/ 15118 h 75589"/>
                <a:gd name="connsiteX80" fmla="*/ 95746 w 138580"/>
                <a:gd name="connsiteY80" fmla="*/ 13858 h 75589"/>
                <a:gd name="connsiteX81" fmla="*/ 98266 w 138580"/>
                <a:gd name="connsiteY81" fmla="*/ 13858 h 75589"/>
                <a:gd name="connsiteX82" fmla="*/ 102045 w 138580"/>
                <a:gd name="connsiteY82" fmla="*/ 12598 h 75589"/>
                <a:gd name="connsiteX83" fmla="*/ 108344 w 138580"/>
                <a:gd name="connsiteY83" fmla="*/ 11339 h 75589"/>
                <a:gd name="connsiteX84" fmla="*/ 108344 w 138580"/>
                <a:gd name="connsiteY84" fmla="*/ 11339 h 75589"/>
                <a:gd name="connsiteX85" fmla="*/ 110864 w 138580"/>
                <a:gd name="connsiteY85" fmla="*/ 10079 h 75589"/>
                <a:gd name="connsiteX86" fmla="*/ 114644 w 138580"/>
                <a:gd name="connsiteY86" fmla="*/ 8819 h 75589"/>
                <a:gd name="connsiteX87" fmla="*/ 120943 w 138580"/>
                <a:gd name="connsiteY87" fmla="*/ 6299 h 75589"/>
                <a:gd name="connsiteX88" fmla="*/ 120943 w 138580"/>
                <a:gd name="connsiteY88" fmla="*/ 6299 h 75589"/>
                <a:gd name="connsiteX89" fmla="*/ 127242 w 138580"/>
                <a:gd name="connsiteY89" fmla="*/ 3780 h 75589"/>
                <a:gd name="connsiteX90" fmla="*/ 131022 w 138580"/>
                <a:gd name="connsiteY90" fmla="*/ 2520 h 75589"/>
                <a:gd name="connsiteX91" fmla="*/ 133541 w 138580"/>
                <a:gd name="connsiteY91" fmla="*/ 1260 h 75589"/>
                <a:gd name="connsiteX92" fmla="*/ 136061 w 138580"/>
                <a:gd name="connsiteY92" fmla="*/ 0 h 75589"/>
                <a:gd name="connsiteX93" fmla="*/ 137321 w 138580"/>
                <a:gd name="connsiteY93" fmla="*/ 0 h 75589"/>
                <a:gd name="connsiteX94" fmla="*/ 137321 w 138580"/>
                <a:gd name="connsiteY94" fmla="*/ 0 h 75589"/>
                <a:gd name="connsiteX95" fmla="*/ 137321 w 138580"/>
                <a:gd name="connsiteY95" fmla="*/ 0 h 75589"/>
                <a:gd name="connsiteX96" fmla="*/ 138581 w 138580"/>
                <a:gd name="connsiteY96" fmla="*/ 0 h 75589"/>
                <a:gd name="connsiteX97" fmla="*/ 139840 w 138580"/>
                <a:gd name="connsiteY97" fmla="*/ 1260 h 75589"/>
                <a:gd name="connsiteX98" fmla="*/ 139840 w 138580"/>
                <a:gd name="connsiteY98" fmla="*/ 126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38580" h="75589">
                  <a:moveTo>
                    <a:pt x="139840" y="1260"/>
                  </a:moveTo>
                  <a:cubicBezTo>
                    <a:pt x="139840" y="1260"/>
                    <a:pt x="139840" y="2520"/>
                    <a:pt x="139840" y="3780"/>
                  </a:cubicBezTo>
                  <a:cubicBezTo>
                    <a:pt x="139840" y="5039"/>
                    <a:pt x="139840" y="5039"/>
                    <a:pt x="139840" y="5039"/>
                  </a:cubicBezTo>
                  <a:cubicBezTo>
                    <a:pt x="139840" y="5039"/>
                    <a:pt x="139840" y="6299"/>
                    <a:pt x="139840" y="6299"/>
                  </a:cubicBezTo>
                  <a:cubicBezTo>
                    <a:pt x="139840" y="7559"/>
                    <a:pt x="139840" y="8819"/>
                    <a:pt x="139840" y="10079"/>
                  </a:cubicBezTo>
                  <a:cubicBezTo>
                    <a:pt x="139840" y="11339"/>
                    <a:pt x="139840" y="12598"/>
                    <a:pt x="139840" y="12598"/>
                  </a:cubicBezTo>
                  <a:cubicBezTo>
                    <a:pt x="139840" y="13858"/>
                    <a:pt x="139840" y="15118"/>
                    <a:pt x="139840" y="16378"/>
                  </a:cubicBezTo>
                  <a:cubicBezTo>
                    <a:pt x="139840" y="17638"/>
                    <a:pt x="139840" y="17638"/>
                    <a:pt x="139840" y="18897"/>
                  </a:cubicBezTo>
                  <a:cubicBezTo>
                    <a:pt x="139840" y="20157"/>
                    <a:pt x="139840" y="21417"/>
                    <a:pt x="139840" y="22677"/>
                  </a:cubicBezTo>
                  <a:cubicBezTo>
                    <a:pt x="139840" y="23937"/>
                    <a:pt x="139840" y="23937"/>
                    <a:pt x="139840" y="25196"/>
                  </a:cubicBezTo>
                  <a:cubicBezTo>
                    <a:pt x="139840" y="27716"/>
                    <a:pt x="139840" y="28976"/>
                    <a:pt x="139840" y="31496"/>
                  </a:cubicBezTo>
                  <a:cubicBezTo>
                    <a:pt x="139840" y="32755"/>
                    <a:pt x="139840" y="34015"/>
                    <a:pt x="139840" y="35275"/>
                  </a:cubicBezTo>
                  <a:cubicBezTo>
                    <a:pt x="139840" y="36535"/>
                    <a:pt x="139840" y="36535"/>
                    <a:pt x="139840" y="37795"/>
                  </a:cubicBezTo>
                  <a:cubicBezTo>
                    <a:pt x="139840" y="39055"/>
                    <a:pt x="139840" y="40315"/>
                    <a:pt x="139840" y="40315"/>
                  </a:cubicBezTo>
                  <a:cubicBezTo>
                    <a:pt x="139840" y="41574"/>
                    <a:pt x="139840" y="42834"/>
                    <a:pt x="139840" y="44094"/>
                  </a:cubicBezTo>
                  <a:cubicBezTo>
                    <a:pt x="139840" y="49133"/>
                    <a:pt x="138581" y="52913"/>
                    <a:pt x="138581" y="57952"/>
                  </a:cubicBezTo>
                  <a:cubicBezTo>
                    <a:pt x="138581" y="61731"/>
                    <a:pt x="137321" y="66771"/>
                    <a:pt x="137321" y="70550"/>
                  </a:cubicBezTo>
                  <a:cubicBezTo>
                    <a:pt x="137321" y="73070"/>
                    <a:pt x="137321" y="76849"/>
                    <a:pt x="137321" y="79369"/>
                  </a:cubicBezTo>
                  <a:lnTo>
                    <a:pt x="137321" y="79369"/>
                  </a:lnTo>
                  <a:lnTo>
                    <a:pt x="137321" y="79369"/>
                  </a:lnTo>
                  <a:lnTo>
                    <a:pt x="137321" y="79369"/>
                  </a:lnTo>
                  <a:cubicBezTo>
                    <a:pt x="138581" y="79369"/>
                    <a:pt x="138581" y="80629"/>
                    <a:pt x="138581" y="81889"/>
                  </a:cubicBezTo>
                  <a:cubicBezTo>
                    <a:pt x="138581" y="83148"/>
                    <a:pt x="138581" y="83148"/>
                    <a:pt x="137321" y="84408"/>
                  </a:cubicBezTo>
                  <a:cubicBezTo>
                    <a:pt x="137321" y="84408"/>
                    <a:pt x="136061" y="85668"/>
                    <a:pt x="136061" y="85668"/>
                  </a:cubicBezTo>
                  <a:cubicBezTo>
                    <a:pt x="136061" y="85668"/>
                    <a:pt x="136061" y="85668"/>
                    <a:pt x="134801" y="85668"/>
                  </a:cubicBezTo>
                  <a:lnTo>
                    <a:pt x="134801" y="85668"/>
                  </a:lnTo>
                  <a:lnTo>
                    <a:pt x="134801" y="85668"/>
                  </a:lnTo>
                  <a:cubicBezTo>
                    <a:pt x="134801" y="85668"/>
                    <a:pt x="133541" y="85668"/>
                    <a:pt x="133541" y="84408"/>
                  </a:cubicBezTo>
                  <a:lnTo>
                    <a:pt x="132281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cubicBezTo>
                    <a:pt x="128502" y="83148"/>
                    <a:pt x="125982" y="81889"/>
                    <a:pt x="123463" y="79369"/>
                  </a:cubicBezTo>
                  <a:cubicBezTo>
                    <a:pt x="122203" y="79369"/>
                    <a:pt x="122203" y="78109"/>
                    <a:pt x="120943" y="78109"/>
                  </a:cubicBezTo>
                  <a:lnTo>
                    <a:pt x="119683" y="78109"/>
                  </a:lnTo>
                  <a:lnTo>
                    <a:pt x="118423" y="78109"/>
                  </a:lnTo>
                  <a:lnTo>
                    <a:pt x="117163" y="78109"/>
                  </a:lnTo>
                  <a:cubicBezTo>
                    <a:pt x="117163" y="78109"/>
                    <a:pt x="115904" y="78109"/>
                    <a:pt x="115904" y="76849"/>
                  </a:cubicBezTo>
                  <a:lnTo>
                    <a:pt x="114644" y="75589"/>
                  </a:lnTo>
                  <a:cubicBezTo>
                    <a:pt x="112124" y="74330"/>
                    <a:pt x="108344" y="73070"/>
                    <a:pt x="105825" y="71810"/>
                  </a:cubicBezTo>
                  <a:cubicBezTo>
                    <a:pt x="104565" y="71810"/>
                    <a:pt x="103305" y="70550"/>
                    <a:pt x="100786" y="70550"/>
                  </a:cubicBezTo>
                  <a:cubicBezTo>
                    <a:pt x="98266" y="69290"/>
                    <a:pt x="97006" y="69290"/>
                    <a:pt x="94487" y="68031"/>
                  </a:cubicBezTo>
                  <a:cubicBezTo>
                    <a:pt x="93227" y="68031"/>
                    <a:pt x="93227" y="68031"/>
                    <a:pt x="93227" y="66771"/>
                  </a:cubicBezTo>
                  <a:cubicBezTo>
                    <a:pt x="91967" y="66771"/>
                    <a:pt x="91967" y="65511"/>
                    <a:pt x="90707" y="65511"/>
                  </a:cubicBezTo>
                  <a:cubicBezTo>
                    <a:pt x="86928" y="64251"/>
                    <a:pt x="83148" y="61731"/>
                    <a:pt x="78109" y="60472"/>
                  </a:cubicBezTo>
                  <a:cubicBezTo>
                    <a:pt x="73070" y="57952"/>
                    <a:pt x="69290" y="56692"/>
                    <a:pt x="64251" y="54172"/>
                  </a:cubicBezTo>
                  <a:cubicBezTo>
                    <a:pt x="61731" y="52913"/>
                    <a:pt x="59211" y="51653"/>
                    <a:pt x="56692" y="50393"/>
                  </a:cubicBezTo>
                  <a:cubicBezTo>
                    <a:pt x="54172" y="49133"/>
                    <a:pt x="50393" y="47873"/>
                    <a:pt x="47873" y="46614"/>
                  </a:cubicBezTo>
                  <a:cubicBezTo>
                    <a:pt x="42834" y="44094"/>
                    <a:pt x="37795" y="41574"/>
                    <a:pt x="31496" y="39055"/>
                  </a:cubicBezTo>
                  <a:cubicBezTo>
                    <a:pt x="28976" y="37795"/>
                    <a:pt x="25196" y="36535"/>
                    <a:pt x="22677" y="35275"/>
                  </a:cubicBezTo>
                  <a:cubicBezTo>
                    <a:pt x="22677" y="35275"/>
                    <a:pt x="22677" y="35275"/>
                    <a:pt x="22677" y="35275"/>
                  </a:cubicBezTo>
                  <a:cubicBezTo>
                    <a:pt x="17637" y="32755"/>
                    <a:pt x="12598" y="28976"/>
                    <a:pt x="7559" y="26456"/>
                  </a:cubicBezTo>
                  <a:cubicBezTo>
                    <a:pt x="5039" y="25196"/>
                    <a:pt x="2519" y="22677"/>
                    <a:pt x="0" y="21417"/>
                  </a:cubicBezTo>
                  <a:cubicBezTo>
                    <a:pt x="0" y="21417"/>
                    <a:pt x="0" y="21417"/>
                    <a:pt x="0" y="21417"/>
                  </a:cubicBezTo>
                  <a:cubicBezTo>
                    <a:pt x="0" y="21417"/>
                    <a:pt x="1260" y="20157"/>
                    <a:pt x="2519" y="20157"/>
                  </a:cubicBezTo>
                  <a:cubicBezTo>
                    <a:pt x="2519" y="20157"/>
                    <a:pt x="2519" y="20157"/>
                    <a:pt x="2519" y="20157"/>
                  </a:cubicBezTo>
                  <a:cubicBezTo>
                    <a:pt x="3779" y="20157"/>
                    <a:pt x="5039" y="20157"/>
                    <a:pt x="6299" y="20157"/>
                  </a:cubicBezTo>
                  <a:cubicBezTo>
                    <a:pt x="7559" y="20157"/>
                    <a:pt x="7559" y="20157"/>
                    <a:pt x="8819" y="20157"/>
                  </a:cubicBezTo>
                  <a:lnTo>
                    <a:pt x="8819" y="20157"/>
                  </a:lnTo>
                  <a:cubicBezTo>
                    <a:pt x="11338" y="20157"/>
                    <a:pt x="12598" y="21417"/>
                    <a:pt x="15118" y="22677"/>
                  </a:cubicBezTo>
                  <a:cubicBezTo>
                    <a:pt x="15118" y="22677"/>
                    <a:pt x="16378" y="22677"/>
                    <a:pt x="16378" y="22677"/>
                  </a:cubicBezTo>
                  <a:lnTo>
                    <a:pt x="17637" y="22677"/>
                  </a:lnTo>
                  <a:cubicBezTo>
                    <a:pt x="17637" y="22677"/>
                    <a:pt x="18897" y="22677"/>
                    <a:pt x="18897" y="22677"/>
                  </a:cubicBezTo>
                  <a:cubicBezTo>
                    <a:pt x="21417" y="22677"/>
                    <a:pt x="22677" y="22677"/>
                    <a:pt x="25196" y="21417"/>
                  </a:cubicBezTo>
                  <a:cubicBezTo>
                    <a:pt x="27716" y="21417"/>
                    <a:pt x="30236" y="20157"/>
                    <a:pt x="32755" y="20157"/>
                  </a:cubicBezTo>
                  <a:cubicBezTo>
                    <a:pt x="37795" y="18897"/>
                    <a:pt x="41574" y="18897"/>
                    <a:pt x="46613" y="18897"/>
                  </a:cubicBezTo>
                  <a:cubicBezTo>
                    <a:pt x="49133" y="18897"/>
                    <a:pt x="51652" y="18897"/>
                    <a:pt x="54172" y="18897"/>
                  </a:cubicBezTo>
                  <a:lnTo>
                    <a:pt x="54172" y="18897"/>
                  </a:lnTo>
                  <a:cubicBezTo>
                    <a:pt x="55432" y="18897"/>
                    <a:pt x="55432" y="18897"/>
                    <a:pt x="56692" y="18897"/>
                  </a:cubicBezTo>
                  <a:cubicBezTo>
                    <a:pt x="57952" y="18897"/>
                    <a:pt x="59211" y="18897"/>
                    <a:pt x="60471" y="18897"/>
                  </a:cubicBezTo>
                  <a:cubicBezTo>
                    <a:pt x="61731" y="18897"/>
                    <a:pt x="62991" y="18897"/>
                    <a:pt x="64251" y="18897"/>
                  </a:cubicBezTo>
                  <a:cubicBezTo>
                    <a:pt x="65511" y="18897"/>
                    <a:pt x="66770" y="18897"/>
                    <a:pt x="68030" y="18897"/>
                  </a:cubicBezTo>
                  <a:cubicBezTo>
                    <a:pt x="69290" y="18897"/>
                    <a:pt x="71810" y="18897"/>
                    <a:pt x="73070" y="17638"/>
                  </a:cubicBezTo>
                  <a:lnTo>
                    <a:pt x="74329" y="17638"/>
                  </a:lnTo>
                  <a:cubicBezTo>
                    <a:pt x="78109" y="17638"/>
                    <a:pt x="84408" y="16378"/>
                    <a:pt x="89447" y="15118"/>
                  </a:cubicBezTo>
                  <a:cubicBezTo>
                    <a:pt x="91967" y="15118"/>
                    <a:pt x="94487" y="13858"/>
                    <a:pt x="95746" y="13858"/>
                  </a:cubicBezTo>
                  <a:cubicBezTo>
                    <a:pt x="97006" y="13858"/>
                    <a:pt x="98266" y="13858"/>
                    <a:pt x="98266" y="13858"/>
                  </a:cubicBezTo>
                  <a:cubicBezTo>
                    <a:pt x="99526" y="13858"/>
                    <a:pt x="100786" y="13858"/>
                    <a:pt x="102045" y="12598"/>
                  </a:cubicBezTo>
                  <a:cubicBezTo>
                    <a:pt x="104565" y="12598"/>
                    <a:pt x="105825" y="11339"/>
                    <a:pt x="108344" y="11339"/>
                  </a:cubicBezTo>
                  <a:lnTo>
                    <a:pt x="108344" y="11339"/>
                  </a:lnTo>
                  <a:cubicBezTo>
                    <a:pt x="109604" y="11339"/>
                    <a:pt x="110864" y="11339"/>
                    <a:pt x="110864" y="10079"/>
                  </a:cubicBezTo>
                  <a:cubicBezTo>
                    <a:pt x="112124" y="10079"/>
                    <a:pt x="113384" y="8819"/>
                    <a:pt x="114644" y="8819"/>
                  </a:cubicBezTo>
                  <a:cubicBezTo>
                    <a:pt x="117163" y="7559"/>
                    <a:pt x="118423" y="7559"/>
                    <a:pt x="120943" y="6299"/>
                  </a:cubicBezTo>
                  <a:lnTo>
                    <a:pt x="120943" y="6299"/>
                  </a:lnTo>
                  <a:cubicBezTo>
                    <a:pt x="123463" y="5039"/>
                    <a:pt x="124722" y="5039"/>
                    <a:pt x="127242" y="3780"/>
                  </a:cubicBezTo>
                  <a:cubicBezTo>
                    <a:pt x="128502" y="3780"/>
                    <a:pt x="129762" y="2520"/>
                    <a:pt x="131022" y="2520"/>
                  </a:cubicBezTo>
                  <a:cubicBezTo>
                    <a:pt x="132281" y="2520"/>
                    <a:pt x="132281" y="1260"/>
                    <a:pt x="133541" y="1260"/>
                  </a:cubicBezTo>
                  <a:cubicBezTo>
                    <a:pt x="134801" y="1260"/>
                    <a:pt x="136061" y="0"/>
                    <a:pt x="136061" y="0"/>
                  </a:cubicBezTo>
                  <a:cubicBezTo>
                    <a:pt x="136061" y="0"/>
                    <a:pt x="137321" y="0"/>
                    <a:pt x="137321" y="0"/>
                  </a:cubicBezTo>
                  <a:lnTo>
                    <a:pt x="137321" y="0"/>
                  </a:lnTo>
                  <a:cubicBezTo>
                    <a:pt x="137321" y="0"/>
                    <a:pt x="137321" y="0"/>
                    <a:pt x="137321" y="0"/>
                  </a:cubicBezTo>
                  <a:cubicBezTo>
                    <a:pt x="137321" y="0"/>
                    <a:pt x="137321" y="0"/>
                    <a:pt x="138581" y="0"/>
                  </a:cubicBezTo>
                  <a:cubicBezTo>
                    <a:pt x="137321" y="0"/>
                    <a:pt x="138581" y="0"/>
                    <a:pt x="139840" y="1260"/>
                  </a:cubicBezTo>
                  <a:cubicBezTo>
                    <a:pt x="138581" y="0"/>
                    <a:pt x="139840" y="0"/>
                    <a:pt x="139840" y="126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4" name="任意多边形: 形状 10253"/>
            <p:cNvSpPr/>
            <p:nvPr/>
          </p:nvSpPr>
          <p:spPr>
            <a:xfrm>
              <a:off x="4842216" y="2984282"/>
              <a:ext cx="12598" cy="138581"/>
            </a:xfrm>
            <a:custGeom>
              <a:avLst/>
              <a:gdLst>
                <a:gd name="connsiteX0" fmla="*/ 12598 w 12598"/>
                <a:gd name="connsiteY0" fmla="*/ 0 h 138580"/>
                <a:gd name="connsiteX1" fmla="*/ 17637 w 12598"/>
                <a:gd name="connsiteY1" fmla="*/ 2520 h 138580"/>
                <a:gd name="connsiteX2" fmla="*/ 18897 w 12598"/>
                <a:gd name="connsiteY2" fmla="*/ 7559 h 138580"/>
                <a:gd name="connsiteX3" fmla="*/ 17637 w 12598"/>
                <a:gd name="connsiteY3" fmla="*/ 32755 h 138580"/>
                <a:gd name="connsiteX4" fmla="*/ 16378 w 12598"/>
                <a:gd name="connsiteY4" fmla="*/ 54172 h 138580"/>
                <a:gd name="connsiteX5" fmla="*/ 15118 w 12598"/>
                <a:gd name="connsiteY5" fmla="*/ 75589 h 138580"/>
                <a:gd name="connsiteX6" fmla="*/ 15118 w 12598"/>
                <a:gd name="connsiteY6" fmla="*/ 85668 h 138580"/>
                <a:gd name="connsiteX7" fmla="*/ 15118 w 12598"/>
                <a:gd name="connsiteY7" fmla="*/ 95747 h 138580"/>
                <a:gd name="connsiteX8" fmla="*/ 15118 w 12598"/>
                <a:gd name="connsiteY8" fmla="*/ 95747 h 138580"/>
                <a:gd name="connsiteX9" fmla="*/ 15118 w 12598"/>
                <a:gd name="connsiteY9" fmla="*/ 104565 h 138580"/>
                <a:gd name="connsiteX10" fmla="*/ 15118 w 12598"/>
                <a:gd name="connsiteY10" fmla="*/ 110864 h 138580"/>
                <a:gd name="connsiteX11" fmla="*/ 15118 w 12598"/>
                <a:gd name="connsiteY11" fmla="*/ 117164 h 138580"/>
                <a:gd name="connsiteX12" fmla="*/ 15118 w 12598"/>
                <a:gd name="connsiteY12" fmla="*/ 124723 h 138580"/>
                <a:gd name="connsiteX13" fmla="*/ 15118 w 12598"/>
                <a:gd name="connsiteY13" fmla="*/ 134801 h 138580"/>
                <a:gd name="connsiteX14" fmla="*/ 8819 w 12598"/>
                <a:gd name="connsiteY14" fmla="*/ 139840 h 138580"/>
                <a:gd name="connsiteX15" fmla="*/ 5039 w 12598"/>
                <a:gd name="connsiteY15" fmla="*/ 139840 h 138580"/>
                <a:gd name="connsiteX16" fmla="*/ 1260 w 12598"/>
                <a:gd name="connsiteY16" fmla="*/ 136061 h 138580"/>
                <a:gd name="connsiteX17" fmla="*/ 0 w 12598"/>
                <a:gd name="connsiteY17" fmla="*/ 128502 h 138580"/>
                <a:gd name="connsiteX18" fmla="*/ 0 w 12598"/>
                <a:gd name="connsiteY18" fmla="*/ 122203 h 138580"/>
                <a:gd name="connsiteX19" fmla="*/ 0 w 12598"/>
                <a:gd name="connsiteY19" fmla="*/ 109605 h 138580"/>
                <a:gd name="connsiteX20" fmla="*/ 0 w 12598"/>
                <a:gd name="connsiteY20" fmla="*/ 97006 h 138580"/>
                <a:gd name="connsiteX21" fmla="*/ 0 w 12598"/>
                <a:gd name="connsiteY21" fmla="*/ 83148 h 138580"/>
                <a:gd name="connsiteX22" fmla="*/ 0 w 12598"/>
                <a:gd name="connsiteY22" fmla="*/ 76849 h 138580"/>
                <a:gd name="connsiteX23" fmla="*/ 0 w 12598"/>
                <a:gd name="connsiteY23" fmla="*/ 65511 h 138580"/>
                <a:gd name="connsiteX24" fmla="*/ 1260 w 12598"/>
                <a:gd name="connsiteY24" fmla="*/ 46613 h 138580"/>
                <a:gd name="connsiteX25" fmla="*/ 3779 w 12598"/>
                <a:gd name="connsiteY25" fmla="*/ 5039 h 138580"/>
                <a:gd name="connsiteX26" fmla="*/ 12598 w 12598"/>
                <a:gd name="connsiteY26" fmla="*/ 0 h 138580"/>
                <a:gd name="connsiteX27" fmla="*/ 12598 w 12598"/>
                <a:gd name="connsiteY27" fmla="*/ 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598" h="138580">
                  <a:moveTo>
                    <a:pt x="12598" y="0"/>
                  </a:moveTo>
                  <a:cubicBezTo>
                    <a:pt x="15118" y="0"/>
                    <a:pt x="16378" y="1260"/>
                    <a:pt x="17637" y="2520"/>
                  </a:cubicBezTo>
                  <a:cubicBezTo>
                    <a:pt x="18897" y="3780"/>
                    <a:pt x="18897" y="6299"/>
                    <a:pt x="18897" y="7559"/>
                  </a:cubicBezTo>
                  <a:cubicBezTo>
                    <a:pt x="17637" y="15118"/>
                    <a:pt x="17637" y="23937"/>
                    <a:pt x="17637" y="32755"/>
                  </a:cubicBezTo>
                  <a:cubicBezTo>
                    <a:pt x="17637" y="40314"/>
                    <a:pt x="17637" y="46613"/>
                    <a:pt x="16378" y="54172"/>
                  </a:cubicBezTo>
                  <a:cubicBezTo>
                    <a:pt x="16378" y="61731"/>
                    <a:pt x="15118" y="68031"/>
                    <a:pt x="15118" y="75589"/>
                  </a:cubicBezTo>
                  <a:cubicBezTo>
                    <a:pt x="15118" y="79369"/>
                    <a:pt x="15118" y="81889"/>
                    <a:pt x="15118" y="85668"/>
                  </a:cubicBezTo>
                  <a:cubicBezTo>
                    <a:pt x="15118" y="89448"/>
                    <a:pt x="15118" y="91967"/>
                    <a:pt x="15118" y="95747"/>
                  </a:cubicBezTo>
                  <a:cubicBezTo>
                    <a:pt x="15118" y="95747"/>
                    <a:pt x="15118" y="95747"/>
                    <a:pt x="15118" y="95747"/>
                  </a:cubicBezTo>
                  <a:cubicBezTo>
                    <a:pt x="15118" y="98266"/>
                    <a:pt x="15118" y="102046"/>
                    <a:pt x="15118" y="104565"/>
                  </a:cubicBezTo>
                  <a:cubicBezTo>
                    <a:pt x="15118" y="107085"/>
                    <a:pt x="15118" y="108345"/>
                    <a:pt x="15118" y="110864"/>
                  </a:cubicBezTo>
                  <a:cubicBezTo>
                    <a:pt x="15118" y="113384"/>
                    <a:pt x="15118" y="114644"/>
                    <a:pt x="15118" y="117164"/>
                  </a:cubicBezTo>
                  <a:cubicBezTo>
                    <a:pt x="15118" y="119683"/>
                    <a:pt x="15118" y="122203"/>
                    <a:pt x="15118" y="124723"/>
                  </a:cubicBezTo>
                  <a:cubicBezTo>
                    <a:pt x="15118" y="128502"/>
                    <a:pt x="15118" y="131022"/>
                    <a:pt x="15118" y="134801"/>
                  </a:cubicBezTo>
                  <a:cubicBezTo>
                    <a:pt x="15118" y="137321"/>
                    <a:pt x="12598" y="139840"/>
                    <a:pt x="8819" y="139840"/>
                  </a:cubicBezTo>
                  <a:cubicBezTo>
                    <a:pt x="7559" y="139840"/>
                    <a:pt x="6299" y="139840"/>
                    <a:pt x="5039" y="139840"/>
                  </a:cubicBezTo>
                  <a:cubicBezTo>
                    <a:pt x="3779" y="139840"/>
                    <a:pt x="1260" y="137321"/>
                    <a:pt x="1260" y="136061"/>
                  </a:cubicBezTo>
                  <a:cubicBezTo>
                    <a:pt x="0" y="133541"/>
                    <a:pt x="0" y="131022"/>
                    <a:pt x="0" y="128502"/>
                  </a:cubicBezTo>
                  <a:cubicBezTo>
                    <a:pt x="0" y="125982"/>
                    <a:pt x="0" y="124723"/>
                    <a:pt x="0" y="122203"/>
                  </a:cubicBezTo>
                  <a:cubicBezTo>
                    <a:pt x="0" y="118424"/>
                    <a:pt x="0" y="113384"/>
                    <a:pt x="0" y="109605"/>
                  </a:cubicBezTo>
                  <a:cubicBezTo>
                    <a:pt x="0" y="105825"/>
                    <a:pt x="0" y="100786"/>
                    <a:pt x="0" y="97006"/>
                  </a:cubicBezTo>
                  <a:cubicBezTo>
                    <a:pt x="0" y="91967"/>
                    <a:pt x="0" y="86928"/>
                    <a:pt x="0" y="83148"/>
                  </a:cubicBezTo>
                  <a:cubicBezTo>
                    <a:pt x="0" y="80629"/>
                    <a:pt x="0" y="78109"/>
                    <a:pt x="0" y="76849"/>
                  </a:cubicBezTo>
                  <a:cubicBezTo>
                    <a:pt x="0" y="73070"/>
                    <a:pt x="0" y="69290"/>
                    <a:pt x="0" y="65511"/>
                  </a:cubicBezTo>
                  <a:cubicBezTo>
                    <a:pt x="0" y="59212"/>
                    <a:pt x="1260" y="52913"/>
                    <a:pt x="1260" y="46613"/>
                  </a:cubicBezTo>
                  <a:cubicBezTo>
                    <a:pt x="2519" y="32755"/>
                    <a:pt x="2519" y="18897"/>
                    <a:pt x="3779" y="5039"/>
                  </a:cubicBezTo>
                  <a:cubicBezTo>
                    <a:pt x="3779" y="2520"/>
                    <a:pt x="7559" y="0"/>
                    <a:pt x="12598" y="0"/>
                  </a:cubicBezTo>
                  <a:cubicBezTo>
                    <a:pt x="11338" y="0"/>
                    <a:pt x="11338" y="0"/>
                    <a:pt x="12598" y="0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5" name="任意多边形: 形状 10254"/>
            <p:cNvSpPr/>
            <p:nvPr/>
          </p:nvSpPr>
          <p:spPr>
            <a:xfrm>
              <a:off x="4692297" y="2987018"/>
              <a:ext cx="163777" cy="37795"/>
            </a:xfrm>
            <a:custGeom>
              <a:avLst/>
              <a:gdLst>
                <a:gd name="connsiteX0" fmla="*/ 163777 w 163777"/>
                <a:gd name="connsiteY0" fmla="*/ 3563 h 37794"/>
                <a:gd name="connsiteX1" fmla="*/ 163777 w 163777"/>
                <a:gd name="connsiteY1" fmla="*/ 7343 h 37794"/>
                <a:gd name="connsiteX2" fmla="*/ 159998 w 163777"/>
                <a:gd name="connsiteY2" fmla="*/ 9862 h 37794"/>
                <a:gd name="connsiteX3" fmla="*/ 149919 w 163777"/>
                <a:gd name="connsiteY3" fmla="*/ 13642 h 37794"/>
                <a:gd name="connsiteX4" fmla="*/ 139840 w 163777"/>
                <a:gd name="connsiteY4" fmla="*/ 16161 h 37794"/>
                <a:gd name="connsiteX5" fmla="*/ 129762 w 163777"/>
                <a:gd name="connsiteY5" fmla="*/ 18681 h 37794"/>
                <a:gd name="connsiteX6" fmla="*/ 119683 w 163777"/>
                <a:gd name="connsiteY6" fmla="*/ 21201 h 37794"/>
                <a:gd name="connsiteX7" fmla="*/ 109605 w 163777"/>
                <a:gd name="connsiteY7" fmla="*/ 23721 h 37794"/>
                <a:gd name="connsiteX8" fmla="*/ 99526 w 163777"/>
                <a:gd name="connsiteY8" fmla="*/ 26240 h 37794"/>
                <a:gd name="connsiteX9" fmla="*/ 89448 w 163777"/>
                <a:gd name="connsiteY9" fmla="*/ 28760 h 37794"/>
                <a:gd name="connsiteX10" fmla="*/ 79369 w 163777"/>
                <a:gd name="connsiteY10" fmla="*/ 31279 h 37794"/>
                <a:gd name="connsiteX11" fmla="*/ 68031 w 163777"/>
                <a:gd name="connsiteY11" fmla="*/ 33799 h 37794"/>
                <a:gd name="connsiteX12" fmla="*/ 57952 w 163777"/>
                <a:gd name="connsiteY12" fmla="*/ 35059 h 37794"/>
                <a:gd name="connsiteX13" fmla="*/ 41574 w 163777"/>
                <a:gd name="connsiteY13" fmla="*/ 37578 h 37794"/>
                <a:gd name="connsiteX14" fmla="*/ 35275 w 163777"/>
                <a:gd name="connsiteY14" fmla="*/ 38838 h 37794"/>
                <a:gd name="connsiteX15" fmla="*/ 31496 w 163777"/>
                <a:gd name="connsiteY15" fmla="*/ 40098 h 37794"/>
                <a:gd name="connsiteX16" fmla="*/ 25196 w 163777"/>
                <a:gd name="connsiteY16" fmla="*/ 36319 h 37794"/>
                <a:gd name="connsiteX17" fmla="*/ 16378 w 163777"/>
                <a:gd name="connsiteY17" fmla="*/ 31279 h 37794"/>
                <a:gd name="connsiteX18" fmla="*/ 7559 w 163777"/>
                <a:gd name="connsiteY18" fmla="*/ 27500 h 37794"/>
                <a:gd name="connsiteX19" fmla="*/ 1260 w 163777"/>
                <a:gd name="connsiteY19" fmla="*/ 24980 h 37794"/>
                <a:gd name="connsiteX20" fmla="*/ 0 w 163777"/>
                <a:gd name="connsiteY20" fmla="*/ 23721 h 37794"/>
                <a:gd name="connsiteX21" fmla="*/ 1260 w 163777"/>
                <a:gd name="connsiteY21" fmla="*/ 23721 h 37794"/>
                <a:gd name="connsiteX22" fmla="*/ 6299 w 163777"/>
                <a:gd name="connsiteY22" fmla="*/ 23721 h 37794"/>
                <a:gd name="connsiteX23" fmla="*/ 26456 w 163777"/>
                <a:gd name="connsiteY23" fmla="*/ 22461 h 37794"/>
                <a:gd name="connsiteX24" fmla="*/ 30236 w 163777"/>
                <a:gd name="connsiteY24" fmla="*/ 22461 h 37794"/>
                <a:gd name="connsiteX25" fmla="*/ 39055 w 163777"/>
                <a:gd name="connsiteY25" fmla="*/ 21201 h 37794"/>
                <a:gd name="connsiteX26" fmla="*/ 51653 w 163777"/>
                <a:gd name="connsiteY26" fmla="*/ 19941 h 37794"/>
                <a:gd name="connsiteX27" fmla="*/ 64251 w 163777"/>
                <a:gd name="connsiteY27" fmla="*/ 18681 h 37794"/>
                <a:gd name="connsiteX28" fmla="*/ 75589 w 163777"/>
                <a:gd name="connsiteY28" fmla="*/ 17421 h 37794"/>
                <a:gd name="connsiteX29" fmla="*/ 89448 w 163777"/>
                <a:gd name="connsiteY29" fmla="*/ 14902 h 37794"/>
                <a:gd name="connsiteX30" fmla="*/ 102046 w 163777"/>
                <a:gd name="connsiteY30" fmla="*/ 13642 h 37794"/>
                <a:gd name="connsiteX31" fmla="*/ 115904 w 163777"/>
                <a:gd name="connsiteY31" fmla="*/ 11122 h 37794"/>
                <a:gd name="connsiteX32" fmla="*/ 129762 w 163777"/>
                <a:gd name="connsiteY32" fmla="*/ 8603 h 37794"/>
                <a:gd name="connsiteX33" fmla="*/ 143620 w 163777"/>
                <a:gd name="connsiteY33" fmla="*/ 4823 h 37794"/>
                <a:gd name="connsiteX34" fmla="*/ 151179 w 163777"/>
                <a:gd name="connsiteY34" fmla="*/ 3563 h 37794"/>
                <a:gd name="connsiteX35" fmla="*/ 154958 w 163777"/>
                <a:gd name="connsiteY35" fmla="*/ 2304 h 37794"/>
                <a:gd name="connsiteX36" fmla="*/ 158738 w 163777"/>
                <a:gd name="connsiteY36" fmla="*/ 1044 h 37794"/>
                <a:gd name="connsiteX37" fmla="*/ 161258 w 163777"/>
                <a:gd name="connsiteY37" fmla="*/ 1044 h 37794"/>
                <a:gd name="connsiteX38" fmla="*/ 163777 w 163777"/>
                <a:gd name="connsiteY38" fmla="*/ 35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3777" h="37794">
                  <a:moveTo>
                    <a:pt x="163777" y="3563"/>
                  </a:moveTo>
                  <a:cubicBezTo>
                    <a:pt x="163777" y="4823"/>
                    <a:pt x="163777" y="6083"/>
                    <a:pt x="163777" y="7343"/>
                  </a:cubicBezTo>
                  <a:cubicBezTo>
                    <a:pt x="162518" y="8603"/>
                    <a:pt x="161258" y="9862"/>
                    <a:pt x="159998" y="9862"/>
                  </a:cubicBezTo>
                  <a:cubicBezTo>
                    <a:pt x="156218" y="11122"/>
                    <a:pt x="153699" y="12382"/>
                    <a:pt x="149919" y="13642"/>
                  </a:cubicBezTo>
                  <a:cubicBezTo>
                    <a:pt x="146140" y="14902"/>
                    <a:pt x="143620" y="16161"/>
                    <a:pt x="139840" y="16161"/>
                  </a:cubicBezTo>
                  <a:cubicBezTo>
                    <a:pt x="136061" y="17421"/>
                    <a:pt x="133541" y="18681"/>
                    <a:pt x="129762" y="18681"/>
                  </a:cubicBezTo>
                  <a:cubicBezTo>
                    <a:pt x="125982" y="19941"/>
                    <a:pt x="122203" y="19941"/>
                    <a:pt x="119683" y="21201"/>
                  </a:cubicBezTo>
                  <a:cubicBezTo>
                    <a:pt x="115904" y="22461"/>
                    <a:pt x="113384" y="23721"/>
                    <a:pt x="109605" y="23721"/>
                  </a:cubicBezTo>
                  <a:cubicBezTo>
                    <a:pt x="105825" y="24980"/>
                    <a:pt x="103306" y="24980"/>
                    <a:pt x="99526" y="26240"/>
                  </a:cubicBezTo>
                  <a:cubicBezTo>
                    <a:pt x="95747" y="27500"/>
                    <a:pt x="93227" y="27500"/>
                    <a:pt x="89448" y="28760"/>
                  </a:cubicBezTo>
                  <a:cubicBezTo>
                    <a:pt x="85668" y="30020"/>
                    <a:pt x="83148" y="30020"/>
                    <a:pt x="79369" y="31279"/>
                  </a:cubicBezTo>
                  <a:cubicBezTo>
                    <a:pt x="75589" y="32539"/>
                    <a:pt x="71810" y="32539"/>
                    <a:pt x="68031" y="33799"/>
                  </a:cubicBezTo>
                  <a:cubicBezTo>
                    <a:pt x="64251" y="33799"/>
                    <a:pt x="61732" y="35059"/>
                    <a:pt x="57952" y="35059"/>
                  </a:cubicBezTo>
                  <a:cubicBezTo>
                    <a:pt x="52913" y="36319"/>
                    <a:pt x="46614" y="36319"/>
                    <a:pt x="41574" y="37578"/>
                  </a:cubicBezTo>
                  <a:cubicBezTo>
                    <a:pt x="39055" y="37578"/>
                    <a:pt x="37795" y="38838"/>
                    <a:pt x="35275" y="38838"/>
                  </a:cubicBezTo>
                  <a:cubicBezTo>
                    <a:pt x="34015" y="38838"/>
                    <a:pt x="32755" y="38838"/>
                    <a:pt x="31496" y="40098"/>
                  </a:cubicBezTo>
                  <a:cubicBezTo>
                    <a:pt x="28976" y="38838"/>
                    <a:pt x="26456" y="37578"/>
                    <a:pt x="25196" y="36319"/>
                  </a:cubicBezTo>
                  <a:cubicBezTo>
                    <a:pt x="22677" y="35059"/>
                    <a:pt x="18897" y="32539"/>
                    <a:pt x="16378" y="31279"/>
                  </a:cubicBezTo>
                  <a:cubicBezTo>
                    <a:pt x="13858" y="30020"/>
                    <a:pt x="10079" y="28760"/>
                    <a:pt x="7559" y="27500"/>
                  </a:cubicBezTo>
                  <a:cubicBezTo>
                    <a:pt x="5040" y="26240"/>
                    <a:pt x="3780" y="26240"/>
                    <a:pt x="1260" y="24980"/>
                  </a:cubicBezTo>
                  <a:cubicBezTo>
                    <a:pt x="1260" y="24980"/>
                    <a:pt x="0" y="24980"/>
                    <a:pt x="0" y="23721"/>
                  </a:cubicBezTo>
                  <a:cubicBezTo>
                    <a:pt x="0" y="23721"/>
                    <a:pt x="1260" y="23721"/>
                    <a:pt x="1260" y="23721"/>
                  </a:cubicBezTo>
                  <a:cubicBezTo>
                    <a:pt x="2520" y="23721"/>
                    <a:pt x="5040" y="23721"/>
                    <a:pt x="6299" y="23721"/>
                  </a:cubicBezTo>
                  <a:cubicBezTo>
                    <a:pt x="12598" y="23721"/>
                    <a:pt x="20157" y="23721"/>
                    <a:pt x="26456" y="22461"/>
                  </a:cubicBezTo>
                  <a:lnTo>
                    <a:pt x="30236" y="22461"/>
                  </a:lnTo>
                  <a:cubicBezTo>
                    <a:pt x="32755" y="22461"/>
                    <a:pt x="35275" y="21201"/>
                    <a:pt x="39055" y="21201"/>
                  </a:cubicBezTo>
                  <a:cubicBezTo>
                    <a:pt x="42834" y="21201"/>
                    <a:pt x="46614" y="21201"/>
                    <a:pt x="51653" y="19941"/>
                  </a:cubicBezTo>
                  <a:cubicBezTo>
                    <a:pt x="55433" y="19941"/>
                    <a:pt x="60472" y="19941"/>
                    <a:pt x="64251" y="18681"/>
                  </a:cubicBezTo>
                  <a:cubicBezTo>
                    <a:pt x="68031" y="18681"/>
                    <a:pt x="71810" y="17421"/>
                    <a:pt x="75589" y="17421"/>
                  </a:cubicBezTo>
                  <a:cubicBezTo>
                    <a:pt x="80629" y="16161"/>
                    <a:pt x="85668" y="16161"/>
                    <a:pt x="89448" y="14902"/>
                  </a:cubicBezTo>
                  <a:cubicBezTo>
                    <a:pt x="93227" y="14902"/>
                    <a:pt x="98266" y="13642"/>
                    <a:pt x="102046" y="13642"/>
                  </a:cubicBezTo>
                  <a:cubicBezTo>
                    <a:pt x="107085" y="12382"/>
                    <a:pt x="110865" y="12382"/>
                    <a:pt x="115904" y="11122"/>
                  </a:cubicBezTo>
                  <a:cubicBezTo>
                    <a:pt x="120943" y="9862"/>
                    <a:pt x="124723" y="9862"/>
                    <a:pt x="129762" y="8603"/>
                  </a:cubicBezTo>
                  <a:cubicBezTo>
                    <a:pt x="134801" y="7343"/>
                    <a:pt x="138581" y="6083"/>
                    <a:pt x="143620" y="4823"/>
                  </a:cubicBezTo>
                  <a:cubicBezTo>
                    <a:pt x="146140" y="4823"/>
                    <a:pt x="148659" y="3563"/>
                    <a:pt x="151179" y="3563"/>
                  </a:cubicBezTo>
                  <a:cubicBezTo>
                    <a:pt x="152439" y="3563"/>
                    <a:pt x="153699" y="3563"/>
                    <a:pt x="154958" y="2304"/>
                  </a:cubicBezTo>
                  <a:cubicBezTo>
                    <a:pt x="156218" y="2304"/>
                    <a:pt x="157478" y="1044"/>
                    <a:pt x="158738" y="1044"/>
                  </a:cubicBezTo>
                  <a:cubicBezTo>
                    <a:pt x="159998" y="1044"/>
                    <a:pt x="159998" y="1044"/>
                    <a:pt x="161258" y="1044"/>
                  </a:cubicBezTo>
                  <a:cubicBezTo>
                    <a:pt x="159998" y="-1476"/>
                    <a:pt x="162518" y="1044"/>
                    <a:pt x="163777" y="356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6" name="任意多边形: 形状 10255"/>
            <p:cNvSpPr/>
            <p:nvPr/>
          </p:nvSpPr>
          <p:spPr>
            <a:xfrm>
              <a:off x="4386160" y="2291379"/>
              <a:ext cx="264563" cy="592117"/>
            </a:xfrm>
            <a:custGeom>
              <a:avLst/>
              <a:gdLst>
                <a:gd name="connsiteX0" fmla="*/ 80629 w 264562"/>
                <a:gd name="connsiteY0" fmla="*/ 0 h 592116"/>
                <a:gd name="connsiteX1" fmla="*/ 80629 w 264562"/>
                <a:gd name="connsiteY1" fmla="*/ 0 h 592116"/>
                <a:gd name="connsiteX2" fmla="*/ 85668 w 264562"/>
                <a:gd name="connsiteY2" fmla="*/ 1260 h 592116"/>
                <a:gd name="connsiteX3" fmla="*/ 90707 w 264562"/>
                <a:gd name="connsiteY3" fmla="*/ 2520 h 592116"/>
                <a:gd name="connsiteX4" fmla="*/ 93227 w 264562"/>
                <a:gd name="connsiteY4" fmla="*/ 5039 h 592116"/>
                <a:gd name="connsiteX5" fmla="*/ 94487 w 264562"/>
                <a:gd name="connsiteY5" fmla="*/ 7559 h 592116"/>
                <a:gd name="connsiteX6" fmla="*/ 94487 w 264562"/>
                <a:gd name="connsiteY6" fmla="*/ 7559 h 592116"/>
                <a:gd name="connsiteX7" fmla="*/ 95747 w 264562"/>
                <a:gd name="connsiteY7" fmla="*/ 10079 h 592116"/>
                <a:gd name="connsiteX8" fmla="*/ 98266 w 264562"/>
                <a:gd name="connsiteY8" fmla="*/ 16378 h 592116"/>
                <a:gd name="connsiteX9" fmla="*/ 100786 w 264562"/>
                <a:gd name="connsiteY9" fmla="*/ 25196 h 592116"/>
                <a:gd name="connsiteX10" fmla="*/ 104565 w 264562"/>
                <a:gd name="connsiteY10" fmla="*/ 40314 h 592116"/>
                <a:gd name="connsiteX11" fmla="*/ 105825 w 264562"/>
                <a:gd name="connsiteY11" fmla="*/ 42834 h 592116"/>
                <a:gd name="connsiteX12" fmla="*/ 108345 w 264562"/>
                <a:gd name="connsiteY12" fmla="*/ 51653 h 592116"/>
                <a:gd name="connsiteX13" fmla="*/ 108345 w 264562"/>
                <a:gd name="connsiteY13" fmla="*/ 52913 h 592116"/>
                <a:gd name="connsiteX14" fmla="*/ 109605 w 264562"/>
                <a:gd name="connsiteY14" fmla="*/ 60472 h 592116"/>
                <a:gd name="connsiteX15" fmla="*/ 110864 w 264562"/>
                <a:gd name="connsiteY15" fmla="*/ 68030 h 592116"/>
                <a:gd name="connsiteX16" fmla="*/ 110864 w 264562"/>
                <a:gd name="connsiteY16" fmla="*/ 69290 h 592116"/>
                <a:gd name="connsiteX17" fmla="*/ 113384 w 264562"/>
                <a:gd name="connsiteY17" fmla="*/ 78109 h 592116"/>
                <a:gd name="connsiteX18" fmla="*/ 115904 w 264562"/>
                <a:gd name="connsiteY18" fmla="*/ 88188 h 592116"/>
                <a:gd name="connsiteX19" fmla="*/ 118423 w 264562"/>
                <a:gd name="connsiteY19" fmla="*/ 97006 h 592116"/>
                <a:gd name="connsiteX20" fmla="*/ 119683 w 264562"/>
                <a:gd name="connsiteY20" fmla="*/ 102046 h 592116"/>
                <a:gd name="connsiteX21" fmla="*/ 120943 w 264562"/>
                <a:gd name="connsiteY21" fmla="*/ 105825 h 592116"/>
                <a:gd name="connsiteX22" fmla="*/ 123463 w 264562"/>
                <a:gd name="connsiteY22" fmla="*/ 115904 h 592116"/>
                <a:gd name="connsiteX23" fmla="*/ 124722 w 264562"/>
                <a:gd name="connsiteY23" fmla="*/ 122203 h 592116"/>
                <a:gd name="connsiteX24" fmla="*/ 124722 w 264562"/>
                <a:gd name="connsiteY24" fmla="*/ 122203 h 592116"/>
                <a:gd name="connsiteX25" fmla="*/ 124722 w 264562"/>
                <a:gd name="connsiteY25" fmla="*/ 122203 h 592116"/>
                <a:gd name="connsiteX26" fmla="*/ 127242 w 264562"/>
                <a:gd name="connsiteY26" fmla="*/ 127242 h 592116"/>
                <a:gd name="connsiteX27" fmla="*/ 139840 w 264562"/>
                <a:gd name="connsiteY27" fmla="*/ 159998 h 592116"/>
                <a:gd name="connsiteX28" fmla="*/ 142360 w 264562"/>
                <a:gd name="connsiteY28" fmla="*/ 166297 h 592116"/>
                <a:gd name="connsiteX29" fmla="*/ 146140 w 264562"/>
                <a:gd name="connsiteY29" fmla="*/ 176375 h 592116"/>
                <a:gd name="connsiteX30" fmla="*/ 146140 w 264562"/>
                <a:gd name="connsiteY30" fmla="*/ 176375 h 592116"/>
                <a:gd name="connsiteX31" fmla="*/ 148659 w 264562"/>
                <a:gd name="connsiteY31" fmla="*/ 185194 h 592116"/>
                <a:gd name="connsiteX32" fmla="*/ 154958 w 264562"/>
                <a:gd name="connsiteY32" fmla="*/ 202832 h 592116"/>
                <a:gd name="connsiteX33" fmla="*/ 154958 w 264562"/>
                <a:gd name="connsiteY33" fmla="*/ 202832 h 592116"/>
                <a:gd name="connsiteX34" fmla="*/ 154958 w 264562"/>
                <a:gd name="connsiteY34" fmla="*/ 204091 h 592116"/>
                <a:gd name="connsiteX35" fmla="*/ 154958 w 264562"/>
                <a:gd name="connsiteY35" fmla="*/ 204091 h 592116"/>
                <a:gd name="connsiteX36" fmla="*/ 154958 w 264562"/>
                <a:gd name="connsiteY36" fmla="*/ 204091 h 592116"/>
                <a:gd name="connsiteX37" fmla="*/ 154958 w 264562"/>
                <a:gd name="connsiteY37" fmla="*/ 204091 h 592116"/>
                <a:gd name="connsiteX38" fmla="*/ 154958 w 264562"/>
                <a:gd name="connsiteY38" fmla="*/ 204091 h 592116"/>
                <a:gd name="connsiteX39" fmla="*/ 154958 w 264562"/>
                <a:gd name="connsiteY39" fmla="*/ 204091 h 592116"/>
                <a:gd name="connsiteX40" fmla="*/ 154958 w 264562"/>
                <a:gd name="connsiteY40" fmla="*/ 204091 h 592116"/>
                <a:gd name="connsiteX41" fmla="*/ 154958 w 264562"/>
                <a:gd name="connsiteY41" fmla="*/ 204091 h 592116"/>
                <a:gd name="connsiteX42" fmla="*/ 154958 w 264562"/>
                <a:gd name="connsiteY42" fmla="*/ 204091 h 592116"/>
                <a:gd name="connsiteX43" fmla="*/ 154958 w 264562"/>
                <a:gd name="connsiteY43" fmla="*/ 204091 h 592116"/>
                <a:gd name="connsiteX44" fmla="*/ 154958 w 264562"/>
                <a:gd name="connsiteY44" fmla="*/ 205351 h 592116"/>
                <a:gd name="connsiteX45" fmla="*/ 154958 w 264562"/>
                <a:gd name="connsiteY45" fmla="*/ 205351 h 592116"/>
                <a:gd name="connsiteX46" fmla="*/ 161257 w 264562"/>
                <a:gd name="connsiteY46" fmla="*/ 222989 h 592116"/>
                <a:gd name="connsiteX47" fmla="*/ 163777 w 264562"/>
                <a:gd name="connsiteY47" fmla="*/ 230548 h 592116"/>
                <a:gd name="connsiteX48" fmla="*/ 163777 w 264562"/>
                <a:gd name="connsiteY48" fmla="*/ 231808 h 592116"/>
                <a:gd name="connsiteX49" fmla="*/ 163777 w 264562"/>
                <a:gd name="connsiteY49" fmla="*/ 231808 h 592116"/>
                <a:gd name="connsiteX50" fmla="*/ 167556 w 264562"/>
                <a:gd name="connsiteY50" fmla="*/ 243146 h 592116"/>
                <a:gd name="connsiteX51" fmla="*/ 171336 w 264562"/>
                <a:gd name="connsiteY51" fmla="*/ 253225 h 592116"/>
                <a:gd name="connsiteX52" fmla="*/ 171336 w 264562"/>
                <a:gd name="connsiteY52" fmla="*/ 254484 h 592116"/>
                <a:gd name="connsiteX53" fmla="*/ 171336 w 264562"/>
                <a:gd name="connsiteY53" fmla="*/ 255744 h 592116"/>
                <a:gd name="connsiteX54" fmla="*/ 173855 w 264562"/>
                <a:gd name="connsiteY54" fmla="*/ 263303 h 592116"/>
                <a:gd name="connsiteX55" fmla="*/ 177635 w 264562"/>
                <a:gd name="connsiteY55" fmla="*/ 273382 h 592116"/>
                <a:gd name="connsiteX56" fmla="*/ 181414 w 264562"/>
                <a:gd name="connsiteY56" fmla="*/ 284720 h 592116"/>
                <a:gd name="connsiteX57" fmla="*/ 185194 w 264562"/>
                <a:gd name="connsiteY57" fmla="*/ 296058 h 592116"/>
                <a:gd name="connsiteX58" fmla="*/ 187714 w 264562"/>
                <a:gd name="connsiteY58" fmla="*/ 303618 h 592116"/>
                <a:gd name="connsiteX59" fmla="*/ 192753 w 264562"/>
                <a:gd name="connsiteY59" fmla="*/ 317475 h 592116"/>
                <a:gd name="connsiteX60" fmla="*/ 192753 w 264562"/>
                <a:gd name="connsiteY60" fmla="*/ 318735 h 592116"/>
                <a:gd name="connsiteX61" fmla="*/ 194013 w 264562"/>
                <a:gd name="connsiteY61" fmla="*/ 323775 h 592116"/>
                <a:gd name="connsiteX62" fmla="*/ 194013 w 264562"/>
                <a:gd name="connsiteY62" fmla="*/ 323775 h 592116"/>
                <a:gd name="connsiteX63" fmla="*/ 195273 w 264562"/>
                <a:gd name="connsiteY63" fmla="*/ 327554 h 592116"/>
                <a:gd name="connsiteX64" fmla="*/ 201572 w 264562"/>
                <a:gd name="connsiteY64" fmla="*/ 343932 h 592116"/>
                <a:gd name="connsiteX65" fmla="*/ 205351 w 264562"/>
                <a:gd name="connsiteY65" fmla="*/ 351491 h 592116"/>
                <a:gd name="connsiteX66" fmla="*/ 205351 w 264562"/>
                <a:gd name="connsiteY66" fmla="*/ 351491 h 592116"/>
                <a:gd name="connsiteX67" fmla="*/ 209131 w 264562"/>
                <a:gd name="connsiteY67" fmla="*/ 361569 h 592116"/>
                <a:gd name="connsiteX68" fmla="*/ 217949 w 264562"/>
                <a:gd name="connsiteY68" fmla="*/ 381727 h 592116"/>
                <a:gd name="connsiteX69" fmla="*/ 226768 w 264562"/>
                <a:gd name="connsiteY69" fmla="*/ 400624 h 592116"/>
                <a:gd name="connsiteX70" fmla="*/ 234327 w 264562"/>
                <a:gd name="connsiteY70" fmla="*/ 419521 h 592116"/>
                <a:gd name="connsiteX71" fmla="*/ 239366 w 264562"/>
                <a:gd name="connsiteY71" fmla="*/ 430860 h 592116"/>
                <a:gd name="connsiteX72" fmla="*/ 239366 w 264562"/>
                <a:gd name="connsiteY72" fmla="*/ 430860 h 592116"/>
                <a:gd name="connsiteX73" fmla="*/ 239366 w 264562"/>
                <a:gd name="connsiteY73" fmla="*/ 430860 h 592116"/>
                <a:gd name="connsiteX74" fmla="*/ 241886 w 264562"/>
                <a:gd name="connsiteY74" fmla="*/ 437159 h 592116"/>
                <a:gd name="connsiteX75" fmla="*/ 246925 w 264562"/>
                <a:gd name="connsiteY75" fmla="*/ 449757 h 592116"/>
                <a:gd name="connsiteX76" fmla="*/ 249445 w 264562"/>
                <a:gd name="connsiteY76" fmla="*/ 456056 h 592116"/>
                <a:gd name="connsiteX77" fmla="*/ 250705 w 264562"/>
                <a:gd name="connsiteY77" fmla="*/ 458576 h 592116"/>
                <a:gd name="connsiteX78" fmla="*/ 250705 w 264562"/>
                <a:gd name="connsiteY78" fmla="*/ 459836 h 592116"/>
                <a:gd name="connsiteX79" fmla="*/ 250705 w 264562"/>
                <a:gd name="connsiteY79" fmla="*/ 458576 h 592116"/>
                <a:gd name="connsiteX80" fmla="*/ 248185 w 264562"/>
                <a:gd name="connsiteY80" fmla="*/ 452277 h 592116"/>
                <a:gd name="connsiteX81" fmla="*/ 248185 w 264562"/>
                <a:gd name="connsiteY81" fmla="*/ 452277 h 592116"/>
                <a:gd name="connsiteX82" fmla="*/ 248185 w 264562"/>
                <a:gd name="connsiteY82" fmla="*/ 452277 h 592116"/>
                <a:gd name="connsiteX83" fmla="*/ 248185 w 264562"/>
                <a:gd name="connsiteY83" fmla="*/ 452277 h 592116"/>
                <a:gd name="connsiteX84" fmla="*/ 254484 w 264562"/>
                <a:gd name="connsiteY84" fmla="*/ 466135 h 592116"/>
                <a:gd name="connsiteX85" fmla="*/ 259524 w 264562"/>
                <a:gd name="connsiteY85" fmla="*/ 478733 h 592116"/>
                <a:gd name="connsiteX86" fmla="*/ 260784 w 264562"/>
                <a:gd name="connsiteY86" fmla="*/ 482512 h 592116"/>
                <a:gd name="connsiteX87" fmla="*/ 263303 w 264562"/>
                <a:gd name="connsiteY87" fmla="*/ 487552 h 592116"/>
                <a:gd name="connsiteX88" fmla="*/ 268342 w 264562"/>
                <a:gd name="connsiteY88" fmla="*/ 497630 h 592116"/>
                <a:gd name="connsiteX89" fmla="*/ 268342 w 264562"/>
                <a:gd name="connsiteY89" fmla="*/ 498890 h 592116"/>
                <a:gd name="connsiteX90" fmla="*/ 273382 w 264562"/>
                <a:gd name="connsiteY90" fmla="*/ 506449 h 592116"/>
                <a:gd name="connsiteX91" fmla="*/ 274641 w 264562"/>
                <a:gd name="connsiteY91" fmla="*/ 512748 h 592116"/>
                <a:gd name="connsiteX92" fmla="*/ 275901 w 264562"/>
                <a:gd name="connsiteY92" fmla="*/ 520307 h 592116"/>
                <a:gd name="connsiteX93" fmla="*/ 275901 w 264562"/>
                <a:gd name="connsiteY93" fmla="*/ 522827 h 592116"/>
                <a:gd name="connsiteX94" fmla="*/ 275901 w 264562"/>
                <a:gd name="connsiteY94" fmla="*/ 522827 h 592116"/>
                <a:gd name="connsiteX95" fmla="*/ 275901 w 264562"/>
                <a:gd name="connsiteY95" fmla="*/ 522827 h 592116"/>
                <a:gd name="connsiteX96" fmla="*/ 275901 w 264562"/>
                <a:gd name="connsiteY96" fmla="*/ 524087 h 592116"/>
                <a:gd name="connsiteX97" fmla="*/ 275901 w 264562"/>
                <a:gd name="connsiteY97" fmla="*/ 530386 h 592116"/>
                <a:gd name="connsiteX98" fmla="*/ 274641 w 264562"/>
                <a:gd name="connsiteY98" fmla="*/ 536685 h 592116"/>
                <a:gd name="connsiteX99" fmla="*/ 273382 w 264562"/>
                <a:gd name="connsiteY99" fmla="*/ 541724 h 592116"/>
                <a:gd name="connsiteX100" fmla="*/ 273382 w 264562"/>
                <a:gd name="connsiteY100" fmla="*/ 542984 h 592116"/>
                <a:gd name="connsiteX101" fmla="*/ 268342 w 264562"/>
                <a:gd name="connsiteY101" fmla="*/ 556842 h 592116"/>
                <a:gd name="connsiteX102" fmla="*/ 268342 w 264562"/>
                <a:gd name="connsiteY102" fmla="*/ 556842 h 592116"/>
                <a:gd name="connsiteX103" fmla="*/ 268342 w 264562"/>
                <a:gd name="connsiteY103" fmla="*/ 556842 h 592116"/>
                <a:gd name="connsiteX104" fmla="*/ 268342 w 264562"/>
                <a:gd name="connsiteY104" fmla="*/ 556842 h 592116"/>
                <a:gd name="connsiteX105" fmla="*/ 263303 w 264562"/>
                <a:gd name="connsiteY105" fmla="*/ 569440 h 592116"/>
                <a:gd name="connsiteX106" fmla="*/ 262043 w 264562"/>
                <a:gd name="connsiteY106" fmla="*/ 571960 h 592116"/>
                <a:gd name="connsiteX107" fmla="*/ 262043 w 264562"/>
                <a:gd name="connsiteY107" fmla="*/ 571960 h 592116"/>
                <a:gd name="connsiteX108" fmla="*/ 259524 w 264562"/>
                <a:gd name="connsiteY108" fmla="*/ 575739 h 592116"/>
                <a:gd name="connsiteX109" fmla="*/ 253225 w 264562"/>
                <a:gd name="connsiteY109" fmla="*/ 582038 h 592116"/>
                <a:gd name="connsiteX110" fmla="*/ 246925 w 264562"/>
                <a:gd name="connsiteY110" fmla="*/ 585818 h 592116"/>
                <a:gd name="connsiteX111" fmla="*/ 240626 w 264562"/>
                <a:gd name="connsiteY111" fmla="*/ 589597 h 592116"/>
                <a:gd name="connsiteX112" fmla="*/ 239366 w 264562"/>
                <a:gd name="connsiteY112" fmla="*/ 589597 h 592116"/>
                <a:gd name="connsiteX113" fmla="*/ 234327 w 264562"/>
                <a:gd name="connsiteY113" fmla="*/ 592117 h 592116"/>
                <a:gd name="connsiteX114" fmla="*/ 234327 w 264562"/>
                <a:gd name="connsiteY114" fmla="*/ 592117 h 592116"/>
                <a:gd name="connsiteX115" fmla="*/ 233067 w 264562"/>
                <a:gd name="connsiteY115" fmla="*/ 593377 h 592116"/>
                <a:gd name="connsiteX116" fmla="*/ 231807 w 264562"/>
                <a:gd name="connsiteY116" fmla="*/ 594637 h 592116"/>
                <a:gd name="connsiteX117" fmla="*/ 231807 w 264562"/>
                <a:gd name="connsiteY117" fmla="*/ 594637 h 592116"/>
                <a:gd name="connsiteX118" fmla="*/ 228028 w 264562"/>
                <a:gd name="connsiteY118" fmla="*/ 595896 h 592116"/>
                <a:gd name="connsiteX119" fmla="*/ 221729 w 264562"/>
                <a:gd name="connsiteY119" fmla="*/ 598416 h 592116"/>
                <a:gd name="connsiteX120" fmla="*/ 214170 w 264562"/>
                <a:gd name="connsiteY120" fmla="*/ 599676 h 592116"/>
                <a:gd name="connsiteX121" fmla="*/ 205351 w 264562"/>
                <a:gd name="connsiteY121" fmla="*/ 600936 h 592116"/>
                <a:gd name="connsiteX122" fmla="*/ 201572 w 264562"/>
                <a:gd name="connsiteY122" fmla="*/ 600936 h 592116"/>
                <a:gd name="connsiteX123" fmla="*/ 201572 w 264562"/>
                <a:gd name="connsiteY123" fmla="*/ 600936 h 592116"/>
                <a:gd name="connsiteX124" fmla="*/ 197792 w 264562"/>
                <a:gd name="connsiteY124" fmla="*/ 600936 h 592116"/>
                <a:gd name="connsiteX125" fmla="*/ 191493 w 264562"/>
                <a:gd name="connsiteY125" fmla="*/ 600936 h 592116"/>
                <a:gd name="connsiteX126" fmla="*/ 187714 w 264562"/>
                <a:gd name="connsiteY126" fmla="*/ 600936 h 592116"/>
                <a:gd name="connsiteX127" fmla="*/ 182674 w 264562"/>
                <a:gd name="connsiteY127" fmla="*/ 599676 h 592116"/>
                <a:gd name="connsiteX128" fmla="*/ 178895 w 264562"/>
                <a:gd name="connsiteY128" fmla="*/ 598416 h 592116"/>
                <a:gd name="connsiteX129" fmla="*/ 176375 w 264562"/>
                <a:gd name="connsiteY129" fmla="*/ 598416 h 592116"/>
                <a:gd name="connsiteX130" fmla="*/ 170076 w 264562"/>
                <a:gd name="connsiteY130" fmla="*/ 597156 h 592116"/>
                <a:gd name="connsiteX131" fmla="*/ 156218 w 264562"/>
                <a:gd name="connsiteY131" fmla="*/ 590857 h 592116"/>
                <a:gd name="connsiteX132" fmla="*/ 151179 w 264562"/>
                <a:gd name="connsiteY132" fmla="*/ 588337 h 592116"/>
                <a:gd name="connsiteX133" fmla="*/ 149919 w 264562"/>
                <a:gd name="connsiteY133" fmla="*/ 587078 h 592116"/>
                <a:gd name="connsiteX134" fmla="*/ 142360 w 264562"/>
                <a:gd name="connsiteY134" fmla="*/ 582038 h 592116"/>
                <a:gd name="connsiteX135" fmla="*/ 131022 w 264562"/>
                <a:gd name="connsiteY135" fmla="*/ 573220 h 592116"/>
                <a:gd name="connsiteX136" fmla="*/ 131022 w 264562"/>
                <a:gd name="connsiteY136" fmla="*/ 573220 h 592116"/>
                <a:gd name="connsiteX137" fmla="*/ 131022 w 264562"/>
                <a:gd name="connsiteY137" fmla="*/ 573220 h 592116"/>
                <a:gd name="connsiteX138" fmla="*/ 129762 w 264562"/>
                <a:gd name="connsiteY138" fmla="*/ 571960 h 592116"/>
                <a:gd name="connsiteX139" fmla="*/ 129762 w 264562"/>
                <a:gd name="connsiteY139" fmla="*/ 570700 h 592116"/>
                <a:gd name="connsiteX140" fmla="*/ 123463 w 264562"/>
                <a:gd name="connsiteY140" fmla="*/ 558102 h 592116"/>
                <a:gd name="connsiteX141" fmla="*/ 118423 w 264562"/>
                <a:gd name="connsiteY141" fmla="*/ 549283 h 592116"/>
                <a:gd name="connsiteX142" fmla="*/ 115904 w 264562"/>
                <a:gd name="connsiteY142" fmla="*/ 544244 h 592116"/>
                <a:gd name="connsiteX143" fmla="*/ 110864 w 264562"/>
                <a:gd name="connsiteY143" fmla="*/ 534165 h 592116"/>
                <a:gd name="connsiteX144" fmla="*/ 110864 w 264562"/>
                <a:gd name="connsiteY144" fmla="*/ 534165 h 592116"/>
                <a:gd name="connsiteX145" fmla="*/ 108345 w 264562"/>
                <a:gd name="connsiteY145" fmla="*/ 530386 h 592116"/>
                <a:gd name="connsiteX146" fmla="*/ 103306 w 264562"/>
                <a:gd name="connsiteY146" fmla="*/ 521567 h 592116"/>
                <a:gd name="connsiteX147" fmla="*/ 91967 w 264562"/>
                <a:gd name="connsiteY147" fmla="*/ 498890 h 592116"/>
                <a:gd name="connsiteX148" fmla="*/ 89448 w 264562"/>
                <a:gd name="connsiteY148" fmla="*/ 495111 h 592116"/>
                <a:gd name="connsiteX149" fmla="*/ 85668 w 264562"/>
                <a:gd name="connsiteY149" fmla="*/ 487552 h 592116"/>
                <a:gd name="connsiteX150" fmla="*/ 83148 w 264562"/>
                <a:gd name="connsiteY150" fmla="*/ 481252 h 592116"/>
                <a:gd name="connsiteX151" fmla="*/ 83148 w 264562"/>
                <a:gd name="connsiteY151" fmla="*/ 479993 h 592116"/>
                <a:gd name="connsiteX152" fmla="*/ 76849 w 264562"/>
                <a:gd name="connsiteY152" fmla="*/ 464875 h 592116"/>
                <a:gd name="connsiteX153" fmla="*/ 70550 w 264562"/>
                <a:gd name="connsiteY153" fmla="*/ 448497 h 592116"/>
                <a:gd name="connsiteX154" fmla="*/ 70550 w 264562"/>
                <a:gd name="connsiteY154" fmla="*/ 448497 h 592116"/>
                <a:gd name="connsiteX155" fmla="*/ 70550 w 264562"/>
                <a:gd name="connsiteY155" fmla="*/ 448497 h 592116"/>
                <a:gd name="connsiteX156" fmla="*/ 70550 w 264562"/>
                <a:gd name="connsiteY156" fmla="*/ 448497 h 592116"/>
                <a:gd name="connsiteX157" fmla="*/ 69290 w 264562"/>
                <a:gd name="connsiteY157" fmla="*/ 443458 h 592116"/>
                <a:gd name="connsiteX158" fmla="*/ 60471 w 264562"/>
                <a:gd name="connsiteY158" fmla="*/ 420781 h 592116"/>
                <a:gd name="connsiteX159" fmla="*/ 59212 w 264562"/>
                <a:gd name="connsiteY159" fmla="*/ 418261 h 592116"/>
                <a:gd name="connsiteX160" fmla="*/ 59212 w 264562"/>
                <a:gd name="connsiteY160" fmla="*/ 418261 h 592116"/>
                <a:gd name="connsiteX161" fmla="*/ 51653 w 264562"/>
                <a:gd name="connsiteY161" fmla="*/ 398104 h 592116"/>
                <a:gd name="connsiteX162" fmla="*/ 44094 w 264562"/>
                <a:gd name="connsiteY162" fmla="*/ 375427 h 592116"/>
                <a:gd name="connsiteX163" fmla="*/ 36535 w 264562"/>
                <a:gd name="connsiteY163" fmla="*/ 352751 h 592116"/>
                <a:gd name="connsiteX164" fmla="*/ 31496 w 264562"/>
                <a:gd name="connsiteY164" fmla="*/ 337633 h 592116"/>
                <a:gd name="connsiteX165" fmla="*/ 31496 w 264562"/>
                <a:gd name="connsiteY165" fmla="*/ 337633 h 592116"/>
                <a:gd name="connsiteX166" fmla="*/ 31496 w 264562"/>
                <a:gd name="connsiteY166" fmla="*/ 337633 h 592116"/>
                <a:gd name="connsiteX167" fmla="*/ 31496 w 264562"/>
                <a:gd name="connsiteY167" fmla="*/ 335113 h 592116"/>
                <a:gd name="connsiteX168" fmla="*/ 30236 w 264562"/>
                <a:gd name="connsiteY168" fmla="*/ 331334 h 592116"/>
                <a:gd name="connsiteX169" fmla="*/ 20157 w 264562"/>
                <a:gd name="connsiteY169" fmla="*/ 291019 h 592116"/>
                <a:gd name="connsiteX170" fmla="*/ 18897 w 264562"/>
                <a:gd name="connsiteY170" fmla="*/ 285980 h 592116"/>
                <a:gd name="connsiteX171" fmla="*/ 12598 w 264562"/>
                <a:gd name="connsiteY171" fmla="*/ 260783 h 592116"/>
                <a:gd name="connsiteX172" fmla="*/ 10078 w 264562"/>
                <a:gd name="connsiteY172" fmla="*/ 246925 h 592116"/>
                <a:gd name="connsiteX173" fmla="*/ 10078 w 264562"/>
                <a:gd name="connsiteY173" fmla="*/ 245666 h 592116"/>
                <a:gd name="connsiteX174" fmla="*/ 5039 w 264562"/>
                <a:gd name="connsiteY174" fmla="*/ 229288 h 592116"/>
                <a:gd name="connsiteX175" fmla="*/ 5039 w 264562"/>
                <a:gd name="connsiteY175" fmla="*/ 229288 h 592116"/>
                <a:gd name="connsiteX176" fmla="*/ 2520 w 264562"/>
                <a:gd name="connsiteY176" fmla="*/ 221729 h 592116"/>
                <a:gd name="connsiteX177" fmla="*/ 1260 w 264562"/>
                <a:gd name="connsiteY177" fmla="*/ 211650 h 592116"/>
                <a:gd name="connsiteX178" fmla="*/ 0 w 264562"/>
                <a:gd name="connsiteY178" fmla="*/ 194013 h 592116"/>
                <a:gd name="connsiteX179" fmla="*/ 1260 w 264562"/>
                <a:gd name="connsiteY179" fmla="*/ 176375 h 592116"/>
                <a:gd name="connsiteX180" fmla="*/ 2520 w 264562"/>
                <a:gd name="connsiteY180" fmla="*/ 167557 h 592116"/>
                <a:gd name="connsiteX181" fmla="*/ 3779 w 264562"/>
                <a:gd name="connsiteY181" fmla="*/ 161257 h 592116"/>
                <a:gd name="connsiteX182" fmla="*/ 5039 w 264562"/>
                <a:gd name="connsiteY182" fmla="*/ 158738 h 592116"/>
                <a:gd name="connsiteX183" fmla="*/ 7559 w 264562"/>
                <a:gd name="connsiteY183" fmla="*/ 151179 h 592116"/>
                <a:gd name="connsiteX184" fmla="*/ 10078 w 264562"/>
                <a:gd name="connsiteY184" fmla="*/ 146140 h 592116"/>
                <a:gd name="connsiteX185" fmla="*/ 12598 w 264562"/>
                <a:gd name="connsiteY185" fmla="*/ 142360 h 592116"/>
                <a:gd name="connsiteX186" fmla="*/ 16378 w 264562"/>
                <a:gd name="connsiteY186" fmla="*/ 134801 h 592116"/>
                <a:gd name="connsiteX187" fmla="*/ 16378 w 264562"/>
                <a:gd name="connsiteY187" fmla="*/ 134801 h 592116"/>
                <a:gd name="connsiteX188" fmla="*/ 21417 w 264562"/>
                <a:gd name="connsiteY188" fmla="*/ 127242 h 592116"/>
                <a:gd name="connsiteX189" fmla="*/ 21417 w 264562"/>
                <a:gd name="connsiteY189" fmla="*/ 125982 h 592116"/>
                <a:gd name="connsiteX190" fmla="*/ 23937 w 264562"/>
                <a:gd name="connsiteY190" fmla="*/ 123463 h 592116"/>
                <a:gd name="connsiteX191" fmla="*/ 26456 w 264562"/>
                <a:gd name="connsiteY191" fmla="*/ 119683 h 592116"/>
                <a:gd name="connsiteX192" fmla="*/ 27716 w 264562"/>
                <a:gd name="connsiteY192" fmla="*/ 118424 h 592116"/>
                <a:gd name="connsiteX193" fmla="*/ 28976 w 264562"/>
                <a:gd name="connsiteY193" fmla="*/ 115904 h 592116"/>
                <a:gd name="connsiteX194" fmla="*/ 32755 w 264562"/>
                <a:gd name="connsiteY194" fmla="*/ 113384 h 592116"/>
                <a:gd name="connsiteX195" fmla="*/ 35275 w 264562"/>
                <a:gd name="connsiteY195" fmla="*/ 110864 h 592116"/>
                <a:gd name="connsiteX196" fmla="*/ 37795 w 264562"/>
                <a:gd name="connsiteY196" fmla="*/ 108345 h 592116"/>
                <a:gd name="connsiteX197" fmla="*/ 40314 w 264562"/>
                <a:gd name="connsiteY197" fmla="*/ 105825 h 592116"/>
                <a:gd name="connsiteX198" fmla="*/ 44094 w 264562"/>
                <a:gd name="connsiteY198" fmla="*/ 103305 h 592116"/>
                <a:gd name="connsiteX199" fmla="*/ 47873 w 264562"/>
                <a:gd name="connsiteY199" fmla="*/ 100786 h 592116"/>
                <a:gd name="connsiteX200" fmla="*/ 50393 w 264562"/>
                <a:gd name="connsiteY200" fmla="*/ 99526 h 592116"/>
                <a:gd name="connsiteX201" fmla="*/ 55432 w 264562"/>
                <a:gd name="connsiteY201" fmla="*/ 95747 h 592116"/>
                <a:gd name="connsiteX202" fmla="*/ 57952 w 264562"/>
                <a:gd name="connsiteY202" fmla="*/ 94487 h 592116"/>
                <a:gd name="connsiteX203" fmla="*/ 57952 w 264562"/>
                <a:gd name="connsiteY203" fmla="*/ 93227 h 592116"/>
                <a:gd name="connsiteX204" fmla="*/ 59212 w 264562"/>
                <a:gd name="connsiteY204" fmla="*/ 90707 h 592116"/>
                <a:gd name="connsiteX205" fmla="*/ 59212 w 264562"/>
                <a:gd name="connsiteY205" fmla="*/ 86928 h 592116"/>
                <a:gd name="connsiteX206" fmla="*/ 59212 w 264562"/>
                <a:gd name="connsiteY206" fmla="*/ 83148 h 592116"/>
                <a:gd name="connsiteX207" fmla="*/ 59212 w 264562"/>
                <a:gd name="connsiteY207" fmla="*/ 75589 h 592116"/>
                <a:gd name="connsiteX208" fmla="*/ 59212 w 264562"/>
                <a:gd name="connsiteY208" fmla="*/ 74330 h 592116"/>
                <a:gd name="connsiteX209" fmla="*/ 59212 w 264562"/>
                <a:gd name="connsiteY209" fmla="*/ 66771 h 592116"/>
                <a:gd name="connsiteX210" fmla="*/ 59212 w 264562"/>
                <a:gd name="connsiteY210" fmla="*/ 56692 h 592116"/>
                <a:gd name="connsiteX211" fmla="*/ 59212 w 264562"/>
                <a:gd name="connsiteY211" fmla="*/ 55432 h 592116"/>
                <a:gd name="connsiteX212" fmla="*/ 59212 w 264562"/>
                <a:gd name="connsiteY212" fmla="*/ 46614 h 592116"/>
                <a:gd name="connsiteX213" fmla="*/ 59212 w 264562"/>
                <a:gd name="connsiteY213" fmla="*/ 36535 h 592116"/>
                <a:gd name="connsiteX214" fmla="*/ 60471 w 264562"/>
                <a:gd name="connsiteY214" fmla="*/ 27716 h 592116"/>
                <a:gd name="connsiteX215" fmla="*/ 61731 w 264562"/>
                <a:gd name="connsiteY215" fmla="*/ 18897 h 592116"/>
                <a:gd name="connsiteX216" fmla="*/ 61731 w 264562"/>
                <a:gd name="connsiteY216" fmla="*/ 18897 h 592116"/>
                <a:gd name="connsiteX217" fmla="*/ 62991 w 264562"/>
                <a:gd name="connsiteY217" fmla="*/ 15118 h 592116"/>
                <a:gd name="connsiteX218" fmla="*/ 64251 w 264562"/>
                <a:gd name="connsiteY218" fmla="*/ 11338 h 592116"/>
                <a:gd name="connsiteX219" fmla="*/ 69290 w 264562"/>
                <a:gd name="connsiteY219" fmla="*/ 5039 h 592116"/>
                <a:gd name="connsiteX220" fmla="*/ 74329 w 264562"/>
                <a:gd name="connsiteY220" fmla="*/ 2520 h 592116"/>
                <a:gd name="connsiteX221" fmla="*/ 76849 w 264562"/>
                <a:gd name="connsiteY221" fmla="*/ 2520 h 592116"/>
                <a:gd name="connsiteX222" fmla="*/ 76849 w 264562"/>
                <a:gd name="connsiteY222" fmla="*/ 2520 h 592116"/>
                <a:gd name="connsiteX223" fmla="*/ 78109 w 264562"/>
                <a:gd name="connsiteY223" fmla="*/ 2520 h 592116"/>
                <a:gd name="connsiteX224" fmla="*/ 78109 w 264562"/>
                <a:gd name="connsiteY224" fmla="*/ 2520 h 592116"/>
                <a:gd name="connsiteX225" fmla="*/ 80629 w 264562"/>
                <a:gd name="connsiteY225" fmla="*/ 0 h 59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264562" h="592116">
                  <a:moveTo>
                    <a:pt x="80629" y="0"/>
                  </a:moveTo>
                  <a:lnTo>
                    <a:pt x="80629" y="0"/>
                  </a:lnTo>
                  <a:cubicBezTo>
                    <a:pt x="81889" y="0"/>
                    <a:pt x="84408" y="0"/>
                    <a:pt x="85668" y="1260"/>
                  </a:cubicBezTo>
                  <a:cubicBezTo>
                    <a:pt x="86928" y="1260"/>
                    <a:pt x="88188" y="2520"/>
                    <a:pt x="90707" y="2520"/>
                  </a:cubicBezTo>
                  <a:cubicBezTo>
                    <a:pt x="91967" y="2520"/>
                    <a:pt x="91967" y="3780"/>
                    <a:pt x="93227" y="5039"/>
                  </a:cubicBezTo>
                  <a:cubicBezTo>
                    <a:pt x="93227" y="5039"/>
                    <a:pt x="94487" y="6299"/>
                    <a:pt x="94487" y="7559"/>
                  </a:cubicBezTo>
                  <a:lnTo>
                    <a:pt x="94487" y="7559"/>
                  </a:lnTo>
                  <a:cubicBezTo>
                    <a:pt x="95747" y="8819"/>
                    <a:pt x="95747" y="10079"/>
                    <a:pt x="95747" y="10079"/>
                  </a:cubicBezTo>
                  <a:cubicBezTo>
                    <a:pt x="97007" y="11338"/>
                    <a:pt x="97007" y="13858"/>
                    <a:pt x="98266" y="16378"/>
                  </a:cubicBezTo>
                  <a:cubicBezTo>
                    <a:pt x="99526" y="18897"/>
                    <a:pt x="99526" y="22677"/>
                    <a:pt x="100786" y="25196"/>
                  </a:cubicBezTo>
                  <a:cubicBezTo>
                    <a:pt x="102046" y="30236"/>
                    <a:pt x="103306" y="35275"/>
                    <a:pt x="104565" y="40314"/>
                  </a:cubicBezTo>
                  <a:lnTo>
                    <a:pt x="105825" y="42834"/>
                  </a:lnTo>
                  <a:cubicBezTo>
                    <a:pt x="107085" y="45354"/>
                    <a:pt x="107085" y="47873"/>
                    <a:pt x="108345" y="51653"/>
                  </a:cubicBezTo>
                  <a:lnTo>
                    <a:pt x="108345" y="52913"/>
                  </a:lnTo>
                  <a:cubicBezTo>
                    <a:pt x="108345" y="55432"/>
                    <a:pt x="109605" y="57952"/>
                    <a:pt x="109605" y="60472"/>
                  </a:cubicBezTo>
                  <a:cubicBezTo>
                    <a:pt x="109605" y="62991"/>
                    <a:pt x="110864" y="65511"/>
                    <a:pt x="110864" y="68030"/>
                  </a:cubicBezTo>
                  <a:lnTo>
                    <a:pt x="110864" y="69290"/>
                  </a:lnTo>
                  <a:cubicBezTo>
                    <a:pt x="110864" y="71810"/>
                    <a:pt x="112124" y="75589"/>
                    <a:pt x="113384" y="78109"/>
                  </a:cubicBezTo>
                  <a:cubicBezTo>
                    <a:pt x="114644" y="81889"/>
                    <a:pt x="114644" y="84408"/>
                    <a:pt x="115904" y="88188"/>
                  </a:cubicBezTo>
                  <a:cubicBezTo>
                    <a:pt x="117163" y="90707"/>
                    <a:pt x="117163" y="93227"/>
                    <a:pt x="118423" y="97006"/>
                  </a:cubicBezTo>
                  <a:cubicBezTo>
                    <a:pt x="118423" y="98266"/>
                    <a:pt x="119683" y="100786"/>
                    <a:pt x="119683" y="102046"/>
                  </a:cubicBezTo>
                  <a:cubicBezTo>
                    <a:pt x="119683" y="103305"/>
                    <a:pt x="119683" y="104565"/>
                    <a:pt x="120943" y="105825"/>
                  </a:cubicBezTo>
                  <a:cubicBezTo>
                    <a:pt x="122203" y="108345"/>
                    <a:pt x="122203" y="112124"/>
                    <a:pt x="123463" y="115904"/>
                  </a:cubicBezTo>
                  <a:cubicBezTo>
                    <a:pt x="123463" y="118424"/>
                    <a:pt x="124722" y="119683"/>
                    <a:pt x="124722" y="122203"/>
                  </a:cubicBezTo>
                  <a:lnTo>
                    <a:pt x="124722" y="122203"/>
                  </a:lnTo>
                  <a:lnTo>
                    <a:pt x="124722" y="122203"/>
                  </a:lnTo>
                  <a:cubicBezTo>
                    <a:pt x="125982" y="123463"/>
                    <a:pt x="125982" y="125982"/>
                    <a:pt x="127242" y="127242"/>
                  </a:cubicBezTo>
                  <a:cubicBezTo>
                    <a:pt x="131022" y="138581"/>
                    <a:pt x="136061" y="149919"/>
                    <a:pt x="139840" y="159998"/>
                  </a:cubicBezTo>
                  <a:lnTo>
                    <a:pt x="142360" y="166297"/>
                  </a:lnTo>
                  <a:cubicBezTo>
                    <a:pt x="143620" y="170076"/>
                    <a:pt x="144880" y="173856"/>
                    <a:pt x="146140" y="176375"/>
                  </a:cubicBezTo>
                  <a:lnTo>
                    <a:pt x="146140" y="176375"/>
                  </a:lnTo>
                  <a:cubicBezTo>
                    <a:pt x="147399" y="178895"/>
                    <a:pt x="148659" y="182674"/>
                    <a:pt x="148659" y="185194"/>
                  </a:cubicBezTo>
                  <a:cubicBezTo>
                    <a:pt x="151179" y="190233"/>
                    <a:pt x="152439" y="196533"/>
                    <a:pt x="154958" y="202832"/>
                  </a:cubicBezTo>
                  <a:lnTo>
                    <a:pt x="154958" y="202832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cubicBezTo>
                    <a:pt x="154958" y="204091"/>
                    <a:pt x="154958" y="204091"/>
                    <a:pt x="154958" y="205351"/>
                  </a:cubicBezTo>
                  <a:lnTo>
                    <a:pt x="154958" y="205351"/>
                  </a:lnTo>
                  <a:cubicBezTo>
                    <a:pt x="157478" y="211650"/>
                    <a:pt x="158738" y="216690"/>
                    <a:pt x="161257" y="222989"/>
                  </a:cubicBezTo>
                  <a:cubicBezTo>
                    <a:pt x="162517" y="225508"/>
                    <a:pt x="163777" y="228028"/>
                    <a:pt x="163777" y="230548"/>
                  </a:cubicBezTo>
                  <a:lnTo>
                    <a:pt x="163777" y="231808"/>
                  </a:lnTo>
                  <a:lnTo>
                    <a:pt x="163777" y="231808"/>
                  </a:lnTo>
                  <a:cubicBezTo>
                    <a:pt x="165037" y="235587"/>
                    <a:pt x="166297" y="239366"/>
                    <a:pt x="167556" y="243146"/>
                  </a:cubicBezTo>
                  <a:cubicBezTo>
                    <a:pt x="168816" y="246925"/>
                    <a:pt x="170076" y="249445"/>
                    <a:pt x="171336" y="253225"/>
                  </a:cubicBezTo>
                  <a:lnTo>
                    <a:pt x="171336" y="254484"/>
                  </a:lnTo>
                  <a:lnTo>
                    <a:pt x="171336" y="255744"/>
                  </a:lnTo>
                  <a:cubicBezTo>
                    <a:pt x="172596" y="258264"/>
                    <a:pt x="172596" y="260783"/>
                    <a:pt x="173855" y="263303"/>
                  </a:cubicBezTo>
                  <a:cubicBezTo>
                    <a:pt x="175115" y="267083"/>
                    <a:pt x="176375" y="269602"/>
                    <a:pt x="177635" y="273382"/>
                  </a:cubicBezTo>
                  <a:cubicBezTo>
                    <a:pt x="178895" y="277161"/>
                    <a:pt x="180155" y="280941"/>
                    <a:pt x="181414" y="284720"/>
                  </a:cubicBezTo>
                  <a:cubicBezTo>
                    <a:pt x="182674" y="288500"/>
                    <a:pt x="183934" y="292279"/>
                    <a:pt x="185194" y="296058"/>
                  </a:cubicBezTo>
                  <a:cubicBezTo>
                    <a:pt x="186454" y="298578"/>
                    <a:pt x="187714" y="301098"/>
                    <a:pt x="187714" y="303618"/>
                  </a:cubicBezTo>
                  <a:cubicBezTo>
                    <a:pt x="188973" y="308657"/>
                    <a:pt x="191493" y="312436"/>
                    <a:pt x="192753" y="317475"/>
                  </a:cubicBezTo>
                  <a:lnTo>
                    <a:pt x="192753" y="318735"/>
                  </a:lnTo>
                  <a:lnTo>
                    <a:pt x="194013" y="323775"/>
                  </a:lnTo>
                  <a:lnTo>
                    <a:pt x="194013" y="323775"/>
                  </a:lnTo>
                  <a:lnTo>
                    <a:pt x="195273" y="327554"/>
                  </a:lnTo>
                  <a:cubicBezTo>
                    <a:pt x="196533" y="332593"/>
                    <a:pt x="199052" y="338893"/>
                    <a:pt x="201572" y="343932"/>
                  </a:cubicBezTo>
                  <a:cubicBezTo>
                    <a:pt x="202832" y="346451"/>
                    <a:pt x="204092" y="348971"/>
                    <a:pt x="205351" y="351491"/>
                  </a:cubicBezTo>
                  <a:lnTo>
                    <a:pt x="205351" y="351491"/>
                  </a:lnTo>
                  <a:cubicBezTo>
                    <a:pt x="206611" y="355270"/>
                    <a:pt x="207871" y="359050"/>
                    <a:pt x="209131" y="361569"/>
                  </a:cubicBezTo>
                  <a:cubicBezTo>
                    <a:pt x="211650" y="367868"/>
                    <a:pt x="214170" y="372908"/>
                    <a:pt x="217949" y="381727"/>
                  </a:cubicBezTo>
                  <a:cubicBezTo>
                    <a:pt x="220469" y="388026"/>
                    <a:pt x="224248" y="394325"/>
                    <a:pt x="226768" y="400624"/>
                  </a:cubicBezTo>
                  <a:cubicBezTo>
                    <a:pt x="229288" y="405663"/>
                    <a:pt x="231807" y="411962"/>
                    <a:pt x="234327" y="419521"/>
                  </a:cubicBezTo>
                  <a:cubicBezTo>
                    <a:pt x="235587" y="423301"/>
                    <a:pt x="236847" y="427080"/>
                    <a:pt x="239366" y="430860"/>
                  </a:cubicBezTo>
                  <a:lnTo>
                    <a:pt x="239366" y="430860"/>
                  </a:lnTo>
                  <a:lnTo>
                    <a:pt x="239366" y="430860"/>
                  </a:lnTo>
                  <a:cubicBezTo>
                    <a:pt x="240626" y="433379"/>
                    <a:pt x="240626" y="434639"/>
                    <a:pt x="241886" y="437159"/>
                  </a:cubicBezTo>
                  <a:cubicBezTo>
                    <a:pt x="243146" y="442198"/>
                    <a:pt x="245666" y="445978"/>
                    <a:pt x="246925" y="449757"/>
                  </a:cubicBezTo>
                  <a:cubicBezTo>
                    <a:pt x="248185" y="452277"/>
                    <a:pt x="248185" y="453536"/>
                    <a:pt x="249445" y="456056"/>
                  </a:cubicBezTo>
                  <a:lnTo>
                    <a:pt x="250705" y="458576"/>
                  </a:lnTo>
                  <a:lnTo>
                    <a:pt x="250705" y="459836"/>
                  </a:lnTo>
                  <a:lnTo>
                    <a:pt x="250705" y="458576"/>
                  </a:lnTo>
                  <a:cubicBezTo>
                    <a:pt x="249445" y="456056"/>
                    <a:pt x="249445" y="454796"/>
                    <a:pt x="248185" y="452277"/>
                  </a:cubicBezTo>
                  <a:cubicBezTo>
                    <a:pt x="248185" y="452277"/>
                    <a:pt x="248185" y="452277"/>
                    <a:pt x="248185" y="452277"/>
                  </a:cubicBezTo>
                  <a:lnTo>
                    <a:pt x="248185" y="452277"/>
                  </a:lnTo>
                  <a:lnTo>
                    <a:pt x="248185" y="452277"/>
                  </a:lnTo>
                  <a:cubicBezTo>
                    <a:pt x="250705" y="457316"/>
                    <a:pt x="251965" y="461095"/>
                    <a:pt x="254484" y="466135"/>
                  </a:cubicBezTo>
                  <a:cubicBezTo>
                    <a:pt x="255744" y="469914"/>
                    <a:pt x="258264" y="473694"/>
                    <a:pt x="259524" y="478733"/>
                  </a:cubicBezTo>
                  <a:cubicBezTo>
                    <a:pt x="259524" y="479993"/>
                    <a:pt x="260784" y="481252"/>
                    <a:pt x="260784" y="482512"/>
                  </a:cubicBezTo>
                  <a:cubicBezTo>
                    <a:pt x="262043" y="483772"/>
                    <a:pt x="262043" y="486292"/>
                    <a:pt x="263303" y="487552"/>
                  </a:cubicBezTo>
                  <a:cubicBezTo>
                    <a:pt x="264563" y="491331"/>
                    <a:pt x="267083" y="495111"/>
                    <a:pt x="268342" y="497630"/>
                  </a:cubicBezTo>
                  <a:lnTo>
                    <a:pt x="268342" y="498890"/>
                  </a:lnTo>
                  <a:cubicBezTo>
                    <a:pt x="269602" y="501410"/>
                    <a:pt x="270862" y="503929"/>
                    <a:pt x="273382" y="506449"/>
                  </a:cubicBezTo>
                  <a:cubicBezTo>
                    <a:pt x="273382" y="508969"/>
                    <a:pt x="274641" y="511488"/>
                    <a:pt x="274641" y="512748"/>
                  </a:cubicBezTo>
                  <a:cubicBezTo>
                    <a:pt x="274641" y="515268"/>
                    <a:pt x="275901" y="517787"/>
                    <a:pt x="275901" y="520307"/>
                  </a:cubicBezTo>
                  <a:cubicBezTo>
                    <a:pt x="275901" y="521567"/>
                    <a:pt x="275901" y="521567"/>
                    <a:pt x="275901" y="522827"/>
                  </a:cubicBezTo>
                  <a:lnTo>
                    <a:pt x="275901" y="522827"/>
                  </a:lnTo>
                  <a:lnTo>
                    <a:pt x="275901" y="522827"/>
                  </a:lnTo>
                  <a:cubicBezTo>
                    <a:pt x="275901" y="522827"/>
                    <a:pt x="275901" y="522827"/>
                    <a:pt x="275901" y="524087"/>
                  </a:cubicBezTo>
                  <a:cubicBezTo>
                    <a:pt x="275901" y="525346"/>
                    <a:pt x="275901" y="527866"/>
                    <a:pt x="275901" y="530386"/>
                  </a:cubicBezTo>
                  <a:cubicBezTo>
                    <a:pt x="275901" y="532905"/>
                    <a:pt x="275901" y="534165"/>
                    <a:pt x="274641" y="536685"/>
                  </a:cubicBezTo>
                  <a:cubicBezTo>
                    <a:pt x="274641" y="537945"/>
                    <a:pt x="273382" y="540464"/>
                    <a:pt x="273382" y="541724"/>
                  </a:cubicBezTo>
                  <a:lnTo>
                    <a:pt x="273382" y="542984"/>
                  </a:lnTo>
                  <a:cubicBezTo>
                    <a:pt x="272122" y="548023"/>
                    <a:pt x="270862" y="553063"/>
                    <a:pt x="268342" y="556842"/>
                  </a:cubicBezTo>
                  <a:lnTo>
                    <a:pt x="268342" y="556842"/>
                  </a:lnTo>
                  <a:lnTo>
                    <a:pt x="268342" y="556842"/>
                  </a:lnTo>
                  <a:lnTo>
                    <a:pt x="268342" y="556842"/>
                  </a:lnTo>
                  <a:cubicBezTo>
                    <a:pt x="267083" y="560621"/>
                    <a:pt x="265823" y="564401"/>
                    <a:pt x="263303" y="569440"/>
                  </a:cubicBezTo>
                  <a:cubicBezTo>
                    <a:pt x="263303" y="570700"/>
                    <a:pt x="262043" y="570700"/>
                    <a:pt x="262043" y="571960"/>
                  </a:cubicBezTo>
                  <a:lnTo>
                    <a:pt x="262043" y="571960"/>
                  </a:lnTo>
                  <a:cubicBezTo>
                    <a:pt x="260784" y="573220"/>
                    <a:pt x="260784" y="574480"/>
                    <a:pt x="259524" y="575739"/>
                  </a:cubicBezTo>
                  <a:cubicBezTo>
                    <a:pt x="257004" y="578259"/>
                    <a:pt x="255744" y="579519"/>
                    <a:pt x="253225" y="582038"/>
                  </a:cubicBezTo>
                  <a:cubicBezTo>
                    <a:pt x="251965" y="583298"/>
                    <a:pt x="249445" y="584558"/>
                    <a:pt x="246925" y="585818"/>
                  </a:cubicBezTo>
                  <a:cubicBezTo>
                    <a:pt x="244406" y="587078"/>
                    <a:pt x="241886" y="588337"/>
                    <a:pt x="240626" y="589597"/>
                  </a:cubicBezTo>
                  <a:lnTo>
                    <a:pt x="239366" y="589597"/>
                  </a:lnTo>
                  <a:cubicBezTo>
                    <a:pt x="238107" y="590857"/>
                    <a:pt x="236847" y="590857"/>
                    <a:pt x="234327" y="592117"/>
                  </a:cubicBezTo>
                  <a:lnTo>
                    <a:pt x="234327" y="592117"/>
                  </a:lnTo>
                  <a:lnTo>
                    <a:pt x="233067" y="593377"/>
                  </a:lnTo>
                  <a:cubicBezTo>
                    <a:pt x="233067" y="593377"/>
                    <a:pt x="231807" y="593377"/>
                    <a:pt x="231807" y="594637"/>
                  </a:cubicBezTo>
                  <a:lnTo>
                    <a:pt x="231807" y="594637"/>
                  </a:lnTo>
                  <a:cubicBezTo>
                    <a:pt x="230548" y="594637"/>
                    <a:pt x="229288" y="595896"/>
                    <a:pt x="228028" y="595896"/>
                  </a:cubicBezTo>
                  <a:cubicBezTo>
                    <a:pt x="225508" y="597156"/>
                    <a:pt x="222989" y="597156"/>
                    <a:pt x="221729" y="598416"/>
                  </a:cubicBezTo>
                  <a:cubicBezTo>
                    <a:pt x="219209" y="598416"/>
                    <a:pt x="216690" y="599676"/>
                    <a:pt x="214170" y="599676"/>
                  </a:cubicBezTo>
                  <a:cubicBezTo>
                    <a:pt x="211650" y="599676"/>
                    <a:pt x="209131" y="600936"/>
                    <a:pt x="205351" y="600936"/>
                  </a:cubicBezTo>
                  <a:cubicBezTo>
                    <a:pt x="204092" y="600936"/>
                    <a:pt x="202832" y="600936"/>
                    <a:pt x="201572" y="600936"/>
                  </a:cubicBezTo>
                  <a:lnTo>
                    <a:pt x="201572" y="600936"/>
                  </a:lnTo>
                  <a:cubicBezTo>
                    <a:pt x="200312" y="600936"/>
                    <a:pt x="199052" y="600936"/>
                    <a:pt x="197792" y="600936"/>
                  </a:cubicBezTo>
                  <a:cubicBezTo>
                    <a:pt x="195273" y="600936"/>
                    <a:pt x="192753" y="600936"/>
                    <a:pt x="191493" y="600936"/>
                  </a:cubicBezTo>
                  <a:cubicBezTo>
                    <a:pt x="190233" y="600936"/>
                    <a:pt x="188973" y="600936"/>
                    <a:pt x="187714" y="600936"/>
                  </a:cubicBezTo>
                  <a:cubicBezTo>
                    <a:pt x="186454" y="600936"/>
                    <a:pt x="183934" y="600936"/>
                    <a:pt x="182674" y="599676"/>
                  </a:cubicBezTo>
                  <a:cubicBezTo>
                    <a:pt x="181414" y="599676"/>
                    <a:pt x="180155" y="599676"/>
                    <a:pt x="178895" y="598416"/>
                  </a:cubicBezTo>
                  <a:cubicBezTo>
                    <a:pt x="177635" y="598416"/>
                    <a:pt x="177635" y="598416"/>
                    <a:pt x="176375" y="598416"/>
                  </a:cubicBezTo>
                  <a:cubicBezTo>
                    <a:pt x="173855" y="598416"/>
                    <a:pt x="172596" y="597156"/>
                    <a:pt x="170076" y="597156"/>
                  </a:cubicBezTo>
                  <a:cubicBezTo>
                    <a:pt x="165037" y="595896"/>
                    <a:pt x="159998" y="593377"/>
                    <a:pt x="156218" y="590857"/>
                  </a:cubicBezTo>
                  <a:cubicBezTo>
                    <a:pt x="154958" y="589597"/>
                    <a:pt x="153699" y="589597"/>
                    <a:pt x="151179" y="588337"/>
                  </a:cubicBezTo>
                  <a:lnTo>
                    <a:pt x="149919" y="587078"/>
                  </a:lnTo>
                  <a:cubicBezTo>
                    <a:pt x="147399" y="585818"/>
                    <a:pt x="144880" y="584558"/>
                    <a:pt x="142360" y="582038"/>
                  </a:cubicBezTo>
                  <a:cubicBezTo>
                    <a:pt x="138581" y="579519"/>
                    <a:pt x="134801" y="576999"/>
                    <a:pt x="131022" y="573220"/>
                  </a:cubicBezTo>
                  <a:lnTo>
                    <a:pt x="131022" y="573220"/>
                  </a:lnTo>
                  <a:lnTo>
                    <a:pt x="131022" y="573220"/>
                  </a:lnTo>
                  <a:lnTo>
                    <a:pt x="129762" y="571960"/>
                  </a:lnTo>
                  <a:lnTo>
                    <a:pt x="129762" y="570700"/>
                  </a:lnTo>
                  <a:cubicBezTo>
                    <a:pt x="127242" y="565661"/>
                    <a:pt x="125982" y="561881"/>
                    <a:pt x="123463" y="558102"/>
                  </a:cubicBezTo>
                  <a:cubicBezTo>
                    <a:pt x="122203" y="555582"/>
                    <a:pt x="120943" y="553063"/>
                    <a:pt x="118423" y="549283"/>
                  </a:cubicBezTo>
                  <a:cubicBezTo>
                    <a:pt x="117163" y="548023"/>
                    <a:pt x="117163" y="546763"/>
                    <a:pt x="115904" y="544244"/>
                  </a:cubicBezTo>
                  <a:cubicBezTo>
                    <a:pt x="114644" y="541724"/>
                    <a:pt x="113384" y="537945"/>
                    <a:pt x="110864" y="534165"/>
                  </a:cubicBezTo>
                  <a:lnTo>
                    <a:pt x="110864" y="534165"/>
                  </a:lnTo>
                  <a:cubicBezTo>
                    <a:pt x="109605" y="532905"/>
                    <a:pt x="109605" y="531645"/>
                    <a:pt x="108345" y="530386"/>
                  </a:cubicBezTo>
                  <a:cubicBezTo>
                    <a:pt x="107085" y="527866"/>
                    <a:pt x="105825" y="524087"/>
                    <a:pt x="103306" y="521567"/>
                  </a:cubicBezTo>
                  <a:cubicBezTo>
                    <a:pt x="99526" y="514008"/>
                    <a:pt x="95747" y="506449"/>
                    <a:pt x="91967" y="498890"/>
                  </a:cubicBezTo>
                  <a:cubicBezTo>
                    <a:pt x="90707" y="497630"/>
                    <a:pt x="90707" y="496371"/>
                    <a:pt x="89448" y="495111"/>
                  </a:cubicBezTo>
                  <a:cubicBezTo>
                    <a:pt x="88188" y="492591"/>
                    <a:pt x="86928" y="490071"/>
                    <a:pt x="85668" y="487552"/>
                  </a:cubicBezTo>
                  <a:lnTo>
                    <a:pt x="83148" y="481252"/>
                  </a:lnTo>
                  <a:lnTo>
                    <a:pt x="83148" y="479993"/>
                  </a:lnTo>
                  <a:cubicBezTo>
                    <a:pt x="80629" y="474953"/>
                    <a:pt x="79369" y="469914"/>
                    <a:pt x="76849" y="464875"/>
                  </a:cubicBezTo>
                  <a:cubicBezTo>
                    <a:pt x="74329" y="459836"/>
                    <a:pt x="71810" y="453536"/>
                    <a:pt x="70550" y="448497"/>
                  </a:cubicBezTo>
                  <a:lnTo>
                    <a:pt x="70550" y="448497"/>
                  </a:lnTo>
                  <a:lnTo>
                    <a:pt x="70550" y="448497"/>
                  </a:lnTo>
                  <a:lnTo>
                    <a:pt x="70550" y="448497"/>
                  </a:lnTo>
                  <a:lnTo>
                    <a:pt x="69290" y="443458"/>
                  </a:lnTo>
                  <a:cubicBezTo>
                    <a:pt x="65511" y="435899"/>
                    <a:pt x="62991" y="428340"/>
                    <a:pt x="60471" y="420781"/>
                  </a:cubicBezTo>
                  <a:lnTo>
                    <a:pt x="59212" y="418261"/>
                  </a:lnTo>
                  <a:lnTo>
                    <a:pt x="59212" y="418261"/>
                  </a:lnTo>
                  <a:cubicBezTo>
                    <a:pt x="56692" y="411962"/>
                    <a:pt x="54172" y="404403"/>
                    <a:pt x="51653" y="398104"/>
                  </a:cubicBezTo>
                  <a:cubicBezTo>
                    <a:pt x="47873" y="389286"/>
                    <a:pt x="45354" y="381727"/>
                    <a:pt x="44094" y="375427"/>
                  </a:cubicBezTo>
                  <a:cubicBezTo>
                    <a:pt x="41574" y="367868"/>
                    <a:pt x="39055" y="360310"/>
                    <a:pt x="36535" y="352751"/>
                  </a:cubicBezTo>
                  <a:cubicBezTo>
                    <a:pt x="35275" y="347711"/>
                    <a:pt x="34015" y="342672"/>
                    <a:pt x="31496" y="337633"/>
                  </a:cubicBezTo>
                  <a:lnTo>
                    <a:pt x="31496" y="337633"/>
                  </a:lnTo>
                  <a:lnTo>
                    <a:pt x="31496" y="337633"/>
                  </a:lnTo>
                  <a:lnTo>
                    <a:pt x="31496" y="335113"/>
                  </a:lnTo>
                  <a:lnTo>
                    <a:pt x="30236" y="331334"/>
                  </a:lnTo>
                  <a:lnTo>
                    <a:pt x="20157" y="291019"/>
                  </a:lnTo>
                  <a:lnTo>
                    <a:pt x="18897" y="285980"/>
                  </a:lnTo>
                  <a:cubicBezTo>
                    <a:pt x="16378" y="278421"/>
                    <a:pt x="15118" y="269602"/>
                    <a:pt x="12598" y="260783"/>
                  </a:cubicBezTo>
                  <a:cubicBezTo>
                    <a:pt x="11338" y="255744"/>
                    <a:pt x="10078" y="250705"/>
                    <a:pt x="10078" y="246925"/>
                  </a:cubicBezTo>
                  <a:cubicBezTo>
                    <a:pt x="10078" y="246925"/>
                    <a:pt x="10078" y="245666"/>
                    <a:pt x="10078" y="245666"/>
                  </a:cubicBezTo>
                  <a:cubicBezTo>
                    <a:pt x="8819" y="240626"/>
                    <a:pt x="6299" y="234327"/>
                    <a:pt x="5039" y="229288"/>
                  </a:cubicBezTo>
                  <a:lnTo>
                    <a:pt x="5039" y="229288"/>
                  </a:lnTo>
                  <a:cubicBezTo>
                    <a:pt x="3779" y="226768"/>
                    <a:pt x="3779" y="224249"/>
                    <a:pt x="2520" y="221729"/>
                  </a:cubicBezTo>
                  <a:cubicBezTo>
                    <a:pt x="2520" y="219209"/>
                    <a:pt x="1260" y="215430"/>
                    <a:pt x="1260" y="211650"/>
                  </a:cubicBezTo>
                  <a:cubicBezTo>
                    <a:pt x="1260" y="205351"/>
                    <a:pt x="0" y="200312"/>
                    <a:pt x="0" y="194013"/>
                  </a:cubicBezTo>
                  <a:cubicBezTo>
                    <a:pt x="0" y="187714"/>
                    <a:pt x="0" y="181415"/>
                    <a:pt x="1260" y="176375"/>
                  </a:cubicBezTo>
                  <a:cubicBezTo>
                    <a:pt x="1260" y="173856"/>
                    <a:pt x="2520" y="170076"/>
                    <a:pt x="2520" y="167557"/>
                  </a:cubicBezTo>
                  <a:cubicBezTo>
                    <a:pt x="2520" y="165037"/>
                    <a:pt x="3779" y="163777"/>
                    <a:pt x="3779" y="161257"/>
                  </a:cubicBezTo>
                  <a:cubicBezTo>
                    <a:pt x="3779" y="159998"/>
                    <a:pt x="3779" y="158738"/>
                    <a:pt x="5039" y="158738"/>
                  </a:cubicBezTo>
                  <a:cubicBezTo>
                    <a:pt x="6299" y="156218"/>
                    <a:pt x="6299" y="153698"/>
                    <a:pt x="7559" y="151179"/>
                  </a:cubicBezTo>
                  <a:cubicBezTo>
                    <a:pt x="7559" y="149919"/>
                    <a:pt x="8819" y="147399"/>
                    <a:pt x="10078" y="146140"/>
                  </a:cubicBezTo>
                  <a:cubicBezTo>
                    <a:pt x="10078" y="144880"/>
                    <a:pt x="11338" y="143620"/>
                    <a:pt x="12598" y="142360"/>
                  </a:cubicBezTo>
                  <a:cubicBezTo>
                    <a:pt x="13858" y="139840"/>
                    <a:pt x="15118" y="137321"/>
                    <a:pt x="16378" y="134801"/>
                  </a:cubicBezTo>
                  <a:lnTo>
                    <a:pt x="16378" y="134801"/>
                  </a:lnTo>
                  <a:cubicBezTo>
                    <a:pt x="17637" y="132281"/>
                    <a:pt x="20157" y="129762"/>
                    <a:pt x="21417" y="127242"/>
                  </a:cubicBezTo>
                  <a:lnTo>
                    <a:pt x="21417" y="125982"/>
                  </a:lnTo>
                  <a:cubicBezTo>
                    <a:pt x="22677" y="124723"/>
                    <a:pt x="22677" y="123463"/>
                    <a:pt x="23937" y="123463"/>
                  </a:cubicBezTo>
                  <a:cubicBezTo>
                    <a:pt x="25196" y="122203"/>
                    <a:pt x="26456" y="120943"/>
                    <a:pt x="26456" y="119683"/>
                  </a:cubicBezTo>
                  <a:cubicBezTo>
                    <a:pt x="26456" y="119683"/>
                    <a:pt x="27716" y="118424"/>
                    <a:pt x="27716" y="118424"/>
                  </a:cubicBezTo>
                  <a:cubicBezTo>
                    <a:pt x="27716" y="117164"/>
                    <a:pt x="28976" y="117164"/>
                    <a:pt x="28976" y="115904"/>
                  </a:cubicBezTo>
                  <a:cubicBezTo>
                    <a:pt x="30236" y="114644"/>
                    <a:pt x="31496" y="113384"/>
                    <a:pt x="32755" y="113384"/>
                  </a:cubicBezTo>
                  <a:cubicBezTo>
                    <a:pt x="34015" y="112124"/>
                    <a:pt x="34015" y="112124"/>
                    <a:pt x="35275" y="110864"/>
                  </a:cubicBezTo>
                  <a:cubicBezTo>
                    <a:pt x="36535" y="109605"/>
                    <a:pt x="36535" y="109605"/>
                    <a:pt x="37795" y="108345"/>
                  </a:cubicBezTo>
                  <a:cubicBezTo>
                    <a:pt x="39055" y="107085"/>
                    <a:pt x="39055" y="107085"/>
                    <a:pt x="40314" y="105825"/>
                  </a:cubicBezTo>
                  <a:cubicBezTo>
                    <a:pt x="41574" y="104565"/>
                    <a:pt x="42834" y="103305"/>
                    <a:pt x="44094" y="103305"/>
                  </a:cubicBezTo>
                  <a:cubicBezTo>
                    <a:pt x="45354" y="102046"/>
                    <a:pt x="46614" y="102046"/>
                    <a:pt x="47873" y="100786"/>
                  </a:cubicBezTo>
                  <a:cubicBezTo>
                    <a:pt x="49133" y="100786"/>
                    <a:pt x="49133" y="99526"/>
                    <a:pt x="50393" y="99526"/>
                  </a:cubicBezTo>
                  <a:cubicBezTo>
                    <a:pt x="51653" y="98266"/>
                    <a:pt x="54172" y="97006"/>
                    <a:pt x="55432" y="95747"/>
                  </a:cubicBezTo>
                  <a:cubicBezTo>
                    <a:pt x="56692" y="94487"/>
                    <a:pt x="56692" y="94487"/>
                    <a:pt x="57952" y="94487"/>
                  </a:cubicBezTo>
                  <a:cubicBezTo>
                    <a:pt x="57952" y="94487"/>
                    <a:pt x="57952" y="94487"/>
                    <a:pt x="57952" y="93227"/>
                  </a:cubicBezTo>
                  <a:cubicBezTo>
                    <a:pt x="57952" y="91967"/>
                    <a:pt x="57952" y="91967"/>
                    <a:pt x="59212" y="90707"/>
                  </a:cubicBezTo>
                  <a:cubicBezTo>
                    <a:pt x="59212" y="89448"/>
                    <a:pt x="59212" y="88188"/>
                    <a:pt x="59212" y="86928"/>
                  </a:cubicBezTo>
                  <a:cubicBezTo>
                    <a:pt x="59212" y="85668"/>
                    <a:pt x="59212" y="84408"/>
                    <a:pt x="59212" y="83148"/>
                  </a:cubicBezTo>
                  <a:cubicBezTo>
                    <a:pt x="59212" y="80629"/>
                    <a:pt x="59212" y="78109"/>
                    <a:pt x="59212" y="75589"/>
                  </a:cubicBezTo>
                  <a:lnTo>
                    <a:pt x="59212" y="74330"/>
                  </a:lnTo>
                  <a:cubicBezTo>
                    <a:pt x="59212" y="71810"/>
                    <a:pt x="59212" y="69290"/>
                    <a:pt x="59212" y="66771"/>
                  </a:cubicBezTo>
                  <a:cubicBezTo>
                    <a:pt x="59212" y="62991"/>
                    <a:pt x="59212" y="59212"/>
                    <a:pt x="59212" y="56692"/>
                  </a:cubicBezTo>
                  <a:lnTo>
                    <a:pt x="59212" y="55432"/>
                  </a:lnTo>
                  <a:cubicBezTo>
                    <a:pt x="59212" y="52913"/>
                    <a:pt x="59212" y="50393"/>
                    <a:pt x="59212" y="46614"/>
                  </a:cubicBezTo>
                  <a:cubicBezTo>
                    <a:pt x="59212" y="42834"/>
                    <a:pt x="59212" y="40314"/>
                    <a:pt x="59212" y="36535"/>
                  </a:cubicBezTo>
                  <a:cubicBezTo>
                    <a:pt x="59212" y="34015"/>
                    <a:pt x="59212" y="31496"/>
                    <a:pt x="60471" y="27716"/>
                  </a:cubicBezTo>
                  <a:cubicBezTo>
                    <a:pt x="60471" y="23937"/>
                    <a:pt x="61731" y="21417"/>
                    <a:pt x="61731" y="18897"/>
                  </a:cubicBezTo>
                  <a:lnTo>
                    <a:pt x="61731" y="18897"/>
                  </a:lnTo>
                  <a:cubicBezTo>
                    <a:pt x="61731" y="17638"/>
                    <a:pt x="61731" y="16378"/>
                    <a:pt x="62991" y="15118"/>
                  </a:cubicBezTo>
                  <a:cubicBezTo>
                    <a:pt x="62991" y="13858"/>
                    <a:pt x="64251" y="12598"/>
                    <a:pt x="64251" y="11338"/>
                  </a:cubicBezTo>
                  <a:cubicBezTo>
                    <a:pt x="65511" y="8819"/>
                    <a:pt x="68030" y="6299"/>
                    <a:pt x="69290" y="5039"/>
                  </a:cubicBezTo>
                  <a:cubicBezTo>
                    <a:pt x="70550" y="3780"/>
                    <a:pt x="71810" y="2520"/>
                    <a:pt x="74329" y="2520"/>
                  </a:cubicBezTo>
                  <a:cubicBezTo>
                    <a:pt x="75589" y="2520"/>
                    <a:pt x="75589" y="2520"/>
                    <a:pt x="76849" y="2520"/>
                  </a:cubicBezTo>
                  <a:lnTo>
                    <a:pt x="76849" y="2520"/>
                  </a:lnTo>
                  <a:cubicBezTo>
                    <a:pt x="76849" y="2520"/>
                    <a:pt x="78109" y="2520"/>
                    <a:pt x="78109" y="2520"/>
                  </a:cubicBezTo>
                  <a:lnTo>
                    <a:pt x="78109" y="2520"/>
                  </a:lnTo>
                  <a:cubicBezTo>
                    <a:pt x="79369" y="0"/>
                    <a:pt x="79369" y="0"/>
                    <a:pt x="80629" y="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46" name="箭头: 五边形 245"/>
          <p:cNvSpPr/>
          <p:nvPr userDrawn="1"/>
        </p:nvSpPr>
        <p:spPr>
          <a:xfrm flipH="1">
            <a:off x="10325100" y="1664773"/>
            <a:ext cx="1866899" cy="319660"/>
          </a:xfrm>
          <a:prstGeom prst="homePlate">
            <a:avLst/>
          </a:prstGeom>
          <a:solidFill>
            <a:srgbClr val="1D7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userDrawn="1">
  <p:cSld name="节标题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箭头: 五边形 245"/>
          <p:cNvSpPr/>
          <p:nvPr userDrawn="1"/>
        </p:nvSpPr>
        <p:spPr>
          <a:xfrm flipH="1">
            <a:off x="2847623" y="3376928"/>
            <a:ext cx="9344371" cy="1893858"/>
          </a:xfrm>
          <a:prstGeom prst="homePlate">
            <a:avLst>
              <a:gd name="adj" fmla="val 2467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06168" y="3323384"/>
            <a:ext cx="416446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07284" y="4218734"/>
            <a:ext cx="416446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7597183" y="2214010"/>
            <a:ext cx="3768890" cy="2716239"/>
            <a:chOff x="7178083" y="2214010"/>
            <a:chExt cx="3768890" cy="2716239"/>
          </a:xfrm>
        </p:grpSpPr>
        <p:sp>
          <p:nvSpPr>
            <p:cNvPr id="9" name="任意多边形: 形状 8"/>
            <p:cNvSpPr/>
            <p:nvPr/>
          </p:nvSpPr>
          <p:spPr>
            <a:xfrm>
              <a:off x="7403982" y="2425880"/>
              <a:ext cx="3312015" cy="2282372"/>
            </a:xfrm>
            <a:custGeom>
              <a:avLst/>
              <a:gdLst>
                <a:gd name="connsiteX0" fmla="*/ 0 w 4862917"/>
                <a:gd name="connsiteY0" fmla="*/ 0 h 3351129"/>
                <a:gd name="connsiteX1" fmla="*/ 4870477 w 4862917"/>
                <a:gd name="connsiteY1" fmla="*/ 0 h 3351129"/>
                <a:gd name="connsiteX2" fmla="*/ 4870477 w 4862917"/>
                <a:gd name="connsiteY2" fmla="*/ 3351130 h 3351129"/>
                <a:gd name="connsiteX3" fmla="*/ 0 w 4862917"/>
                <a:gd name="connsiteY3" fmla="*/ 3351130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2917" h="3351129">
                  <a:moveTo>
                    <a:pt x="0" y="0"/>
                  </a:moveTo>
                  <a:lnTo>
                    <a:pt x="4870477" y="0"/>
                  </a:lnTo>
                  <a:lnTo>
                    <a:pt x="4870477" y="3351130"/>
                  </a:lnTo>
                  <a:lnTo>
                    <a:pt x="0" y="335113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7403982" y="2425880"/>
              <a:ext cx="3312015" cy="2282372"/>
            </a:xfrm>
            <a:custGeom>
              <a:avLst/>
              <a:gdLst>
                <a:gd name="connsiteX0" fmla="*/ 4870477 w 4862917"/>
                <a:gd name="connsiteY0" fmla="*/ 3351130 h 3351129"/>
                <a:gd name="connsiteX1" fmla="*/ 0 w 4862917"/>
                <a:gd name="connsiteY1" fmla="*/ 3351130 h 3351129"/>
                <a:gd name="connsiteX2" fmla="*/ 0 w 4862917"/>
                <a:gd name="connsiteY2" fmla="*/ 0 h 3351129"/>
                <a:gd name="connsiteX3" fmla="*/ 89447 w 4862917"/>
                <a:gd name="connsiteY3" fmla="*/ 89447 h 3351129"/>
                <a:gd name="connsiteX4" fmla="*/ 4781029 w 4862917"/>
                <a:gd name="connsiteY4" fmla="*/ 3261683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2917" h="3351129">
                  <a:moveTo>
                    <a:pt x="4870477" y="3351130"/>
                  </a:moveTo>
                  <a:lnTo>
                    <a:pt x="0" y="3351130"/>
                  </a:lnTo>
                  <a:lnTo>
                    <a:pt x="0" y="0"/>
                  </a:lnTo>
                  <a:lnTo>
                    <a:pt x="89447" y="89447"/>
                  </a:lnTo>
                  <a:lnTo>
                    <a:pt x="4781029" y="3261683"/>
                  </a:lnTo>
                  <a:close/>
                </a:path>
              </a:pathLst>
            </a:custGeom>
            <a:solidFill>
              <a:srgbClr val="F4BA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7464985" y="2486867"/>
              <a:ext cx="3191890" cy="2153667"/>
            </a:xfrm>
            <a:custGeom>
              <a:avLst/>
              <a:gdLst>
                <a:gd name="connsiteX0" fmla="*/ 4691582 w 4686542"/>
                <a:gd name="connsiteY0" fmla="*/ 0 h 3162156"/>
                <a:gd name="connsiteX1" fmla="*/ 4691582 w 4686542"/>
                <a:gd name="connsiteY1" fmla="*/ 3172235 h 3162156"/>
                <a:gd name="connsiteX2" fmla="*/ 0 w 4686542"/>
                <a:gd name="connsiteY2" fmla="*/ 3172235 h 3162156"/>
                <a:gd name="connsiteX3" fmla="*/ 0 w 4686542"/>
                <a:gd name="connsiteY3" fmla="*/ 0 h 316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542" h="3162156">
                  <a:moveTo>
                    <a:pt x="4691582" y="0"/>
                  </a:moveTo>
                  <a:lnTo>
                    <a:pt x="4691582" y="3172235"/>
                  </a:lnTo>
                  <a:lnTo>
                    <a:pt x="0" y="31722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/>
          </p:nvSpPr>
          <p:spPr>
            <a:xfrm>
              <a:off x="7464902" y="2486800"/>
              <a:ext cx="3114666" cy="2076444"/>
            </a:xfrm>
            <a:custGeom>
              <a:avLst/>
              <a:gdLst>
                <a:gd name="connsiteX0" fmla="*/ 0 w 4573158"/>
                <a:gd name="connsiteY0" fmla="*/ 3050032 h 3048772"/>
                <a:gd name="connsiteX1" fmla="*/ 0 w 4573158"/>
                <a:gd name="connsiteY1" fmla="*/ 0 h 3048772"/>
                <a:gd name="connsiteX2" fmla="*/ 4581977 w 4573158"/>
                <a:gd name="connsiteY2" fmla="*/ 0 h 3048772"/>
                <a:gd name="connsiteX3" fmla="*/ 4581977 w 4573158"/>
                <a:gd name="connsiteY3" fmla="*/ 2874917 h 3048772"/>
                <a:gd name="connsiteX4" fmla="*/ 4406862 w 4573158"/>
                <a:gd name="connsiteY4" fmla="*/ 3050032 h 3048772"/>
                <a:gd name="connsiteX5" fmla="*/ 0 w 4573158"/>
                <a:gd name="connsiteY5" fmla="*/ 3050032 h 304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3158" h="3048772">
                  <a:moveTo>
                    <a:pt x="0" y="3050032"/>
                  </a:moveTo>
                  <a:lnTo>
                    <a:pt x="0" y="0"/>
                  </a:lnTo>
                  <a:lnTo>
                    <a:pt x="4581977" y="0"/>
                  </a:lnTo>
                  <a:lnTo>
                    <a:pt x="4581977" y="2874917"/>
                  </a:lnTo>
                  <a:cubicBezTo>
                    <a:pt x="4581977" y="2971923"/>
                    <a:pt x="4503868" y="3050032"/>
                    <a:pt x="4406862" y="3050032"/>
                  </a:cubicBezTo>
                  <a:lnTo>
                    <a:pt x="0" y="3050032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/>
          </p:nvSpPr>
          <p:spPr>
            <a:xfrm>
              <a:off x="9203281" y="3532744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9203281" y="3627128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9203281" y="3722370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9203281" y="3816754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9203281" y="3911138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9203281" y="4005522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9203281" y="4100763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9540488" y="2734773"/>
              <a:ext cx="789392" cy="626365"/>
            </a:xfrm>
            <a:custGeom>
              <a:avLst/>
              <a:gdLst>
                <a:gd name="connsiteX0" fmla="*/ 1088488 w 1159037"/>
                <a:gd name="connsiteY0" fmla="*/ 924710 h 919671"/>
                <a:gd name="connsiteX1" fmla="*/ 75589 w 1159037"/>
                <a:gd name="connsiteY1" fmla="*/ 924710 h 919671"/>
                <a:gd name="connsiteX2" fmla="*/ 0 w 1159037"/>
                <a:gd name="connsiteY2" fmla="*/ 849121 h 919671"/>
                <a:gd name="connsiteX3" fmla="*/ 0 w 1159037"/>
                <a:gd name="connsiteY3" fmla="*/ 75589 h 919671"/>
                <a:gd name="connsiteX4" fmla="*/ 75589 w 1159037"/>
                <a:gd name="connsiteY4" fmla="*/ 0 h 919671"/>
                <a:gd name="connsiteX5" fmla="*/ 1088488 w 1159037"/>
                <a:gd name="connsiteY5" fmla="*/ 0 h 919671"/>
                <a:gd name="connsiteX6" fmla="*/ 1164077 w 1159037"/>
                <a:gd name="connsiteY6" fmla="*/ 75589 h 919671"/>
                <a:gd name="connsiteX7" fmla="*/ 1164077 w 1159037"/>
                <a:gd name="connsiteY7" fmla="*/ 849121 h 919671"/>
                <a:gd name="connsiteX8" fmla="*/ 1088488 w 1159037"/>
                <a:gd name="connsiteY8" fmla="*/ 924710 h 919671"/>
                <a:gd name="connsiteX9" fmla="*/ 74330 w 1159037"/>
                <a:gd name="connsiteY9" fmla="*/ 18897 h 919671"/>
                <a:gd name="connsiteX10" fmla="*/ 17638 w 1159037"/>
                <a:gd name="connsiteY10" fmla="*/ 75589 h 919671"/>
                <a:gd name="connsiteX11" fmla="*/ 17638 w 1159037"/>
                <a:gd name="connsiteY11" fmla="*/ 849121 h 919671"/>
                <a:gd name="connsiteX12" fmla="*/ 74330 w 1159037"/>
                <a:gd name="connsiteY12" fmla="*/ 905813 h 919671"/>
                <a:gd name="connsiteX13" fmla="*/ 1087228 w 1159037"/>
                <a:gd name="connsiteY13" fmla="*/ 905813 h 919671"/>
                <a:gd name="connsiteX14" fmla="*/ 1143920 w 1159037"/>
                <a:gd name="connsiteY14" fmla="*/ 849121 h 919671"/>
                <a:gd name="connsiteX15" fmla="*/ 1143920 w 1159037"/>
                <a:gd name="connsiteY15" fmla="*/ 75589 h 919671"/>
                <a:gd name="connsiteX16" fmla="*/ 1087228 w 1159037"/>
                <a:gd name="connsiteY16" fmla="*/ 18897 h 919671"/>
                <a:gd name="connsiteX17" fmla="*/ 74330 w 1159037"/>
                <a:gd name="connsiteY17" fmla="*/ 18897 h 9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9037" h="919671">
                  <a:moveTo>
                    <a:pt x="1088488" y="924710"/>
                  </a:moveTo>
                  <a:lnTo>
                    <a:pt x="75589" y="924710"/>
                  </a:lnTo>
                  <a:cubicBezTo>
                    <a:pt x="34015" y="924710"/>
                    <a:pt x="0" y="890695"/>
                    <a:pt x="0" y="849121"/>
                  </a:cubicBezTo>
                  <a:lnTo>
                    <a:pt x="0" y="75589"/>
                  </a:lnTo>
                  <a:cubicBezTo>
                    <a:pt x="0" y="34015"/>
                    <a:pt x="34015" y="0"/>
                    <a:pt x="75589" y="0"/>
                  </a:cubicBezTo>
                  <a:lnTo>
                    <a:pt x="1088488" y="0"/>
                  </a:lnTo>
                  <a:cubicBezTo>
                    <a:pt x="1130062" y="0"/>
                    <a:pt x="1164077" y="34015"/>
                    <a:pt x="1164077" y="75589"/>
                  </a:cubicBezTo>
                  <a:lnTo>
                    <a:pt x="1164077" y="849121"/>
                  </a:lnTo>
                  <a:cubicBezTo>
                    <a:pt x="1164077" y="890695"/>
                    <a:pt x="1130062" y="924710"/>
                    <a:pt x="1088488" y="924710"/>
                  </a:cubicBezTo>
                  <a:close/>
                  <a:moveTo>
                    <a:pt x="74330" y="18897"/>
                  </a:moveTo>
                  <a:cubicBezTo>
                    <a:pt x="42834" y="18897"/>
                    <a:pt x="17638" y="44094"/>
                    <a:pt x="17638" y="75589"/>
                  </a:cubicBezTo>
                  <a:lnTo>
                    <a:pt x="17638" y="849121"/>
                  </a:lnTo>
                  <a:cubicBezTo>
                    <a:pt x="17638" y="880617"/>
                    <a:pt x="42834" y="905813"/>
                    <a:pt x="74330" y="905813"/>
                  </a:cubicBezTo>
                  <a:lnTo>
                    <a:pt x="1087228" y="905813"/>
                  </a:lnTo>
                  <a:cubicBezTo>
                    <a:pt x="1118723" y="905813"/>
                    <a:pt x="1143920" y="880617"/>
                    <a:pt x="1143920" y="849121"/>
                  </a:cubicBezTo>
                  <a:lnTo>
                    <a:pt x="1143920" y="75589"/>
                  </a:lnTo>
                  <a:cubicBezTo>
                    <a:pt x="1143920" y="44094"/>
                    <a:pt x="1118723" y="18897"/>
                    <a:pt x="1087228" y="18897"/>
                  </a:cubicBezTo>
                  <a:lnTo>
                    <a:pt x="74330" y="18897"/>
                  </a:ln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7656244" y="2733914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7656244" y="2836879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7656244" y="2938985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573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7656244" y="3041948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7656244" y="3144913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8057594" y="3726661"/>
              <a:ext cx="394696" cy="420437"/>
            </a:xfrm>
            <a:custGeom>
              <a:avLst/>
              <a:gdLst>
                <a:gd name="connsiteX0" fmla="*/ 536994 w 579518"/>
                <a:gd name="connsiteY0" fmla="*/ 618573 h 617313"/>
                <a:gd name="connsiteX1" fmla="*/ 166605 w 579518"/>
                <a:gd name="connsiteY1" fmla="*/ 488811 h 617313"/>
                <a:gd name="connsiteX2" fmla="*/ 309 w 579518"/>
                <a:gd name="connsiteY2" fmla="*/ 8819 h 617313"/>
                <a:gd name="connsiteX3" fmla="*/ 9128 w 579518"/>
                <a:gd name="connsiteY3" fmla="*/ 0 h 617313"/>
                <a:gd name="connsiteX4" fmla="*/ 9128 w 579518"/>
                <a:gd name="connsiteY4" fmla="*/ 0 h 617313"/>
                <a:gd name="connsiteX5" fmla="*/ 17946 w 579518"/>
                <a:gd name="connsiteY5" fmla="*/ 10079 h 617313"/>
                <a:gd name="connsiteX6" fmla="*/ 177944 w 579518"/>
                <a:gd name="connsiteY6" fmla="*/ 474953 h 617313"/>
                <a:gd name="connsiteX7" fmla="*/ 579828 w 579518"/>
                <a:gd name="connsiteY7" fmla="*/ 598416 h 617313"/>
                <a:gd name="connsiteX8" fmla="*/ 589906 w 579518"/>
                <a:gd name="connsiteY8" fmla="*/ 607235 h 617313"/>
                <a:gd name="connsiteX9" fmla="*/ 581087 w 579518"/>
                <a:gd name="connsiteY9" fmla="*/ 617313 h 617313"/>
                <a:gd name="connsiteX10" fmla="*/ 536994 w 579518"/>
                <a:gd name="connsiteY10" fmla="*/ 618573 h 61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518" h="617313">
                  <a:moveTo>
                    <a:pt x="536994" y="618573"/>
                  </a:moveTo>
                  <a:cubicBezTo>
                    <a:pt x="457625" y="618573"/>
                    <a:pt x="292588" y="603455"/>
                    <a:pt x="166605" y="488811"/>
                  </a:cubicBezTo>
                  <a:cubicBezTo>
                    <a:pt x="51962" y="384246"/>
                    <a:pt x="-4731" y="222989"/>
                    <a:pt x="309" y="8819"/>
                  </a:cubicBezTo>
                  <a:cubicBezTo>
                    <a:pt x="309" y="3780"/>
                    <a:pt x="4088" y="0"/>
                    <a:pt x="9128" y="0"/>
                  </a:cubicBezTo>
                  <a:cubicBezTo>
                    <a:pt x="9128" y="0"/>
                    <a:pt x="9128" y="0"/>
                    <a:pt x="9128" y="0"/>
                  </a:cubicBezTo>
                  <a:cubicBezTo>
                    <a:pt x="14167" y="0"/>
                    <a:pt x="17946" y="5039"/>
                    <a:pt x="17946" y="10079"/>
                  </a:cubicBezTo>
                  <a:cubicBezTo>
                    <a:pt x="12907" y="217949"/>
                    <a:pt x="67079" y="374167"/>
                    <a:pt x="177944" y="474953"/>
                  </a:cubicBezTo>
                  <a:cubicBezTo>
                    <a:pt x="341721" y="623613"/>
                    <a:pt x="577308" y="598416"/>
                    <a:pt x="579828" y="598416"/>
                  </a:cubicBezTo>
                  <a:cubicBezTo>
                    <a:pt x="584867" y="598416"/>
                    <a:pt x="589906" y="600936"/>
                    <a:pt x="589906" y="607235"/>
                  </a:cubicBezTo>
                  <a:cubicBezTo>
                    <a:pt x="589906" y="612274"/>
                    <a:pt x="587387" y="617313"/>
                    <a:pt x="581087" y="617313"/>
                  </a:cubicBezTo>
                  <a:cubicBezTo>
                    <a:pt x="581087" y="616054"/>
                    <a:pt x="564710" y="618573"/>
                    <a:pt x="536994" y="618573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8030132" y="3726322"/>
              <a:ext cx="68643" cy="34321"/>
            </a:xfrm>
            <a:custGeom>
              <a:avLst/>
              <a:gdLst>
                <a:gd name="connsiteX0" fmla="*/ 9134 w 100785"/>
                <a:gd name="connsiteY0" fmla="*/ 60968 h 50392"/>
                <a:gd name="connsiteX1" fmla="*/ 2835 w 100785"/>
                <a:gd name="connsiteY1" fmla="*/ 58448 h 50392"/>
                <a:gd name="connsiteX2" fmla="*/ 2835 w 100785"/>
                <a:gd name="connsiteY2" fmla="*/ 44590 h 50392"/>
                <a:gd name="connsiteX3" fmla="*/ 41889 w 100785"/>
                <a:gd name="connsiteY3" fmla="*/ 3016 h 50392"/>
                <a:gd name="connsiteX4" fmla="*/ 54487 w 100785"/>
                <a:gd name="connsiteY4" fmla="*/ 1756 h 50392"/>
                <a:gd name="connsiteX5" fmla="*/ 99841 w 100785"/>
                <a:gd name="connsiteY5" fmla="*/ 38291 h 50392"/>
                <a:gd name="connsiteX6" fmla="*/ 101101 w 100785"/>
                <a:gd name="connsiteY6" fmla="*/ 52149 h 50392"/>
                <a:gd name="connsiteX7" fmla="*/ 87243 w 100785"/>
                <a:gd name="connsiteY7" fmla="*/ 53409 h 50392"/>
                <a:gd name="connsiteX8" fmla="*/ 48188 w 100785"/>
                <a:gd name="connsiteY8" fmla="*/ 21913 h 50392"/>
                <a:gd name="connsiteX9" fmla="*/ 14173 w 100785"/>
                <a:gd name="connsiteY9" fmla="*/ 57188 h 50392"/>
                <a:gd name="connsiteX10" fmla="*/ 9134 w 100785"/>
                <a:gd name="connsiteY10" fmla="*/ 60968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785" h="50392">
                  <a:moveTo>
                    <a:pt x="9134" y="60968"/>
                  </a:moveTo>
                  <a:cubicBezTo>
                    <a:pt x="6614" y="60968"/>
                    <a:pt x="4094" y="59708"/>
                    <a:pt x="2835" y="58448"/>
                  </a:cubicBezTo>
                  <a:cubicBezTo>
                    <a:pt x="-945" y="54669"/>
                    <a:pt x="-945" y="48370"/>
                    <a:pt x="2835" y="44590"/>
                  </a:cubicBezTo>
                  <a:lnTo>
                    <a:pt x="41889" y="3016"/>
                  </a:lnTo>
                  <a:cubicBezTo>
                    <a:pt x="45669" y="-764"/>
                    <a:pt x="50708" y="-764"/>
                    <a:pt x="54487" y="1756"/>
                  </a:cubicBezTo>
                  <a:lnTo>
                    <a:pt x="99841" y="38291"/>
                  </a:lnTo>
                  <a:cubicBezTo>
                    <a:pt x="103620" y="42071"/>
                    <a:pt x="104880" y="47110"/>
                    <a:pt x="101101" y="52149"/>
                  </a:cubicBezTo>
                  <a:cubicBezTo>
                    <a:pt x="97321" y="55928"/>
                    <a:pt x="92282" y="57188"/>
                    <a:pt x="87243" y="53409"/>
                  </a:cubicBezTo>
                  <a:lnTo>
                    <a:pt x="48188" y="21913"/>
                  </a:lnTo>
                  <a:lnTo>
                    <a:pt x="14173" y="57188"/>
                  </a:lnTo>
                  <a:cubicBezTo>
                    <a:pt x="14173" y="59708"/>
                    <a:pt x="11653" y="60968"/>
                    <a:pt x="9134" y="60968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8091268" y="3368860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8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8"/>
                    <a:pt x="773532" y="25196"/>
                  </a:cubicBezTo>
                  <a:lnTo>
                    <a:pt x="773532" y="224248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7785807" y="3480404"/>
              <a:ext cx="523401" cy="16302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8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8"/>
                  </a:lnTo>
                  <a:cubicBezTo>
                    <a:pt x="772272" y="238107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/>
            <p:cNvSpPr/>
            <p:nvPr/>
          </p:nvSpPr>
          <p:spPr>
            <a:xfrm>
              <a:off x="8091268" y="3324242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9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9"/>
                    <a:pt x="773532" y="25196"/>
                  </a:cubicBezTo>
                  <a:lnTo>
                    <a:pt x="773532" y="224249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/>
            <p:cNvSpPr/>
            <p:nvPr/>
          </p:nvSpPr>
          <p:spPr>
            <a:xfrm>
              <a:off x="9936043" y="2712463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10217478" y="2932978"/>
              <a:ext cx="240250" cy="163026"/>
            </a:xfrm>
            <a:custGeom>
              <a:avLst/>
              <a:gdLst>
                <a:gd name="connsiteX0" fmla="*/ 335113 w 352750"/>
                <a:gd name="connsiteY0" fmla="*/ 249445 h 239366"/>
                <a:gd name="connsiteX1" fmla="*/ 25196 w 352750"/>
                <a:gd name="connsiteY1" fmla="*/ 249445 h 239366"/>
                <a:gd name="connsiteX2" fmla="*/ 0 w 352750"/>
                <a:gd name="connsiteY2" fmla="*/ 224248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4248 h 239366"/>
                <a:gd name="connsiteX8" fmla="*/ 335113 w 352750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4248"/>
                  </a:lnTo>
                  <a:cubicBezTo>
                    <a:pt x="359050" y="238107"/>
                    <a:pt x="347711" y="249445"/>
                    <a:pt x="335113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/>
            <p:cNvSpPr/>
            <p:nvPr/>
          </p:nvSpPr>
          <p:spPr>
            <a:xfrm>
              <a:off x="9936043" y="2655833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/>
            <p:cNvSpPr/>
            <p:nvPr/>
          </p:nvSpPr>
          <p:spPr>
            <a:xfrm>
              <a:off x="10217478" y="2877206"/>
              <a:ext cx="240250" cy="163026"/>
            </a:xfrm>
            <a:custGeom>
              <a:avLst/>
              <a:gdLst>
                <a:gd name="connsiteX0" fmla="*/ 335113 w 352750"/>
                <a:gd name="connsiteY0" fmla="*/ 248185 h 239366"/>
                <a:gd name="connsiteX1" fmla="*/ 25196 w 352750"/>
                <a:gd name="connsiteY1" fmla="*/ 248185 h 239366"/>
                <a:gd name="connsiteX2" fmla="*/ 0 w 352750"/>
                <a:gd name="connsiteY2" fmla="*/ 222989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2989 h 239366"/>
                <a:gd name="connsiteX8" fmla="*/ 335113 w 352750"/>
                <a:gd name="connsiteY8" fmla="*/ 24818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8185"/>
                  </a:moveTo>
                  <a:lnTo>
                    <a:pt x="25196" y="248185"/>
                  </a:lnTo>
                  <a:cubicBezTo>
                    <a:pt x="11338" y="248185"/>
                    <a:pt x="0" y="236847"/>
                    <a:pt x="0" y="22298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2989"/>
                  </a:lnTo>
                  <a:cubicBezTo>
                    <a:pt x="359050" y="236847"/>
                    <a:pt x="347711" y="248185"/>
                    <a:pt x="335113" y="24818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/>
            <p:cNvSpPr/>
            <p:nvPr/>
          </p:nvSpPr>
          <p:spPr>
            <a:xfrm>
              <a:off x="7785807" y="3434929"/>
              <a:ext cx="523401" cy="16302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9366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/>
            <p:cNvSpPr/>
            <p:nvPr/>
          </p:nvSpPr>
          <p:spPr>
            <a:xfrm>
              <a:off x="10171450" y="3911851"/>
              <a:ext cx="429018" cy="926677"/>
            </a:xfrm>
            <a:custGeom>
              <a:avLst/>
              <a:gdLst>
                <a:gd name="connsiteX0" fmla="*/ 416553 w 629911"/>
                <a:gd name="connsiteY0" fmla="*/ 1364602 h 1360609"/>
                <a:gd name="connsiteX1" fmla="*/ 582850 w 629911"/>
                <a:gd name="connsiteY1" fmla="*/ 1120196 h 1360609"/>
                <a:gd name="connsiteX2" fmla="*/ 615606 w 629911"/>
                <a:gd name="connsiteY2" fmla="*/ 715793 h 1360609"/>
                <a:gd name="connsiteX3" fmla="*/ 405215 w 629911"/>
                <a:gd name="connsiteY3" fmla="*/ 386979 h 1360609"/>
                <a:gd name="connsiteX4" fmla="*/ 338445 w 629911"/>
                <a:gd name="connsiteY4" fmla="*/ 95960 h 1360609"/>
                <a:gd name="connsiteX5" fmla="*/ 13410 w 629911"/>
                <a:gd name="connsiteY5" fmla="*/ 249658 h 1360609"/>
                <a:gd name="connsiteX6" fmla="*/ 125534 w 629911"/>
                <a:gd name="connsiteY6" fmla="*/ 540677 h 1360609"/>
                <a:gd name="connsiteX7" fmla="*/ 121755 w 629911"/>
                <a:gd name="connsiteY7" fmla="*/ 845554 h 1360609"/>
                <a:gd name="connsiteX8" fmla="*/ 242698 w 629911"/>
                <a:gd name="connsiteY8" fmla="*/ 1157990 h 1360609"/>
                <a:gd name="connsiteX9" fmla="*/ 416553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416553" y="1364602"/>
                  </a:moveTo>
                  <a:cubicBezTo>
                    <a:pt x="511040" y="1350744"/>
                    <a:pt x="599228" y="1305390"/>
                    <a:pt x="582850" y="1120196"/>
                  </a:cubicBezTo>
                  <a:cubicBezTo>
                    <a:pt x="566472" y="935002"/>
                    <a:pt x="667258" y="890908"/>
                    <a:pt x="615606" y="715793"/>
                  </a:cubicBezTo>
                  <a:cubicBezTo>
                    <a:pt x="563953" y="540677"/>
                    <a:pt x="401436" y="533118"/>
                    <a:pt x="405215" y="386979"/>
                  </a:cubicBezTo>
                  <a:cubicBezTo>
                    <a:pt x="407735" y="315169"/>
                    <a:pt x="392617" y="185407"/>
                    <a:pt x="338445" y="95960"/>
                  </a:cubicBezTo>
                  <a:cubicBezTo>
                    <a:pt x="247737" y="-53959"/>
                    <a:pt x="-68479" y="-46401"/>
                    <a:pt x="13410" y="249658"/>
                  </a:cubicBezTo>
                  <a:cubicBezTo>
                    <a:pt x="41126" y="350444"/>
                    <a:pt x="121755" y="407136"/>
                    <a:pt x="125534" y="540677"/>
                  </a:cubicBezTo>
                  <a:cubicBezTo>
                    <a:pt x="128054" y="635164"/>
                    <a:pt x="78921" y="675478"/>
                    <a:pt x="121755" y="845554"/>
                  </a:cubicBezTo>
                  <a:cubicBezTo>
                    <a:pt x="160809" y="997993"/>
                    <a:pt x="255296" y="1006812"/>
                    <a:pt x="242698" y="1157990"/>
                  </a:cubicBezTo>
                  <a:cubicBezTo>
                    <a:pt x="230100" y="1310429"/>
                    <a:pt x="304429" y="1380979"/>
                    <a:pt x="416553" y="136460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/>
            <p:cNvSpPr/>
            <p:nvPr/>
          </p:nvSpPr>
          <p:spPr>
            <a:xfrm>
              <a:off x="10263458" y="3918694"/>
              <a:ext cx="205929" cy="892356"/>
            </a:xfrm>
            <a:custGeom>
              <a:avLst/>
              <a:gdLst>
                <a:gd name="connsiteX0" fmla="*/ 304138 w 302357"/>
                <a:gd name="connsiteY0" fmla="*/ 1320539 h 1310216"/>
                <a:gd name="connsiteX1" fmla="*/ 307918 w 302357"/>
                <a:gd name="connsiteY1" fmla="*/ 1319279 h 1310216"/>
                <a:gd name="connsiteX2" fmla="*/ 311697 w 302357"/>
                <a:gd name="connsiteY2" fmla="*/ 1304162 h 1310216"/>
                <a:gd name="connsiteX3" fmla="*/ 277682 w 302357"/>
                <a:gd name="connsiteY3" fmla="*/ 1142904 h 1310216"/>
                <a:gd name="connsiteX4" fmla="*/ 276422 w 302357"/>
                <a:gd name="connsiteY4" fmla="*/ 1059755 h 1310216"/>
                <a:gd name="connsiteX5" fmla="*/ 215951 w 302357"/>
                <a:gd name="connsiteY5" fmla="*/ 621337 h 1310216"/>
                <a:gd name="connsiteX6" fmla="*/ 137842 w 302357"/>
                <a:gd name="connsiteY6" fmla="*/ 476457 h 1310216"/>
                <a:gd name="connsiteX7" fmla="*/ 58473 w 302357"/>
                <a:gd name="connsiteY7" fmla="*/ 326539 h 1310216"/>
                <a:gd name="connsiteX8" fmla="*/ 33276 w 302357"/>
                <a:gd name="connsiteY8" fmla="*/ 12842 h 1310216"/>
                <a:gd name="connsiteX9" fmla="*/ 25717 w 302357"/>
                <a:gd name="connsiteY9" fmla="*/ 244 h 1310216"/>
                <a:gd name="connsiteX10" fmla="*/ 13119 w 302357"/>
                <a:gd name="connsiteY10" fmla="*/ 7803 h 1310216"/>
                <a:gd name="connsiteX11" fmla="*/ 39575 w 302357"/>
                <a:gd name="connsiteY11" fmla="*/ 334097 h 1310216"/>
                <a:gd name="connsiteX12" fmla="*/ 120204 w 302357"/>
                <a:gd name="connsiteY12" fmla="*/ 486536 h 1310216"/>
                <a:gd name="connsiteX13" fmla="*/ 197053 w 302357"/>
                <a:gd name="connsiteY13" fmla="*/ 628896 h 1310216"/>
                <a:gd name="connsiteX14" fmla="*/ 256265 w 302357"/>
                <a:gd name="connsiteY14" fmla="*/ 1059755 h 1310216"/>
                <a:gd name="connsiteX15" fmla="*/ 257525 w 302357"/>
                <a:gd name="connsiteY15" fmla="*/ 1142904 h 1310216"/>
                <a:gd name="connsiteX16" fmla="*/ 295319 w 302357"/>
                <a:gd name="connsiteY16" fmla="*/ 1315500 h 1310216"/>
                <a:gd name="connsiteX17" fmla="*/ 304138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304138" y="1320539"/>
                  </a:moveTo>
                  <a:cubicBezTo>
                    <a:pt x="305398" y="1320539"/>
                    <a:pt x="306658" y="1319279"/>
                    <a:pt x="307918" y="1319279"/>
                  </a:cubicBezTo>
                  <a:cubicBezTo>
                    <a:pt x="312957" y="1316760"/>
                    <a:pt x="314217" y="1309201"/>
                    <a:pt x="311697" y="1304162"/>
                  </a:cubicBezTo>
                  <a:cubicBezTo>
                    <a:pt x="282721" y="1257548"/>
                    <a:pt x="278942" y="1199596"/>
                    <a:pt x="277682" y="1142904"/>
                  </a:cubicBezTo>
                  <a:cubicBezTo>
                    <a:pt x="276422" y="1115188"/>
                    <a:pt x="276422" y="1087472"/>
                    <a:pt x="276422" y="1059755"/>
                  </a:cubicBezTo>
                  <a:cubicBezTo>
                    <a:pt x="275162" y="912356"/>
                    <a:pt x="272643" y="758658"/>
                    <a:pt x="215951" y="621337"/>
                  </a:cubicBezTo>
                  <a:cubicBezTo>
                    <a:pt x="194534" y="570944"/>
                    <a:pt x="165558" y="523071"/>
                    <a:pt x="137842" y="476457"/>
                  </a:cubicBezTo>
                  <a:cubicBezTo>
                    <a:pt x="108866" y="428584"/>
                    <a:pt x="79890" y="379451"/>
                    <a:pt x="58473" y="326539"/>
                  </a:cubicBezTo>
                  <a:cubicBezTo>
                    <a:pt x="19418" y="228272"/>
                    <a:pt x="10599" y="116148"/>
                    <a:pt x="33276" y="12842"/>
                  </a:cubicBezTo>
                  <a:cubicBezTo>
                    <a:pt x="34536" y="6543"/>
                    <a:pt x="30757" y="1504"/>
                    <a:pt x="25717" y="244"/>
                  </a:cubicBezTo>
                  <a:cubicBezTo>
                    <a:pt x="19418" y="-1016"/>
                    <a:pt x="14379" y="2764"/>
                    <a:pt x="13119" y="7803"/>
                  </a:cubicBezTo>
                  <a:cubicBezTo>
                    <a:pt x="-10817" y="116148"/>
                    <a:pt x="-1999" y="230792"/>
                    <a:pt x="39575" y="334097"/>
                  </a:cubicBezTo>
                  <a:cubicBezTo>
                    <a:pt x="60992" y="388270"/>
                    <a:pt x="91228" y="438663"/>
                    <a:pt x="120204" y="486536"/>
                  </a:cubicBezTo>
                  <a:cubicBezTo>
                    <a:pt x="147920" y="531890"/>
                    <a:pt x="175636" y="579763"/>
                    <a:pt x="197053" y="628896"/>
                  </a:cubicBezTo>
                  <a:cubicBezTo>
                    <a:pt x="253745" y="762437"/>
                    <a:pt x="255005" y="913616"/>
                    <a:pt x="256265" y="1059755"/>
                  </a:cubicBezTo>
                  <a:cubicBezTo>
                    <a:pt x="256265" y="1087472"/>
                    <a:pt x="256265" y="1115188"/>
                    <a:pt x="257525" y="1142904"/>
                  </a:cubicBezTo>
                  <a:cubicBezTo>
                    <a:pt x="258785" y="1202116"/>
                    <a:pt x="262564" y="1263847"/>
                    <a:pt x="295319" y="1315500"/>
                  </a:cubicBezTo>
                  <a:cubicBezTo>
                    <a:pt x="295319" y="1319279"/>
                    <a:pt x="300359" y="1321799"/>
                    <a:pt x="304138" y="132053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/>
            <p:cNvSpPr/>
            <p:nvPr/>
          </p:nvSpPr>
          <p:spPr>
            <a:xfrm>
              <a:off x="10435638" y="4378071"/>
              <a:ext cx="137286" cy="180187"/>
            </a:xfrm>
            <a:custGeom>
              <a:avLst/>
              <a:gdLst>
                <a:gd name="connsiteX0" fmla="*/ 12276 w 201571"/>
                <a:gd name="connsiteY0" fmla="*/ 264325 h 264562"/>
                <a:gd name="connsiteX1" fmla="*/ 19835 w 201571"/>
                <a:gd name="connsiteY1" fmla="*/ 259286 h 264562"/>
                <a:gd name="connsiteX2" fmla="*/ 199990 w 201571"/>
                <a:gd name="connsiteY2" fmla="*/ 17400 h 264562"/>
                <a:gd name="connsiteX3" fmla="*/ 198730 w 201571"/>
                <a:gd name="connsiteY3" fmla="*/ 2282 h 264562"/>
                <a:gd name="connsiteX4" fmla="*/ 183612 w 201571"/>
                <a:gd name="connsiteY4" fmla="*/ 3542 h 264562"/>
                <a:gd name="connsiteX5" fmla="*/ 2197 w 201571"/>
                <a:gd name="connsiteY5" fmla="*/ 246688 h 264562"/>
                <a:gd name="connsiteX6" fmla="*/ 4717 w 201571"/>
                <a:gd name="connsiteY6" fmla="*/ 261806 h 264562"/>
                <a:gd name="connsiteX7" fmla="*/ 1227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2276" y="264325"/>
                  </a:moveTo>
                  <a:cubicBezTo>
                    <a:pt x="14796" y="264325"/>
                    <a:pt x="17315" y="261806"/>
                    <a:pt x="19835" y="259286"/>
                  </a:cubicBezTo>
                  <a:cubicBezTo>
                    <a:pt x="77787" y="177397"/>
                    <a:pt x="138259" y="95509"/>
                    <a:pt x="199990" y="17400"/>
                  </a:cubicBezTo>
                  <a:cubicBezTo>
                    <a:pt x="203769" y="12361"/>
                    <a:pt x="202510" y="6061"/>
                    <a:pt x="198730" y="2282"/>
                  </a:cubicBezTo>
                  <a:cubicBezTo>
                    <a:pt x="193691" y="-1497"/>
                    <a:pt x="187392" y="-238"/>
                    <a:pt x="183612" y="3542"/>
                  </a:cubicBezTo>
                  <a:cubicBezTo>
                    <a:pt x="120621" y="82911"/>
                    <a:pt x="60149" y="164799"/>
                    <a:pt x="2197" y="246688"/>
                  </a:cubicBezTo>
                  <a:cubicBezTo>
                    <a:pt x="-1582" y="251727"/>
                    <a:pt x="-322" y="258026"/>
                    <a:pt x="4717" y="261806"/>
                  </a:cubicBezTo>
                  <a:cubicBezTo>
                    <a:pt x="7237" y="264325"/>
                    <a:pt x="9756" y="265585"/>
                    <a:pt x="12276" y="26432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/>
            <p:cNvSpPr/>
            <p:nvPr/>
          </p:nvSpPr>
          <p:spPr>
            <a:xfrm>
              <a:off x="10437355" y="4456633"/>
              <a:ext cx="120125" cy="145866"/>
            </a:xfrm>
            <a:custGeom>
              <a:avLst/>
              <a:gdLst>
                <a:gd name="connsiteX0" fmla="*/ 11016 w 176375"/>
                <a:gd name="connsiteY0" fmla="*/ 214485 h 214169"/>
                <a:gd name="connsiteX1" fmla="*/ 18575 w 176375"/>
                <a:gd name="connsiteY1" fmla="*/ 210706 h 214169"/>
                <a:gd name="connsiteX2" fmla="*/ 179833 w 176375"/>
                <a:gd name="connsiteY2" fmla="*/ 17952 h 214169"/>
                <a:gd name="connsiteX3" fmla="*/ 179833 w 176375"/>
                <a:gd name="connsiteY3" fmla="*/ 2835 h 214169"/>
                <a:gd name="connsiteX4" fmla="*/ 164715 w 176375"/>
                <a:gd name="connsiteY4" fmla="*/ 2835 h 214169"/>
                <a:gd name="connsiteX5" fmla="*/ 2198 w 176375"/>
                <a:gd name="connsiteY5" fmla="*/ 198107 h 214169"/>
                <a:gd name="connsiteX6" fmla="*/ 4717 w 176375"/>
                <a:gd name="connsiteY6" fmla="*/ 213225 h 214169"/>
                <a:gd name="connsiteX7" fmla="*/ 11016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1016" y="214485"/>
                  </a:moveTo>
                  <a:cubicBezTo>
                    <a:pt x="13536" y="214485"/>
                    <a:pt x="16056" y="213225"/>
                    <a:pt x="18575" y="210706"/>
                  </a:cubicBezTo>
                  <a:cubicBezTo>
                    <a:pt x="67708" y="142675"/>
                    <a:pt x="121881" y="78424"/>
                    <a:pt x="179833" y="17952"/>
                  </a:cubicBezTo>
                  <a:cubicBezTo>
                    <a:pt x="183612" y="14173"/>
                    <a:pt x="183612" y="6614"/>
                    <a:pt x="179833" y="2835"/>
                  </a:cubicBezTo>
                  <a:cubicBezTo>
                    <a:pt x="176053" y="-945"/>
                    <a:pt x="168494" y="-945"/>
                    <a:pt x="164715" y="2835"/>
                  </a:cubicBezTo>
                  <a:cubicBezTo>
                    <a:pt x="106763" y="63306"/>
                    <a:pt x="51331" y="128817"/>
                    <a:pt x="2198" y="198107"/>
                  </a:cubicBezTo>
                  <a:cubicBezTo>
                    <a:pt x="-1582" y="203147"/>
                    <a:pt x="-322" y="209446"/>
                    <a:pt x="4717" y="213225"/>
                  </a:cubicBezTo>
                  <a:cubicBezTo>
                    <a:pt x="4717" y="214485"/>
                    <a:pt x="8497" y="214485"/>
                    <a:pt x="11016" y="21448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10437355" y="4584576"/>
              <a:ext cx="77223" cy="85803"/>
            </a:xfrm>
            <a:custGeom>
              <a:avLst/>
              <a:gdLst>
                <a:gd name="connsiteX0" fmla="*/ 12276 w 113384"/>
                <a:gd name="connsiteY0" fmla="*/ 136235 h 125982"/>
                <a:gd name="connsiteX1" fmla="*/ 19835 w 113384"/>
                <a:gd name="connsiteY1" fmla="*/ 131196 h 125982"/>
                <a:gd name="connsiteX2" fmla="*/ 121881 w 113384"/>
                <a:gd name="connsiteY2" fmla="*/ 19071 h 125982"/>
                <a:gd name="connsiteX3" fmla="*/ 123141 w 113384"/>
                <a:gd name="connsiteY3" fmla="*/ 3954 h 125982"/>
                <a:gd name="connsiteX4" fmla="*/ 108023 w 113384"/>
                <a:gd name="connsiteY4" fmla="*/ 2694 h 125982"/>
                <a:gd name="connsiteX5" fmla="*/ 2198 w 113384"/>
                <a:gd name="connsiteY5" fmla="*/ 119857 h 125982"/>
                <a:gd name="connsiteX6" fmla="*/ 4717 w 113384"/>
                <a:gd name="connsiteY6" fmla="*/ 134975 h 125982"/>
                <a:gd name="connsiteX7" fmla="*/ 12276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2276" y="136235"/>
                  </a:moveTo>
                  <a:cubicBezTo>
                    <a:pt x="14796" y="136235"/>
                    <a:pt x="17316" y="133715"/>
                    <a:pt x="19835" y="131196"/>
                  </a:cubicBezTo>
                  <a:cubicBezTo>
                    <a:pt x="48811" y="89622"/>
                    <a:pt x="82826" y="51827"/>
                    <a:pt x="121881" y="19071"/>
                  </a:cubicBezTo>
                  <a:cubicBezTo>
                    <a:pt x="126920" y="15292"/>
                    <a:pt x="126920" y="8993"/>
                    <a:pt x="123141" y="3954"/>
                  </a:cubicBezTo>
                  <a:cubicBezTo>
                    <a:pt x="119361" y="-1085"/>
                    <a:pt x="113062" y="-1085"/>
                    <a:pt x="108023" y="2694"/>
                  </a:cubicBezTo>
                  <a:cubicBezTo>
                    <a:pt x="67708" y="36709"/>
                    <a:pt x="32433" y="75764"/>
                    <a:pt x="2198" y="119857"/>
                  </a:cubicBezTo>
                  <a:cubicBezTo>
                    <a:pt x="-1582" y="124897"/>
                    <a:pt x="-322" y="131196"/>
                    <a:pt x="4717" y="134975"/>
                  </a:cubicBezTo>
                  <a:cubicBezTo>
                    <a:pt x="7237" y="134975"/>
                    <a:pt x="9757" y="136235"/>
                    <a:pt x="12276" y="13623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10264124" y="4391949"/>
              <a:ext cx="171607" cy="85803"/>
            </a:xfrm>
            <a:custGeom>
              <a:avLst/>
              <a:gdLst>
                <a:gd name="connsiteX0" fmla="*/ 255286 w 251964"/>
                <a:gd name="connsiteY0" fmla="*/ 129304 h 125982"/>
                <a:gd name="connsiteX1" fmla="*/ 262845 w 251964"/>
                <a:gd name="connsiteY1" fmla="*/ 124265 h 125982"/>
                <a:gd name="connsiteX2" fmla="*/ 259066 w 251964"/>
                <a:gd name="connsiteY2" fmla="*/ 110407 h 125982"/>
                <a:gd name="connsiteX3" fmla="*/ 14660 w 251964"/>
                <a:gd name="connsiteY3" fmla="*/ 802 h 125982"/>
                <a:gd name="connsiteX4" fmla="*/ 802 w 251964"/>
                <a:gd name="connsiteY4" fmla="*/ 7101 h 125982"/>
                <a:gd name="connsiteX5" fmla="*/ 7101 w 251964"/>
                <a:gd name="connsiteY5" fmla="*/ 20959 h 125982"/>
                <a:gd name="connsiteX6" fmla="*/ 248987 w 251964"/>
                <a:gd name="connsiteY6" fmla="*/ 129304 h 125982"/>
                <a:gd name="connsiteX7" fmla="*/ 255286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255286" y="129304"/>
                  </a:moveTo>
                  <a:cubicBezTo>
                    <a:pt x="259066" y="129304"/>
                    <a:pt x="261585" y="126784"/>
                    <a:pt x="262845" y="124265"/>
                  </a:cubicBezTo>
                  <a:cubicBezTo>
                    <a:pt x="265365" y="119225"/>
                    <a:pt x="264105" y="112926"/>
                    <a:pt x="259066" y="110407"/>
                  </a:cubicBezTo>
                  <a:cubicBezTo>
                    <a:pt x="180957" y="68832"/>
                    <a:pt x="97808" y="31038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90249" y="51195"/>
                    <a:pt x="170878" y="87730"/>
                    <a:pt x="248987" y="129304"/>
                  </a:cubicBezTo>
                  <a:cubicBezTo>
                    <a:pt x="250247" y="129304"/>
                    <a:pt x="252767" y="129304"/>
                    <a:pt x="255286" y="12930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/>
            <p:cNvSpPr/>
            <p:nvPr/>
          </p:nvSpPr>
          <p:spPr>
            <a:xfrm>
              <a:off x="10254155" y="4438611"/>
              <a:ext cx="180187" cy="68643"/>
            </a:xfrm>
            <a:custGeom>
              <a:avLst/>
              <a:gdLst>
                <a:gd name="connsiteX0" fmla="*/ 264884 w 264562"/>
                <a:gd name="connsiteY0" fmla="*/ 103627 h 100785"/>
                <a:gd name="connsiteX1" fmla="*/ 273703 w 264562"/>
                <a:gd name="connsiteY1" fmla="*/ 96068 h 100785"/>
                <a:gd name="connsiteX2" fmla="*/ 267404 w 264562"/>
                <a:gd name="connsiteY2" fmla="*/ 82209 h 100785"/>
                <a:gd name="connsiteX3" fmla="*/ 14179 w 264562"/>
                <a:gd name="connsiteY3" fmla="*/ 321 h 100785"/>
                <a:gd name="connsiteX4" fmla="*/ 321 w 264562"/>
                <a:gd name="connsiteY4" fmla="*/ 6620 h 100785"/>
                <a:gd name="connsiteX5" fmla="*/ 6620 w 264562"/>
                <a:gd name="connsiteY5" fmla="*/ 20478 h 100785"/>
                <a:gd name="connsiteX6" fmla="*/ 259845 w 264562"/>
                <a:gd name="connsiteY6" fmla="*/ 102367 h 100785"/>
                <a:gd name="connsiteX7" fmla="*/ 264884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264884" y="103627"/>
                  </a:moveTo>
                  <a:cubicBezTo>
                    <a:pt x="268663" y="103627"/>
                    <a:pt x="272443" y="99847"/>
                    <a:pt x="273703" y="96068"/>
                  </a:cubicBezTo>
                  <a:cubicBezTo>
                    <a:pt x="274962" y="91028"/>
                    <a:pt x="272443" y="84729"/>
                    <a:pt x="267404" y="82209"/>
                  </a:cubicBezTo>
                  <a:lnTo>
                    <a:pt x="14179" y="321"/>
                  </a:lnTo>
                  <a:cubicBezTo>
                    <a:pt x="9140" y="-939"/>
                    <a:pt x="2841" y="1581"/>
                    <a:pt x="321" y="6620"/>
                  </a:cubicBezTo>
                  <a:cubicBezTo>
                    <a:pt x="-939" y="11660"/>
                    <a:pt x="1581" y="17959"/>
                    <a:pt x="6620" y="20478"/>
                  </a:cubicBezTo>
                  <a:lnTo>
                    <a:pt x="259845" y="102367"/>
                  </a:lnTo>
                  <a:cubicBezTo>
                    <a:pt x="262364" y="103627"/>
                    <a:pt x="263624" y="103627"/>
                    <a:pt x="264884" y="10362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10379867" y="4245991"/>
              <a:ext cx="51482" cy="68643"/>
            </a:xfrm>
            <a:custGeom>
              <a:avLst/>
              <a:gdLst>
                <a:gd name="connsiteX0" fmla="*/ 12276 w 75589"/>
                <a:gd name="connsiteY0" fmla="*/ 104243 h 100785"/>
                <a:gd name="connsiteX1" fmla="*/ 19835 w 75589"/>
                <a:gd name="connsiteY1" fmla="*/ 100464 h 100785"/>
                <a:gd name="connsiteX2" fmla="*/ 81567 w 75589"/>
                <a:gd name="connsiteY2" fmla="*/ 17315 h 100785"/>
                <a:gd name="connsiteX3" fmla="*/ 79047 w 75589"/>
                <a:gd name="connsiteY3" fmla="*/ 2198 h 100785"/>
                <a:gd name="connsiteX4" fmla="*/ 63929 w 75589"/>
                <a:gd name="connsiteY4" fmla="*/ 4717 h 100785"/>
                <a:gd name="connsiteX5" fmla="*/ 2197 w 75589"/>
                <a:gd name="connsiteY5" fmla="*/ 87866 h 100785"/>
                <a:gd name="connsiteX6" fmla="*/ 4717 w 75589"/>
                <a:gd name="connsiteY6" fmla="*/ 102983 h 100785"/>
                <a:gd name="connsiteX7" fmla="*/ 12276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12276" y="104243"/>
                  </a:moveTo>
                  <a:cubicBezTo>
                    <a:pt x="14796" y="104243"/>
                    <a:pt x="17315" y="102983"/>
                    <a:pt x="19835" y="100464"/>
                  </a:cubicBezTo>
                  <a:lnTo>
                    <a:pt x="81567" y="17315"/>
                  </a:lnTo>
                  <a:cubicBezTo>
                    <a:pt x="85346" y="12276"/>
                    <a:pt x="84086" y="5977"/>
                    <a:pt x="79047" y="2198"/>
                  </a:cubicBezTo>
                  <a:cubicBezTo>
                    <a:pt x="74007" y="-1582"/>
                    <a:pt x="67708" y="-322"/>
                    <a:pt x="63929" y="4717"/>
                  </a:cubicBezTo>
                  <a:lnTo>
                    <a:pt x="2197" y="87866"/>
                  </a:lnTo>
                  <a:cubicBezTo>
                    <a:pt x="-1582" y="92905"/>
                    <a:pt x="-322" y="99204"/>
                    <a:pt x="4717" y="102983"/>
                  </a:cubicBezTo>
                  <a:cubicBezTo>
                    <a:pt x="7237" y="104243"/>
                    <a:pt x="9756" y="104243"/>
                    <a:pt x="12276" y="104243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/>
            <p:cNvSpPr/>
            <p:nvPr/>
          </p:nvSpPr>
          <p:spPr>
            <a:xfrm>
              <a:off x="10365060" y="4186186"/>
              <a:ext cx="60063" cy="94384"/>
            </a:xfrm>
            <a:custGeom>
              <a:avLst/>
              <a:gdLst>
                <a:gd name="connsiteX0" fmla="*/ 12598 w 88187"/>
                <a:gd name="connsiteY0" fmla="*/ 145440 h 138580"/>
                <a:gd name="connsiteX1" fmla="*/ 20157 w 88187"/>
                <a:gd name="connsiteY1" fmla="*/ 140400 h 138580"/>
                <a:gd name="connsiteX2" fmla="*/ 93227 w 88187"/>
                <a:gd name="connsiteY2" fmla="*/ 16938 h 138580"/>
                <a:gd name="connsiteX3" fmla="*/ 89448 w 88187"/>
                <a:gd name="connsiteY3" fmla="*/ 1820 h 138580"/>
                <a:gd name="connsiteX4" fmla="*/ 74330 w 88187"/>
                <a:gd name="connsiteY4" fmla="*/ 5599 h 138580"/>
                <a:gd name="connsiteX5" fmla="*/ 1260 w 88187"/>
                <a:gd name="connsiteY5" fmla="*/ 130322 h 138580"/>
                <a:gd name="connsiteX6" fmla="*/ 5039 w 88187"/>
                <a:gd name="connsiteY6" fmla="*/ 144180 h 138580"/>
                <a:gd name="connsiteX7" fmla="*/ 1259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12598" y="145440"/>
                  </a:moveTo>
                  <a:cubicBezTo>
                    <a:pt x="16378" y="145440"/>
                    <a:pt x="18897" y="142920"/>
                    <a:pt x="20157" y="140400"/>
                  </a:cubicBezTo>
                  <a:cubicBezTo>
                    <a:pt x="42834" y="98826"/>
                    <a:pt x="66771" y="57252"/>
                    <a:pt x="93227" y="16938"/>
                  </a:cubicBezTo>
                  <a:cubicBezTo>
                    <a:pt x="97007" y="11898"/>
                    <a:pt x="94487" y="5599"/>
                    <a:pt x="89448" y="1820"/>
                  </a:cubicBezTo>
                  <a:cubicBezTo>
                    <a:pt x="84408" y="-1960"/>
                    <a:pt x="78109" y="560"/>
                    <a:pt x="74330" y="5599"/>
                  </a:cubicBezTo>
                  <a:cubicBezTo>
                    <a:pt x="47874" y="45914"/>
                    <a:pt x="23937" y="87488"/>
                    <a:pt x="1260" y="130322"/>
                  </a:cubicBezTo>
                  <a:cubicBezTo>
                    <a:pt x="-1260" y="135361"/>
                    <a:pt x="0" y="141660"/>
                    <a:pt x="5039" y="144180"/>
                  </a:cubicBezTo>
                  <a:cubicBezTo>
                    <a:pt x="7559" y="145440"/>
                    <a:pt x="10079" y="145440"/>
                    <a:pt x="12598" y="14544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10252112" y="4220342"/>
              <a:ext cx="102964" cy="34321"/>
            </a:xfrm>
            <a:custGeom>
              <a:avLst/>
              <a:gdLst>
                <a:gd name="connsiteX0" fmla="*/ 148201 w 151178"/>
                <a:gd name="connsiteY0" fmla="*/ 61274 h 50392"/>
                <a:gd name="connsiteX1" fmla="*/ 157020 w 151178"/>
                <a:gd name="connsiteY1" fmla="*/ 53715 h 50392"/>
                <a:gd name="connsiteX2" fmla="*/ 149461 w 151178"/>
                <a:gd name="connsiteY2" fmla="*/ 41116 h 50392"/>
                <a:gd name="connsiteX3" fmla="*/ 14660 w 151178"/>
                <a:gd name="connsiteY3" fmla="*/ 802 h 50392"/>
                <a:gd name="connsiteX4" fmla="*/ 802 w 151178"/>
                <a:gd name="connsiteY4" fmla="*/ 7101 h 50392"/>
                <a:gd name="connsiteX5" fmla="*/ 7101 w 151178"/>
                <a:gd name="connsiteY5" fmla="*/ 20959 h 50392"/>
                <a:gd name="connsiteX6" fmla="*/ 144422 w 151178"/>
                <a:gd name="connsiteY6" fmla="*/ 62533 h 50392"/>
                <a:gd name="connsiteX7" fmla="*/ 148201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148201" y="61274"/>
                  </a:moveTo>
                  <a:cubicBezTo>
                    <a:pt x="151981" y="61274"/>
                    <a:pt x="155760" y="57494"/>
                    <a:pt x="157020" y="53715"/>
                  </a:cubicBezTo>
                  <a:cubicBezTo>
                    <a:pt x="158280" y="47416"/>
                    <a:pt x="154500" y="42376"/>
                    <a:pt x="149461" y="41116"/>
                  </a:cubicBezTo>
                  <a:cubicBezTo>
                    <a:pt x="104108" y="29778"/>
                    <a:pt x="58754" y="17180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52455" y="37337"/>
                    <a:pt x="97808" y="51195"/>
                    <a:pt x="144422" y="62533"/>
                  </a:cubicBezTo>
                  <a:cubicBezTo>
                    <a:pt x="145682" y="61274"/>
                    <a:pt x="146941" y="61274"/>
                    <a:pt x="148201" y="6127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10347518" y="4667543"/>
              <a:ext cx="94384" cy="60063"/>
            </a:xfrm>
            <a:custGeom>
              <a:avLst/>
              <a:gdLst>
                <a:gd name="connsiteX0" fmla="*/ 139140 w 138580"/>
                <a:gd name="connsiteY0" fmla="*/ 88748 h 88187"/>
                <a:gd name="connsiteX1" fmla="*/ 146699 w 138580"/>
                <a:gd name="connsiteY1" fmla="*/ 82448 h 88187"/>
                <a:gd name="connsiteX2" fmla="*/ 141660 w 138580"/>
                <a:gd name="connsiteY2" fmla="*/ 68590 h 88187"/>
                <a:gd name="connsiteX3" fmla="*/ 16938 w 138580"/>
                <a:gd name="connsiteY3" fmla="*/ 1820 h 88187"/>
                <a:gd name="connsiteX4" fmla="*/ 1820 w 138580"/>
                <a:gd name="connsiteY4" fmla="*/ 5599 h 88187"/>
                <a:gd name="connsiteX5" fmla="*/ 5599 w 138580"/>
                <a:gd name="connsiteY5" fmla="*/ 20717 h 88187"/>
                <a:gd name="connsiteX6" fmla="*/ 132841 w 138580"/>
                <a:gd name="connsiteY6" fmla="*/ 90008 h 88187"/>
                <a:gd name="connsiteX7" fmla="*/ 139140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139140" y="88748"/>
                  </a:moveTo>
                  <a:cubicBezTo>
                    <a:pt x="142920" y="88748"/>
                    <a:pt x="145439" y="86228"/>
                    <a:pt x="146699" y="82448"/>
                  </a:cubicBezTo>
                  <a:cubicBezTo>
                    <a:pt x="149219" y="77409"/>
                    <a:pt x="146699" y="71110"/>
                    <a:pt x="141660" y="68590"/>
                  </a:cubicBezTo>
                  <a:cubicBezTo>
                    <a:pt x="98826" y="49693"/>
                    <a:pt x="57252" y="27016"/>
                    <a:pt x="16938" y="1820"/>
                  </a:cubicBezTo>
                  <a:cubicBezTo>
                    <a:pt x="11898" y="-1960"/>
                    <a:pt x="5599" y="560"/>
                    <a:pt x="1820" y="5599"/>
                  </a:cubicBezTo>
                  <a:cubicBezTo>
                    <a:pt x="-1960" y="10638"/>
                    <a:pt x="560" y="16938"/>
                    <a:pt x="5599" y="20717"/>
                  </a:cubicBezTo>
                  <a:cubicBezTo>
                    <a:pt x="45914" y="45914"/>
                    <a:pt x="88747" y="69850"/>
                    <a:pt x="132841" y="90008"/>
                  </a:cubicBezTo>
                  <a:cubicBezTo>
                    <a:pt x="135361" y="88748"/>
                    <a:pt x="136621" y="90008"/>
                    <a:pt x="139140" y="887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/>
            <p:cNvSpPr/>
            <p:nvPr/>
          </p:nvSpPr>
          <p:spPr>
            <a:xfrm>
              <a:off x="10301766" y="4027712"/>
              <a:ext cx="94384" cy="137286"/>
            </a:xfrm>
            <a:custGeom>
              <a:avLst/>
              <a:gdLst>
                <a:gd name="connsiteX0" fmla="*/ 12304 w 138580"/>
                <a:gd name="connsiteY0" fmla="*/ 209305 h 201571"/>
                <a:gd name="connsiteX1" fmla="*/ 21123 w 138580"/>
                <a:gd name="connsiteY1" fmla="*/ 203006 h 201571"/>
                <a:gd name="connsiteX2" fmla="*/ 137026 w 138580"/>
                <a:gd name="connsiteY2" fmla="*/ 17812 h 201571"/>
                <a:gd name="connsiteX3" fmla="*/ 135766 w 138580"/>
                <a:gd name="connsiteY3" fmla="*/ 2694 h 201571"/>
                <a:gd name="connsiteX4" fmla="*/ 120649 w 138580"/>
                <a:gd name="connsiteY4" fmla="*/ 3954 h 201571"/>
                <a:gd name="connsiteX5" fmla="*/ 966 w 138580"/>
                <a:gd name="connsiteY5" fmla="*/ 195447 h 201571"/>
                <a:gd name="connsiteX6" fmla="*/ 7265 w 138580"/>
                <a:gd name="connsiteY6" fmla="*/ 209305 h 201571"/>
                <a:gd name="connsiteX7" fmla="*/ 12304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304" y="209305"/>
                  </a:moveTo>
                  <a:cubicBezTo>
                    <a:pt x="16083" y="209305"/>
                    <a:pt x="18603" y="206785"/>
                    <a:pt x="21123" y="203006"/>
                  </a:cubicBezTo>
                  <a:cubicBezTo>
                    <a:pt x="48839" y="134976"/>
                    <a:pt x="87893" y="71984"/>
                    <a:pt x="137026" y="17812"/>
                  </a:cubicBezTo>
                  <a:cubicBezTo>
                    <a:pt x="140806" y="14032"/>
                    <a:pt x="140806" y="6473"/>
                    <a:pt x="135766" y="2694"/>
                  </a:cubicBezTo>
                  <a:cubicBezTo>
                    <a:pt x="131987" y="-1085"/>
                    <a:pt x="124428" y="-1085"/>
                    <a:pt x="120649" y="3954"/>
                  </a:cubicBezTo>
                  <a:cubicBezTo>
                    <a:pt x="68996" y="60646"/>
                    <a:pt x="28681" y="124897"/>
                    <a:pt x="966" y="195447"/>
                  </a:cubicBezTo>
                  <a:cubicBezTo>
                    <a:pt x="-1554" y="200486"/>
                    <a:pt x="966" y="206785"/>
                    <a:pt x="7265" y="209305"/>
                  </a:cubicBezTo>
                  <a:cubicBezTo>
                    <a:pt x="8525" y="209305"/>
                    <a:pt x="11044" y="209305"/>
                    <a:pt x="12304" y="2093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/>
            <p:cNvSpPr/>
            <p:nvPr/>
          </p:nvSpPr>
          <p:spPr>
            <a:xfrm>
              <a:off x="10279457" y="4040043"/>
              <a:ext cx="42902" cy="85803"/>
            </a:xfrm>
            <a:custGeom>
              <a:avLst/>
              <a:gdLst>
                <a:gd name="connsiteX0" fmla="*/ 12304 w 62991"/>
                <a:gd name="connsiteY0" fmla="*/ 126948 h 125982"/>
                <a:gd name="connsiteX1" fmla="*/ 21123 w 62991"/>
                <a:gd name="connsiteY1" fmla="*/ 120649 h 125982"/>
                <a:gd name="connsiteX2" fmla="*/ 65217 w 62991"/>
                <a:gd name="connsiteY2" fmla="*/ 14824 h 125982"/>
                <a:gd name="connsiteX3" fmla="*/ 58918 w 62991"/>
                <a:gd name="connsiteY3" fmla="*/ 966 h 125982"/>
                <a:gd name="connsiteX4" fmla="*/ 45059 w 62991"/>
                <a:gd name="connsiteY4" fmla="*/ 7265 h 125982"/>
                <a:gd name="connsiteX5" fmla="*/ 966 w 62991"/>
                <a:gd name="connsiteY5" fmla="*/ 113090 h 125982"/>
                <a:gd name="connsiteX6" fmla="*/ 7265 w 62991"/>
                <a:gd name="connsiteY6" fmla="*/ 126948 h 125982"/>
                <a:gd name="connsiteX7" fmla="*/ 12304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12304" y="126948"/>
                  </a:moveTo>
                  <a:cubicBezTo>
                    <a:pt x="16084" y="126948"/>
                    <a:pt x="18603" y="124428"/>
                    <a:pt x="21123" y="120649"/>
                  </a:cubicBezTo>
                  <a:lnTo>
                    <a:pt x="65217" y="14824"/>
                  </a:lnTo>
                  <a:cubicBezTo>
                    <a:pt x="67736" y="9784"/>
                    <a:pt x="65217" y="3485"/>
                    <a:pt x="58918" y="966"/>
                  </a:cubicBezTo>
                  <a:cubicBezTo>
                    <a:pt x="53878" y="-1554"/>
                    <a:pt x="47579" y="966"/>
                    <a:pt x="45059" y="7265"/>
                  </a:cubicBezTo>
                  <a:lnTo>
                    <a:pt x="966" y="113090"/>
                  </a:lnTo>
                  <a:cubicBezTo>
                    <a:pt x="-1554" y="118129"/>
                    <a:pt x="966" y="124428"/>
                    <a:pt x="7265" y="126948"/>
                  </a:cubicBezTo>
                  <a:cubicBezTo>
                    <a:pt x="8525" y="126948"/>
                    <a:pt x="11044" y="126948"/>
                    <a:pt x="12304" y="1269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/>
            <p:cNvSpPr/>
            <p:nvPr/>
          </p:nvSpPr>
          <p:spPr>
            <a:xfrm>
              <a:off x="10179944" y="3976568"/>
              <a:ext cx="94384" cy="77223"/>
            </a:xfrm>
            <a:custGeom>
              <a:avLst/>
              <a:gdLst>
                <a:gd name="connsiteX0" fmla="*/ 130700 w 138580"/>
                <a:gd name="connsiteY0" fmla="*/ 120621 h 113384"/>
                <a:gd name="connsiteX1" fmla="*/ 136999 w 138580"/>
                <a:gd name="connsiteY1" fmla="*/ 116841 h 113384"/>
                <a:gd name="connsiteX2" fmla="*/ 135739 w 138580"/>
                <a:gd name="connsiteY2" fmla="*/ 101724 h 113384"/>
                <a:gd name="connsiteX3" fmla="*/ 17316 w 138580"/>
                <a:gd name="connsiteY3" fmla="*/ 2198 h 113384"/>
                <a:gd name="connsiteX4" fmla="*/ 2198 w 138580"/>
                <a:gd name="connsiteY4" fmla="*/ 4717 h 113384"/>
                <a:gd name="connsiteX5" fmla="*/ 4717 w 138580"/>
                <a:gd name="connsiteY5" fmla="*/ 19835 h 113384"/>
                <a:gd name="connsiteX6" fmla="*/ 121881 w 138580"/>
                <a:gd name="connsiteY6" fmla="*/ 118101 h 113384"/>
                <a:gd name="connsiteX7" fmla="*/ 130700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130700" y="120621"/>
                  </a:moveTo>
                  <a:cubicBezTo>
                    <a:pt x="133219" y="120621"/>
                    <a:pt x="135739" y="119361"/>
                    <a:pt x="136999" y="116841"/>
                  </a:cubicBezTo>
                  <a:cubicBezTo>
                    <a:pt x="140778" y="113062"/>
                    <a:pt x="140778" y="105503"/>
                    <a:pt x="135739" y="101724"/>
                  </a:cubicBezTo>
                  <a:cubicBezTo>
                    <a:pt x="97944" y="66448"/>
                    <a:pt x="57630" y="33693"/>
                    <a:pt x="17316" y="2198"/>
                  </a:cubicBezTo>
                  <a:cubicBezTo>
                    <a:pt x="12276" y="-1582"/>
                    <a:pt x="5977" y="-322"/>
                    <a:pt x="2198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45031" y="50071"/>
                    <a:pt x="84086" y="84086"/>
                    <a:pt x="121881" y="118101"/>
                  </a:cubicBezTo>
                  <a:cubicBezTo>
                    <a:pt x="124401" y="120621"/>
                    <a:pt x="128180" y="120621"/>
                    <a:pt x="130700" y="12062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10196246" y="3948253"/>
              <a:ext cx="77223" cy="60063"/>
            </a:xfrm>
            <a:custGeom>
              <a:avLst/>
              <a:gdLst>
                <a:gd name="connsiteX0" fmla="*/ 105503 w 113384"/>
                <a:gd name="connsiteY0" fmla="*/ 92905 h 88187"/>
                <a:gd name="connsiteX1" fmla="*/ 111802 w 113384"/>
                <a:gd name="connsiteY1" fmla="*/ 89125 h 88187"/>
                <a:gd name="connsiteX2" fmla="*/ 110542 w 113384"/>
                <a:gd name="connsiteY2" fmla="*/ 74007 h 88187"/>
                <a:gd name="connsiteX3" fmla="*/ 17315 w 113384"/>
                <a:gd name="connsiteY3" fmla="*/ 2198 h 88187"/>
                <a:gd name="connsiteX4" fmla="*/ 2197 w 113384"/>
                <a:gd name="connsiteY4" fmla="*/ 4717 h 88187"/>
                <a:gd name="connsiteX5" fmla="*/ 4717 w 113384"/>
                <a:gd name="connsiteY5" fmla="*/ 19835 h 88187"/>
                <a:gd name="connsiteX6" fmla="*/ 95424 w 113384"/>
                <a:gd name="connsiteY6" fmla="*/ 90385 h 88187"/>
                <a:gd name="connsiteX7" fmla="*/ 10550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105503" y="92905"/>
                  </a:moveTo>
                  <a:cubicBezTo>
                    <a:pt x="108022" y="92905"/>
                    <a:pt x="110542" y="91645"/>
                    <a:pt x="111802" y="89125"/>
                  </a:cubicBezTo>
                  <a:cubicBezTo>
                    <a:pt x="115582" y="85346"/>
                    <a:pt x="115582" y="77787"/>
                    <a:pt x="110542" y="74007"/>
                  </a:cubicBezTo>
                  <a:cubicBezTo>
                    <a:pt x="81567" y="47551"/>
                    <a:pt x="50071" y="23615"/>
                    <a:pt x="17315" y="2198"/>
                  </a:cubicBezTo>
                  <a:cubicBezTo>
                    <a:pt x="12276" y="-1582"/>
                    <a:pt x="5977" y="-322"/>
                    <a:pt x="2197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36213" y="41252"/>
                    <a:pt x="66448" y="63929"/>
                    <a:pt x="95424" y="90385"/>
                  </a:cubicBezTo>
                  <a:cubicBezTo>
                    <a:pt x="99204" y="92905"/>
                    <a:pt x="101723" y="92905"/>
                    <a:pt x="105503" y="929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10311247" y="4010670"/>
              <a:ext cx="283152" cy="832294"/>
            </a:xfrm>
            <a:custGeom>
              <a:avLst/>
              <a:gdLst>
                <a:gd name="connsiteX0" fmla="*/ 81532 w 415741"/>
                <a:gd name="connsiteY0" fmla="*/ 835263 h 1222028"/>
                <a:gd name="connsiteX1" fmla="*/ 155861 w 415741"/>
                <a:gd name="connsiteY1" fmla="*/ 0 h 1222028"/>
                <a:gd name="connsiteX2" fmla="*/ 198695 w 415741"/>
                <a:gd name="connsiteY2" fmla="*/ 243146 h 1222028"/>
                <a:gd name="connsiteX3" fmla="*/ 409086 w 415741"/>
                <a:gd name="connsiteY3" fmla="*/ 571960 h 1222028"/>
                <a:gd name="connsiteX4" fmla="*/ 376331 w 415741"/>
                <a:gd name="connsiteY4" fmla="*/ 976363 h 1222028"/>
                <a:gd name="connsiteX5" fmla="*/ 210034 w 415741"/>
                <a:gd name="connsiteY5" fmla="*/ 1220769 h 1222028"/>
                <a:gd name="connsiteX6" fmla="*/ 48776 w 415741"/>
                <a:gd name="connsiteY6" fmla="*/ 1131322 h 1222028"/>
                <a:gd name="connsiteX7" fmla="*/ 81532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81532" y="835263"/>
                  </a:moveTo>
                  <a:cubicBezTo>
                    <a:pt x="-30592" y="549283"/>
                    <a:pt x="-45710" y="212910"/>
                    <a:pt x="155861" y="0"/>
                  </a:cubicBezTo>
                  <a:cubicBezTo>
                    <a:pt x="189877" y="83148"/>
                    <a:pt x="201215" y="182674"/>
                    <a:pt x="198695" y="243146"/>
                  </a:cubicBezTo>
                  <a:cubicBezTo>
                    <a:pt x="193656" y="389286"/>
                    <a:pt x="357433" y="396844"/>
                    <a:pt x="409086" y="571960"/>
                  </a:cubicBezTo>
                  <a:cubicBezTo>
                    <a:pt x="460739" y="747075"/>
                    <a:pt x="359953" y="791169"/>
                    <a:pt x="376331" y="976363"/>
                  </a:cubicBezTo>
                  <a:cubicBezTo>
                    <a:pt x="392708" y="1161557"/>
                    <a:pt x="304520" y="1206911"/>
                    <a:pt x="210034" y="1220769"/>
                  </a:cubicBezTo>
                  <a:cubicBezTo>
                    <a:pt x="133185" y="1232107"/>
                    <a:pt x="73973" y="1201871"/>
                    <a:pt x="48776" y="1131322"/>
                  </a:cubicBezTo>
                  <a:cubicBezTo>
                    <a:pt x="84051" y="1028016"/>
                    <a:pt x="120587" y="929750"/>
                    <a:pt x="81532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10397831" y="3697569"/>
              <a:ext cx="549142" cy="1192668"/>
            </a:xfrm>
            <a:custGeom>
              <a:avLst/>
              <a:gdLst>
                <a:gd name="connsiteX0" fmla="*/ 274399 w 806286"/>
                <a:gd name="connsiteY0" fmla="*/ 1748516 h 1751154"/>
                <a:gd name="connsiteX1" fmla="*/ 61489 w 806286"/>
                <a:gd name="connsiteY1" fmla="*/ 1436079 h 1751154"/>
                <a:gd name="connsiteX2" fmla="*/ 18655 w 806286"/>
                <a:gd name="connsiteY2" fmla="*/ 918292 h 1751154"/>
                <a:gd name="connsiteX3" fmla="*/ 286997 w 806286"/>
                <a:gd name="connsiteY3" fmla="*/ 496251 h 1751154"/>
                <a:gd name="connsiteX4" fmla="*/ 372665 w 806286"/>
                <a:gd name="connsiteY4" fmla="*/ 123343 h 1751154"/>
                <a:gd name="connsiteX5" fmla="*/ 789667 w 806286"/>
                <a:gd name="connsiteY5" fmla="*/ 319876 h 1751154"/>
                <a:gd name="connsiteX6" fmla="*/ 646047 w 806286"/>
                <a:gd name="connsiteY6" fmla="*/ 694043 h 1751154"/>
                <a:gd name="connsiteX7" fmla="*/ 651086 w 806286"/>
                <a:gd name="connsiteY7" fmla="*/ 1084589 h 1751154"/>
                <a:gd name="connsiteX8" fmla="*/ 496128 w 806286"/>
                <a:gd name="connsiteY8" fmla="*/ 1485212 h 1751154"/>
                <a:gd name="connsiteX9" fmla="*/ 274399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274399" y="1748516"/>
                  </a:moveTo>
                  <a:cubicBezTo>
                    <a:pt x="153456" y="1730878"/>
                    <a:pt x="40072" y="1672926"/>
                    <a:pt x="61489" y="1436079"/>
                  </a:cubicBezTo>
                  <a:cubicBezTo>
                    <a:pt x="82906" y="1199233"/>
                    <a:pt x="-46856" y="1142541"/>
                    <a:pt x="18655" y="918292"/>
                  </a:cubicBezTo>
                  <a:cubicBezTo>
                    <a:pt x="84166" y="692783"/>
                    <a:pt x="293296" y="683965"/>
                    <a:pt x="286997" y="496251"/>
                  </a:cubicBezTo>
                  <a:cubicBezTo>
                    <a:pt x="284477" y="404284"/>
                    <a:pt x="303375" y="237987"/>
                    <a:pt x="372665" y="123343"/>
                  </a:cubicBezTo>
                  <a:cubicBezTo>
                    <a:pt x="488569" y="-69410"/>
                    <a:pt x="892972" y="-59331"/>
                    <a:pt x="789667" y="319876"/>
                  </a:cubicBezTo>
                  <a:cubicBezTo>
                    <a:pt x="754392" y="449638"/>
                    <a:pt x="651086" y="521448"/>
                    <a:pt x="646047" y="694043"/>
                  </a:cubicBezTo>
                  <a:cubicBezTo>
                    <a:pt x="642267" y="814986"/>
                    <a:pt x="706518" y="867899"/>
                    <a:pt x="651086" y="1084589"/>
                  </a:cubicBezTo>
                  <a:cubicBezTo>
                    <a:pt x="600693" y="1281121"/>
                    <a:pt x="479750" y="1291200"/>
                    <a:pt x="496128" y="1485212"/>
                  </a:cubicBezTo>
                  <a:cubicBezTo>
                    <a:pt x="512505" y="1677965"/>
                    <a:pt x="418019" y="1768672"/>
                    <a:pt x="274399" y="174851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10397515" y="4395928"/>
              <a:ext cx="326053" cy="489080"/>
            </a:xfrm>
            <a:custGeom>
              <a:avLst/>
              <a:gdLst>
                <a:gd name="connsiteX0" fmla="*/ 221 w 478732"/>
                <a:gd name="connsiteY0" fmla="*/ 0 h 718099"/>
                <a:gd name="connsiteX1" fmla="*/ 489032 w 478732"/>
                <a:gd name="connsiteY1" fmla="*/ 580778 h 718099"/>
                <a:gd name="connsiteX2" fmla="*/ 273602 w 478732"/>
                <a:gd name="connsiteY2" fmla="*/ 723139 h 718099"/>
                <a:gd name="connsiteX3" fmla="*/ 60692 w 478732"/>
                <a:gd name="connsiteY3" fmla="*/ 410702 h 718099"/>
                <a:gd name="connsiteX4" fmla="*/ 22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221" y="0"/>
                  </a:moveTo>
                  <a:cubicBezTo>
                    <a:pt x="206832" y="122203"/>
                    <a:pt x="373128" y="321255"/>
                    <a:pt x="489032" y="580778"/>
                  </a:cubicBezTo>
                  <a:cubicBezTo>
                    <a:pt x="463835" y="690383"/>
                    <a:pt x="383207" y="739516"/>
                    <a:pt x="273602" y="723139"/>
                  </a:cubicBezTo>
                  <a:cubicBezTo>
                    <a:pt x="152659" y="705501"/>
                    <a:pt x="39275" y="647549"/>
                    <a:pt x="60692" y="410702"/>
                  </a:cubicBezTo>
                  <a:cubicBezTo>
                    <a:pt x="78329" y="216690"/>
                    <a:pt x="-4819" y="143620"/>
                    <a:pt x="22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10559834" y="3708427"/>
              <a:ext cx="265991" cy="1141186"/>
            </a:xfrm>
            <a:custGeom>
              <a:avLst/>
              <a:gdLst>
                <a:gd name="connsiteX0" fmla="*/ 8819 w 390545"/>
                <a:gd name="connsiteY0" fmla="*/ 1685959 h 1675564"/>
                <a:gd name="connsiteX1" fmla="*/ 17637 w 390545"/>
                <a:gd name="connsiteY1" fmla="*/ 1680919 h 1675564"/>
                <a:gd name="connsiteX2" fmla="*/ 65511 w 390545"/>
                <a:gd name="connsiteY2" fmla="*/ 1461710 h 1675564"/>
                <a:gd name="connsiteX3" fmla="*/ 66770 w 390545"/>
                <a:gd name="connsiteY3" fmla="*/ 1354625 h 1675564"/>
                <a:gd name="connsiteX4" fmla="*/ 142360 w 390545"/>
                <a:gd name="connsiteY4" fmla="*/ 801563 h 1675564"/>
                <a:gd name="connsiteX5" fmla="*/ 240626 w 390545"/>
                <a:gd name="connsiteY5" fmla="*/ 618888 h 1675564"/>
                <a:gd name="connsiteX6" fmla="*/ 343932 w 390545"/>
                <a:gd name="connsiteY6" fmla="*/ 423616 h 1675564"/>
                <a:gd name="connsiteX7" fmla="*/ 376687 w 390545"/>
                <a:gd name="connsiteY7" fmla="*/ 7874 h 1675564"/>
                <a:gd name="connsiteX8" fmla="*/ 364089 w 390545"/>
                <a:gd name="connsiteY8" fmla="*/ 315 h 1675564"/>
                <a:gd name="connsiteX9" fmla="*/ 356530 w 390545"/>
                <a:gd name="connsiteY9" fmla="*/ 12913 h 1675564"/>
                <a:gd name="connsiteX10" fmla="*/ 325034 w 390545"/>
                <a:gd name="connsiteY10" fmla="*/ 416057 h 1675564"/>
                <a:gd name="connsiteX11" fmla="*/ 222989 w 390545"/>
                <a:gd name="connsiteY11" fmla="*/ 608810 h 1675564"/>
                <a:gd name="connsiteX12" fmla="*/ 123463 w 390545"/>
                <a:gd name="connsiteY12" fmla="*/ 794004 h 1675564"/>
                <a:gd name="connsiteX13" fmla="*/ 46613 w 390545"/>
                <a:gd name="connsiteY13" fmla="*/ 1354625 h 1675564"/>
                <a:gd name="connsiteX14" fmla="*/ 45354 w 390545"/>
                <a:gd name="connsiteY14" fmla="*/ 1460450 h 1675564"/>
                <a:gd name="connsiteX15" fmla="*/ 1260 w 390545"/>
                <a:gd name="connsiteY15" fmla="*/ 1668321 h 1675564"/>
                <a:gd name="connsiteX16" fmla="*/ 5039 w 390545"/>
                <a:gd name="connsiteY16" fmla="*/ 1683439 h 1675564"/>
                <a:gd name="connsiteX17" fmla="*/ 8819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8819" y="1685959"/>
                  </a:moveTo>
                  <a:cubicBezTo>
                    <a:pt x="12598" y="1685959"/>
                    <a:pt x="15118" y="1684699"/>
                    <a:pt x="17637" y="1680919"/>
                  </a:cubicBezTo>
                  <a:cubicBezTo>
                    <a:pt x="57952" y="1616668"/>
                    <a:pt x="62991" y="1537300"/>
                    <a:pt x="65511" y="1461710"/>
                  </a:cubicBezTo>
                  <a:cubicBezTo>
                    <a:pt x="66770" y="1426435"/>
                    <a:pt x="66770" y="1391160"/>
                    <a:pt x="66770" y="1354625"/>
                  </a:cubicBezTo>
                  <a:cubicBezTo>
                    <a:pt x="68030" y="1166911"/>
                    <a:pt x="70550" y="974158"/>
                    <a:pt x="142360" y="801563"/>
                  </a:cubicBezTo>
                  <a:cubicBezTo>
                    <a:pt x="168816" y="738571"/>
                    <a:pt x="205351" y="676840"/>
                    <a:pt x="240626" y="618888"/>
                  </a:cubicBezTo>
                  <a:cubicBezTo>
                    <a:pt x="278421" y="557157"/>
                    <a:pt x="316216" y="491646"/>
                    <a:pt x="343932" y="423616"/>
                  </a:cubicBezTo>
                  <a:cubicBezTo>
                    <a:pt x="396844" y="292594"/>
                    <a:pt x="408183" y="145195"/>
                    <a:pt x="376687" y="7874"/>
                  </a:cubicBezTo>
                  <a:cubicBezTo>
                    <a:pt x="375427" y="1575"/>
                    <a:pt x="369128" y="-945"/>
                    <a:pt x="364089" y="315"/>
                  </a:cubicBezTo>
                  <a:cubicBezTo>
                    <a:pt x="357790" y="1575"/>
                    <a:pt x="355270" y="7874"/>
                    <a:pt x="356530" y="12913"/>
                  </a:cubicBezTo>
                  <a:cubicBezTo>
                    <a:pt x="386766" y="146454"/>
                    <a:pt x="375427" y="290074"/>
                    <a:pt x="325034" y="416057"/>
                  </a:cubicBezTo>
                  <a:cubicBezTo>
                    <a:pt x="298578" y="482827"/>
                    <a:pt x="259524" y="547078"/>
                    <a:pt x="222989" y="608810"/>
                  </a:cubicBezTo>
                  <a:cubicBezTo>
                    <a:pt x="187714" y="668021"/>
                    <a:pt x="151179" y="729753"/>
                    <a:pt x="123463" y="794004"/>
                  </a:cubicBezTo>
                  <a:cubicBezTo>
                    <a:pt x="50393" y="970379"/>
                    <a:pt x="47873" y="1165652"/>
                    <a:pt x="46613" y="1354625"/>
                  </a:cubicBezTo>
                  <a:cubicBezTo>
                    <a:pt x="46613" y="1389900"/>
                    <a:pt x="45354" y="1425175"/>
                    <a:pt x="45354" y="1460450"/>
                  </a:cubicBezTo>
                  <a:cubicBezTo>
                    <a:pt x="44094" y="1532260"/>
                    <a:pt x="39055" y="1607849"/>
                    <a:pt x="1260" y="1668321"/>
                  </a:cubicBezTo>
                  <a:cubicBezTo>
                    <a:pt x="-1260" y="1673360"/>
                    <a:pt x="0" y="1679659"/>
                    <a:pt x="5039" y="1683439"/>
                  </a:cubicBezTo>
                  <a:cubicBezTo>
                    <a:pt x="5039" y="1685959"/>
                    <a:pt x="7559" y="1685959"/>
                    <a:pt x="8819" y="16859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10433584" y="4297135"/>
              <a:ext cx="171607" cy="223089"/>
            </a:xfrm>
            <a:custGeom>
              <a:avLst/>
              <a:gdLst>
                <a:gd name="connsiteX0" fmla="*/ 243321 w 251964"/>
                <a:gd name="connsiteY0" fmla="*/ 332768 h 327554"/>
                <a:gd name="connsiteX1" fmla="*/ 249620 w 251964"/>
                <a:gd name="connsiteY1" fmla="*/ 330248 h 327554"/>
                <a:gd name="connsiteX2" fmla="*/ 252139 w 251964"/>
                <a:gd name="connsiteY2" fmla="*/ 315130 h 327554"/>
                <a:gd name="connsiteX3" fmla="*/ 19072 w 251964"/>
                <a:gd name="connsiteY3" fmla="*/ 3954 h 327554"/>
                <a:gd name="connsiteX4" fmla="*/ 3954 w 251964"/>
                <a:gd name="connsiteY4" fmla="*/ 2694 h 327554"/>
                <a:gd name="connsiteX5" fmla="*/ 2694 w 251964"/>
                <a:gd name="connsiteY5" fmla="*/ 17812 h 327554"/>
                <a:gd name="connsiteX6" fmla="*/ 234502 w 251964"/>
                <a:gd name="connsiteY6" fmla="*/ 327728 h 327554"/>
                <a:gd name="connsiteX7" fmla="*/ 243321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243321" y="332768"/>
                  </a:moveTo>
                  <a:cubicBezTo>
                    <a:pt x="245840" y="332768"/>
                    <a:pt x="247100" y="331508"/>
                    <a:pt x="249620" y="330248"/>
                  </a:cubicBezTo>
                  <a:cubicBezTo>
                    <a:pt x="254659" y="326469"/>
                    <a:pt x="255919" y="320170"/>
                    <a:pt x="252139" y="315130"/>
                  </a:cubicBezTo>
                  <a:cubicBezTo>
                    <a:pt x="177810" y="209305"/>
                    <a:pt x="99700" y="104740"/>
                    <a:pt x="19072" y="3954"/>
                  </a:cubicBezTo>
                  <a:cubicBezTo>
                    <a:pt x="15292" y="-1085"/>
                    <a:pt x="8993" y="-1085"/>
                    <a:pt x="3954" y="2694"/>
                  </a:cubicBezTo>
                  <a:cubicBezTo>
                    <a:pt x="-1085" y="6474"/>
                    <a:pt x="-1085" y="12773"/>
                    <a:pt x="2694" y="17812"/>
                  </a:cubicBezTo>
                  <a:cubicBezTo>
                    <a:pt x="83323" y="118598"/>
                    <a:pt x="160172" y="223163"/>
                    <a:pt x="234502" y="327728"/>
                  </a:cubicBezTo>
                  <a:cubicBezTo>
                    <a:pt x="237021" y="330248"/>
                    <a:pt x="239541" y="332768"/>
                    <a:pt x="243321" y="33276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10450649" y="4396571"/>
              <a:ext cx="154446" cy="180187"/>
            </a:xfrm>
            <a:custGeom>
              <a:avLst/>
              <a:gdLst>
                <a:gd name="connsiteX0" fmla="*/ 217005 w 226768"/>
                <a:gd name="connsiteY0" fmla="*/ 269917 h 264562"/>
                <a:gd name="connsiteX1" fmla="*/ 223304 w 226768"/>
                <a:gd name="connsiteY1" fmla="*/ 267398 h 264562"/>
                <a:gd name="connsiteX2" fmla="*/ 225823 w 226768"/>
                <a:gd name="connsiteY2" fmla="*/ 252279 h 264562"/>
                <a:gd name="connsiteX3" fmla="*/ 17952 w 226768"/>
                <a:gd name="connsiteY3" fmla="*/ 2835 h 264562"/>
                <a:gd name="connsiteX4" fmla="*/ 2835 w 226768"/>
                <a:gd name="connsiteY4" fmla="*/ 2835 h 264562"/>
                <a:gd name="connsiteX5" fmla="*/ 2835 w 226768"/>
                <a:gd name="connsiteY5" fmla="*/ 17952 h 264562"/>
                <a:gd name="connsiteX6" fmla="*/ 209446 w 226768"/>
                <a:gd name="connsiteY6" fmla="*/ 264878 h 264562"/>
                <a:gd name="connsiteX7" fmla="*/ 217005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217005" y="269917"/>
                  </a:moveTo>
                  <a:cubicBezTo>
                    <a:pt x="219524" y="269917"/>
                    <a:pt x="220784" y="268657"/>
                    <a:pt x="223304" y="267398"/>
                  </a:cubicBezTo>
                  <a:cubicBezTo>
                    <a:pt x="228343" y="263618"/>
                    <a:pt x="229603" y="257319"/>
                    <a:pt x="225823" y="252279"/>
                  </a:cubicBezTo>
                  <a:cubicBezTo>
                    <a:pt x="161573" y="165352"/>
                    <a:pt x="92282" y="80943"/>
                    <a:pt x="17952" y="2835"/>
                  </a:cubicBezTo>
                  <a:cubicBezTo>
                    <a:pt x="14173" y="-945"/>
                    <a:pt x="6614" y="-945"/>
                    <a:pt x="2835" y="2835"/>
                  </a:cubicBezTo>
                  <a:cubicBezTo>
                    <a:pt x="-945" y="6614"/>
                    <a:pt x="-945" y="14173"/>
                    <a:pt x="2835" y="17952"/>
                  </a:cubicBezTo>
                  <a:cubicBezTo>
                    <a:pt x="77164" y="94802"/>
                    <a:pt x="146455" y="177950"/>
                    <a:pt x="209446" y="264878"/>
                  </a:cubicBezTo>
                  <a:cubicBezTo>
                    <a:pt x="210706" y="268657"/>
                    <a:pt x="214485" y="269917"/>
                    <a:pt x="217005" y="26991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10497937" y="4560551"/>
              <a:ext cx="102964" cy="111544"/>
            </a:xfrm>
            <a:custGeom>
              <a:avLst/>
              <a:gdLst>
                <a:gd name="connsiteX0" fmla="*/ 145054 w 151178"/>
                <a:gd name="connsiteY0" fmla="*/ 168991 h 163777"/>
                <a:gd name="connsiteX1" fmla="*/ 151353 w 151178"/>
                <a:gd name="connsiteY1" fmla="*/ 166471 h 163777"/>
                <a:gd name="connsiteX2" fmla="*/ 153873 w 151178"/>
                <a:gd name="connsiteY2" fmla="*/ 151353 h 163777"/>
                <a:gd name="connsiteX3" fmla="*/ 17812 w 151178"/>
                <a:gd name="connsiteY3" fmla="*/ 2694 h 163777"/>
                <a:gd name="connsiteX4" fmla="*/ 2694 w 151178"/>
                <a:gd name="connsiteY4" fmla="*/ 3954 h 163777"/>
                <a:gd name="connsiteX5" fmla="*/ 3954 w 151178"/>
                <a:gd name="connsiteY5" fmla="*/ 19072 h 163777"/>
                <a:gd name="connsiteX6" fmla="*/ 136236 w 151178"/>
                <a:gd name="connsiteY6" fmla="*/ 163951 h 163777"/>
                <a:gd name="connsiteX7" fmla="*/ 145054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45054" y="168991"/>
                  </a:moveTo>
                  <a:cubicBezTo>
                    <a:pt x="147574" y="168991"/>
                    <a:pt x="148834" y="167731"/>
                    <a:pt x="151353" y="166471"/>
                  </a:cubicBezTo>
                  <a:cubicBezTo>
                    <a:pt x="156392" y="162692"/>
                    <a:pt x="157652" y="156392"/>
                    <a:pt x="153873" y="151353"/>
                  </a:cubicBezTo>
                  <a:cubicBezTo>
                    <a:pt x="114818" y="95921"/>
                    <a:pt x="69465" y="45528"/>
                    <a:pt x="17812" y="2694"/>
                  </a:cubicBezTo>
                  <a:cubicBezTo>
                    <a:pt x="12773" y="-1085"/>
                    <a:pt x="6474" y="-1085"/>
                    <a:pt x="2694" y="3954"/>
                  </a:cubicBezTo>
                  <a:cubicBezTo>
                    <a:pt x="-1085" y="8993"/>
                    <a:pt x="-1085" y="15292"/>
                    <a:pt x="3954" y="19072"/>
                  </a:cubicBezTo>
                  <a:cubicBezTo>
                    <a:pt x="54347" y="61906"/>
                    <a:pt x="98441" y="109779"/>
                    <a:pt x="136236" y="163951"/>
                  </a:cubicBezTo>
                  <a:cubicBezTo>
                    <a:pt x="138755" y="167731"/>
                    <a:pt x="142535" y="168991"/>
                    <a:pt x="145054" y="16899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10598922" y="4312152"/>
              <a:ext cx="223089" cy="102964"/>
            </a:xfrm>
            <a:custGeom>
              <a:avLst/>
              <a:gdLst>
                <a:gd name="connsiteX0" fmla="*/ 11898 w 327554"/>
                <a:gd name="connsiteY0" fmla="*/ 162059 h 151178"/>
                <a:gd name="connsiteX1" fmla="*/ 16938 w 327554"/>
                <a:gd name="connsiteY1" fmla="*/ 160799 h 151178"/>
                <a:gd name="connsiteX2" fmla="*/ 326854 w 327554"/>
                <a:gd name="connsiteY2" fmla="*/ 20959 h 151178"/>
                <a:gd name="connsiteX3" fmla="*/ 333153 w 327554"/>
                <a:gd name="connsiteY3" fmla="*/ 7101 h 151178"/>
                <a:gd name="connsiteX4" fmla="*/ 319295 w 327554"/>
                <a:gd name="connsiteY4" fmla="*/ 802 h 151178"/>
                <a:gd name="connsiteX5" fmla="*/ 5599 w 327554"/>
                <a:gd name="connsiteY5" fmla="*/ 141902 h 151178"/>
                <a:gd name="connsiteX6" fmla="*/ 1820 w 327554"/>
                <a:gd name="connsiteY6" fmla="*/ 155760 h 151178"/>
                <a:gd name="connsiteX7" fmla="*/ 11898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11898" y="162059"/>
                  </a:moveTo>
                  <a:cubicBezTo>
                    <a:pt x="13158" y="162059"/>
                    <a:pt x="15678" y="162059"/>
                    <a:pt x="16938" y="160799"/>
                  </a:cubicBezTo>
                  <a:cubicBezTo>
                    <a:pt x="116464" y="106627"/>
                    <a:pt x="221029" y="60014"/>
                    <a:pt x="326854" y="20959"/>
                  </a:cubicBezTo>
                  <a:cubicBezTo>
                    <a:pt x="331893" y="18440"/>
                    <a:pt x="335673" y="13400"/>
                    <a:pt x="333153" y="7101"/>
                  </a:cubicBezTo>
                  <a:cubicBezTo>
                    <a:pt x="330634" y="2062"/>
                    <a:pt x="325594" y="-1718"/>
                    <a:pt x="319295" y="802"/>
                  </a:cubicBezTo>
                  <a:cubicBezTo>
                    <a:pt x="212210" y="39856"/>
                    <a:pt x="106385" y="87730"/>
                    <a:pt x="5599" y="141902"/>
                  </a:cubicBezTo>
                  <a:cubicBezTo>
                    <a:pt x="560" y="144422"/>
                    <a:pt x="-1960" y="150721"/>
                    <a:pt x="1820" y="155760"/>
                  </a:cubicBezTo>
                  <a:cubicBezTo>
                    <a:pt x="4339" y="160799"/>
                    <a:pt x="8119" y="162059"/>
                    <a:pt x="11898" y="1620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10603048" y="4374788"/>
              <a:ext cx="231669" cy="77223"/>
            </a:xfrm>
            <a:custGeom>
              <a:avLst/>
              <a:gdLst>
                <a:gd name="connsiteX0" fmla="*/ 12140 w 340152"/>
                <a:gd name="connsiteY0" fmla="*/ 125524 h 113384"/>
                <a:gd name="connsiteX1" fmla="*/ 14660 w 340152"/>
                <a:gd name="connsiteY1" fmla="*/ 125524 h 113384"/>
                <a:gd name="connsiteX2" fmla="*/ 339694 w 340152"/>
                <a:gd name="connsiteY2" fmla="*/ 20959 h 113384"/>
                <a:gd name="connsiteX3" fmla="*/ 345994 w 340152"/>
                <a:gd name="connsiteY3" fmla="*/ 7101 h 113384"/>
                <a:gd name="connsiteX4" fmla="*/ 332135 w 340152"/>
                <a:gd name="connsiteY4" fmla="*/ 802 h 113384"/>
                <a:gd name="connsiteX5" fmla="*/ 7101 w 340152"/>
                <a:gd name="connsiteY5" fmla="*/ 105368 h 113384"/>
                <a:gd name="connsiteX6" fmla="*/ 802 w 340152"/>
                <a:gd name="connsiteY6" fmla="*/ 119225 h 113384"/>
                <a:gd name="connsiteX7" fmla="*/ 12140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12140" y="125524"/>
                  </a:moveTo>
                  <a:cubicBezTo>
                    <a:pt x="13400" y="125524"/>
                    <a:pt x="14660" y="125524"/>
                    <a:pt x="14660" y="125524"/>
                  </a:cubicBezTo>
                  <a:lnTo>
                    <a:pt x="339694" y="20959"/>
                  </a:lnTo>
                  <a:cubicBezTo>
                    <a:pt x="344734" y="19699"/>
                    <a:pt x="348513" y="13400"/>
                    <a:pt x="345994" y="7101"/>
                  </a:cubicBezTo>
                  <a:cubicBezTo>
                    <a:pt x="344734" y="2062"/>
                    <a:pt x="338435" y="-1718"/>
                    <a:pt x="332135" y="802"/>
                  </a:cubicBezTo>
                  <a:lnTo>
                    <a:pt x="7101" y="105368"/>
                  </a:lnTo>
                  <a:cubicBezTo>
                    <a:pt x="2062" y="106627"/>
                    <a:pt x="-1718" y="112926"/>
                    <a:pt x="802" y="119225"/>
                  </a:cubicBezTo>
                  <a:cubicBezTo>
                    <a:pt x="3322" y="123005"/>
                    <a:pt x="8361" y="125524"/>
                    <a:pt x="12140" y="12552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10608961" y="4126724"/>
              <a:ext cx="68643" cy="85803"/>
            </a:xfrm>
            <a:custGeom>
              <a:avLst/>
              <a:gdLst>
                <a:gd name="connsiteX0" fmla="*/ 90385 w 100785"/>
                <a:gd name="connsiteY0" fmla="*/ 128180 h 125982"/>
                <a:gd name="connsiteX1" fmla="*/ 96684 w 100785"/>
                <a:gd name="connsiteY1" fmla="*/ 125660 h 125982"/>
                <a:gd name="connsiteX2" fmla="*/ 99204 w 100785"/>
                <a:gd name="connsiteY2" fmla="*/ 110542 h 125982"/>
                <a:gd name="connsiteX3" fmla="*/ 19835 w 100785"/>
                <a:gd name="connsiteY3" fmla="*/ 4717 h 125982"/>
                <a:gd name="connsiteX4" fmla="*/ 4717 w 100785"/>
                <a:gd name="connsiteY4" fmla="*/ 2198 h 125982"/>
                <a:gd name="connsiteX5" fmla="*/ 2198 w 100785"/>
                <a:gd name="connsiteY5" fmla="*/ 17315 h 125982"/>
                <a:gd name="connsiteX6" fmla="*/ 81566 w 100785"/>
                <a:gd name="connsiteY6" fmla="*/ 123141 h 125982"/>
                <a:gd name="connsiteX7" fmla="*/ 90385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90385" y="128180"/>
                  </a:moveTo>
                  <a:cubicBezTo>
                    <a:pt x="92905" y="128180"/>
                    <a:pt x="94164" y="126920"/>
                    <a:pt x="96684" y="125660"/>
                  </a:cubicBezTo>
                  <a:cubicBezTo>
                    <a:pt x="101723" y="121881"/>
                    <a:pt x="102983" y="115582"/>
                    <a:pt x="99204" y="110542"/>
                  </a:cubicBezTo>
                  <a:lnTo>
                    <a:pt x="19835" y="4717"/>
                  </a:lnTo>
                  <a:cubicBezTo>
                    <a:pt x="16056" y="-322"/>
                    <a:pt x="9757" y="-1582"/>
                    <a:pt x="4717" y="2198"/>
                  </a:cubicBezTo>
                  <a:cubicBezTo>
                    <a:pt x="-322" y="5977"/>
                    <a:pt x="-1582" y="12276"/>
                    <a:pt x="2198" y="17315"/>
                  </a:cubicBezTo>
                  <a:lnTo>
                    <a:pt x="81566" y="123141"/>
                  </a:lnTo>
                  <a:cubicBezTo>
                    <a:pt x="84086" y="126920"/>
                    <a:pt x="87865" y="128180"/>
                    <a:pt x="90385" y="12818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10617323" y="4050140"/>
              <a:ext cx="77223" cy="120125"/>
            </a:xfrm>
            <a:custGeom>
              <a:avLst/>
              <a:gdLst>
                <a:gd name="connsiteX0" fmla="*/ 105825 w 113384"/>
                <a:gd name="connsiteY0" fmla="*/ 180155 h 176375"/>
                <a:gd name="connsiteX1" fmla="*/ 110865 w 113384"/>
                <a:gd name="connsiteY1" fmla="*/ 178895 h 176375"/>
                <a:gd name="connsiteX2" fmla="*/ 114644 w 113384"/>
                <a:gd name="connsiteY2" fmla="*/ 165037 h 176375"/>
                <a:gd name="connsiteX3" fmla="*/ 20157 w 113384"/>
                <a:gd name="connsiteY3" fmla="*/ 5039 h 176375"/>
                <a:gd name="connsiteX4" fmla="*/ 5039 w 113384"/>
                <a:gd name="connsiteY4" fmla="*/ 1260 h 176375"/>
                <a:gd name="connsiteX5" fmla="*/ 1260 w 113384"/>
                <a:gd name="connsiteY5" fmla="*/ 16378 h 176375"/>
                <a:gd name="connsiteX6" fmla="*/ 94487 w 113384"/>
                <a:gd name="connsiteY6" fmla="*/ 175115 h 176375"/>
                <a:gd name="connsiteX7" fmla="*/ 105825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5825" y="180155"/>
                  </a:moveTo>
                  <a:cubicBezTo>
                    <a:pt x="107085" y="180155"/>
                    <a:pt x="109605" y="180155"/>
                    <a:pt x="110865" y="178895"/>
                  </a:cubicBezTo>
                  <a:cubicBezTo>
                    <a:pt x="115904" y="176375"/>
                    <a:pt x="118424" y="170076"/>
                    <a:pt x="114644" y="165037"/>
                  </a:cubicBezTo>
                  <a:cubicBezTo>
                    <a:pt x="85668" y="110865"/>
                    <a:pt x="54172" y="56692"/>
                    <a:pt x="20157" y="5039"/>
                  </a:cubicBezTo>
                  <a:cubicBezTo>
                    <a:pt x="16378" y="0"/>
                    <a:pt x="10079" y="-1260"/>
                    <a:pt x="5039" y="1260"/>
                  </a:cubicBezTo>
                  <a:cubicBezTo>
                    <a:pt x="0" y="5039"/>
                    <a:pt x="-1260" y="11338"/>
                    <a:pt x="1260" y="16378"/>
                  </a:cubicBezTo>
                  <a:cubicBezTo>
                    <a:pt x="34015" y="68030"/>
                    <a:pt x="65511" y="120943"/>
                    <a:pt x="94487" y="175115"/>
                  </a:cubicBezTo>
                  <a:cubicBezTo>
                    <a:pt x="98266" y="178895"/>
                    <a:pt x="102046" y="180155"/>
                    <a:pt x="105825" y="18015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10708060" y="4092495"/>
              <a:ext cx="128705" cy="42902"/>
            </a:xfrm>
            <a:custGeom>
              <a:avLst/>
              <a:gdLst>
                <a:gd name="connsiteX0" fmla="*/ 11653 w 188973"/>
                <a:gd name="connsiteY0" fmla="*/ 73872 h 62991"/>
                <a:gd name="connsiteX1" fmla="*/ 14173 w 188973"/>
                <a:gd name="connsiteY1" fmla="*/ 73872 h 62991"/>
                <a:gd name="connsiteX2" fmla="*/ 189288 w 188973"/>
                <a:gd name="connsiteY2" fmla="*/ 20959 h 62991"/>
                <a:gd name="connsiteX3" fmla="*/ 195588 w 188973"/>
                <a:gd name="connsiteY3" fmla="*/ 7101 h 62991"/>
                <a:gd name="connsiteX4" fmla="*/ 181729 w 188973"/>
                <a:gd name="connsiteY4" fmla="*/ 802 h 62991"/>
                <a:gd name="connsiteX5" fmla="*/ 7874 w 188973"/>
                <a:gd name="connsiteY5" fmla="*/ 53715 h 62991"/>
                <a:gd name="connsiteX6" fmla="*/ 315 w 188973"/>
                <a:gd name="connsiteY6" fmla="*/ 66313 h 62991"/>
                <a:gd name="connsiteX7" fmla="*/ 11653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1653" y="73872"/>
                  </a:moveTo>
                  <a:cubicBezTo>
                    <a:pt x="12913" y="73872"/>
                    <a:pt x="12913" y="73872"/>
                    <a:pt x="14173" y="73872"/>
                  </a:cubicBezTo>
                  <a:cubicBezTo>
                    <a:pt x="73385" y="60014"/>
                    <a:pt x="132596" y="41116"/>
                    <a:pt x="189288" y="20959"/>
                  </a:cubicBezTo>
                  <a:cubicBezTo>
                    <a:pt x="194328" y="18439"/>
                    <a:pt x="198107" y="12140"/>
                    <a:pt x="195588" y="7101"/>
                  </a:cubicBezTo>
                  <a:cubicBezTo>
                    <a:pt x="193068" y="2062"/>
                    <a:pt x="186769" y="-1718"/>
                    <a:pt x="181729" y="802"/>
                  </a:cubicBezTo>
                  <a:cubicBezTo>
                    <a:pt x="125037" y="22219"/>
                    <a:pt x="67086" y="39857"/>
                    <a:pt x="7874" y="53715"/>
                  </a:cubicBezTo>
                  <a:cubicBezTo>
                    <a:pt x="1575" y="54974"/>
                    <a:pt x="-945" y="61274"/>
                    <a:pt x="315" y="66313"/>
                  </a:cubicBezTo>
                  <a:cubicBezTo>
                    <a:pt x="2835" y="71352"/>
                    <a:pt x="6614" y="75131"/>
                    <a:pt x="11653" y="7387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10594341" y="4667066"/>
              <a:ext cx="120125" cy="68643"/>
            </a:xfrm>
            <a:custGeom>
              <a:avLst/>
              <a:gdLst>
                <a:gd name="connsiteX0" fmla="*/ 11067 w 176375"/>
                <a:gd name="connsiteY0" fmla="*/ 109605 h 100785"/>
                <a:gd name="connsiteX1" fmla="*/ 14846 w 176375"/>
                <a:gd name="connsiteY1" fmla="*/ 108345 h 100785"/>
                <a:gd name="connsiteX2" fmla="*/ 176104 w 176375"/>
                <a:gd name="connsiteY2" fmla="*/ 20157 h 100785"/>
                <a:gd name="connsiteX3" fmla="*/ 179883 w 176375"/>
                <a:gd name="connsiteY3" fmla="*/ 5039 h 100785"/>
                <a:gd name="connsiteX4" fmla="*/ 164766 w 176375"/>
                <a:gd name="connsiteY4" fmla="*/ 1260 h 100785"/>
                <a:gd name="connsiteX5" fmla="*/ 6028 w 176375"/>
                <a:gd name="connsiteY5" fmla="*/ 88188 h 100785"/>
                <a:gd name="connsiteX6" fmla="*/ 989 w 176375"/>
                <a:gd name="connsiteY6" fmla="*/ 102046 h 100785"/>
                <a:gd name="connsiteX7" fmla="*/ 11067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1067" y="109605"/>
                  </a:moveTo>
                  <a:cubicBezTo>
                    <a:pt x="12327" y="109605"/>
                    <a:pt x="13587" y="109605"/>
                    <a:pt x="14846" y="108345"/>
                  </a:cubicBezTo>
                  <a:cubicBezTo>
                    <a:pt x="70279" y="83148"/>
                    <a:pt x="124451" y="52913"/>
                    <a:pt x="176104" y="20157"/>
                  </a:cubicBezTo>
                  <a:cubicBezTo>
                    <a:pt x="181143" y="16378"/>
                    <a:pt x="182403" y="10079"/>
                    <a:pt x="179883" y="5039"/>
                  </a:cubicBezTo>
                  <a:cubicBezTo>
                    <a:pt x="176104" y="0"/>
                    <a:pt x="169805" y="-1260"/>
                    <a:pt x="164766" y="1260"/>
                  </a:cubicBezTo>
                  <a:cubicBezTo>
                    <a:pt x="114373" y="34015"/>
                    <a:pt x="60200" y="62991"/>
                    <a:pt x="6028" y="88188"/>
                  </a:cubicBezTo>
                  <a:cubicBezTo>
                    <a:pt x="989" y="90707"/>
                    <a:pt x="-1531" y="97007"/>
                    <a:pt x="989" y="102046"/>
                  </a:cubicBezTo>
                  <a:cubicBezTo>
                    <a:pt x="3508" y="107085"/>
                    <a:pt x="7288" y="109605"/>
                    <a:pt x="11067" y="1096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10659528" y="3846089"/>
              <a:ext cx="111545" cy="171607"/>
            </a:xfrm>
            <a:custGeom>
              <a:avLst/>
              <a:gdLst>
                <a:gd name="connsiteX0" fmla="*/ 162280 w 163777"/>
                <a:gd name="connsiteY0" fmla="*/ 263066 h 251964"/>
                <a:gd name="connsiteX1" fmla="*/ 166059 w 163777"/>
                <a:gd name="connsiteY1" fmla="*/ 261806 h 251964"/>
                <a:gd name="connsiteX2" fmla="*/ 172358 w 163777"/>
                <a:gd name="connsiteY2" fmla="*/ 247947 h 251964"/>
                <a:gd name="connsiteX3" fmla="*/ 18660 w 163777"/>
                <a:gd name="connsiteY3" fmla="*/ 3542 h 251964"/>
                <a:gd name="connsiteX4" fmla="*/ 3542 w 163777"/>
                <a:gd name="connsiteY4" fmla="*/ 2282 h 251964"/>
                <a:gd name="connsiteX5" fmla="*/ 2282 w 163777"/>
                <a:gd name="connsiteY5" fmla="*/ 17400 h 251964"/>
                <a:gd name="connsiteX6" fmla="*/ 152201 w 163777"/>
                <a:gd name="connsiteY6" fmla="*/ 255507 h 251964"/>
                <a:gd name="connsiteX7" fmla="*/ 16228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62280" y="263066"/>
                  </a:moveTo>
                  <a:cubicBezTo>
                    <a:pt x="163540" y="263066"/>
                    <a:pt x="164799" y="263066"/>
                    <a:pt x="166059" y="261806"/>
                  </a:cubicBezTo>
                  <a:cubicBezTo>
                    <a:pt x="171098" y="259286"/>
                    <a:pt x="173618" y="252987"/>
                    <a:pt x="172358" y="247947"/>
                  </a:cubicBezTo>
                  <a:cubicBezTo>
                    <a:pt x="135823" y="157240"/>
                    <a:pt x="84170" y="75352"/>
                    <a:pt x="18660" y="3542"/>
                  </a:cubicBezTo>
                  <a:cubicBezTo>
                    <a:pt x="14880" y="-238"/>
                    <a:pt x="8581" y="-1497"/>
                    <a:pt x="3542" y="2282"/>
                  </a:cubicBezTo>
                  <a:cubicBezTo>
                    <a:pt x="-238" y="6061"/>
                    <a:pt x="-1497" y="12361"/>
                    <a:pt x="2282" y="17400"/>
                  </a:cubicBezTo>
                  <a:cubicBezTo>
                    <a:pt x="66533" y="87950"/>
                    <a:pt x="116926" y="167319"/>
                    <a:pt x="152201" y="255507"/>
                  </a:cubicBezTo>
                  <a:cubicBezTo>
                    <a:pt x="153461" y="260546"/>
                    <a:pt x="158500" y="263066"/>
                    <a:pt x="162280" y="26306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10753531" y="3862012"/>
              <a:ext cx="51482" cy="102964"/>
            </a:xfrm>
            <a:custGeom>
              <a:avLst/>
              <a:gdLst>
                <a:gd name="connsiteX0" fmla="*/ 67092 w 75589"/>
                <a:gd name="connsiteY0" fmla="*/ 157799 h 151178"/>
                <a:gd name="connsiteX1" fmla="*/ 70871 w 75589"/>
                <a:gd name="connsiteY1" fmla="*/ 156539 h 151178"/>
                <a:gd name="connsiteX2" fmla="*/ 77170 w 75589"/>
                <a:gd name="connsiteY2" fmla="*/ 142681 h 151178"/>
                <a:gd name="connsiteX3" fmla="*/ 20478 w 75589"/>
                <a:gd name="connsiteY3" fmla="*/ 6620 h 151178"/>
                <a:gd name="connsiteX4" fmla="*/ 6620 w 75589"/>
                <a:gd name="connsiteY4" fmla="*/ 321 h 151178"/>
                <a:gd name="connsiteX5" fmla="*/ 321 w 75589"/>
                <a:gd name="connsiteY5" fmla="*/ 14179 h 151178"/>
                <a:gd name="connsiteX6" fmla="*/ 57013 w 75589"/>
                <a:gd name="connsiteY6" fmla="*/ 150240 h 151178"/>
                <a:gd name="connsiteX7" fmla="*/ 67092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67092" y="157799"/>
                  </a:moveTo>
                  <a:cubicBezTo>
                    <a:pt x="68351" y="157799"/>
                    <a:pt x="69611" y="157799"/>
                    <a:pt x="70871" y="156539"/>
                  </a:cubicBezTo>
                  <a:cubicBezTo>
                    <a:pt x="75910" y="154019"/>
                    <a:pt x="78430" y="147720"/>
                    <a:pt x="77170" y="142681"/>
                  </a:cubicBezTo>
                  <a:lnTo>
                    <a:pt x="20478" y="6620"/>
                  </a:lnTo>
                  <a:cubicBezTo>
                    <a:pt x="17959" y="1581"/>
                    <a:pt x="11659" y="-939"/>
                    <a:pt x="6620" y="321"/>
                  </a:cubicBezTo>
                  <a:cubicBezTo>
                    <a:pt x="1581" y="2841"/>
                    <a:pt x="-939" y="9140"/>
                    <a:pt x="321" y="14179"/>
                  </a:cubicBezTo>
                  <a:lnTo>
                    <a:pt x="57013" y="150240"/>
                  </a:lnTo>
                  <a:cubicBezTo>
                    <a:pt x="58273" y="156539"/>
                    <a:pt x="62052" y="157799"/>
                    <a:pt x="67092" y="15779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10815839" y="3782164"/>
              <a:ext cx="111545" cy="94384"/>
            </a:xfrm>
            <a:custGeom>
              <a:avLst/>
              <a:gdLst>
                <a:gd name="connsiteX0" fmla="*/ 9623 w 163777"/>
                <a:gd name="connsiteY0" fmla="*/ 147795 h 138580"/>
                <a:gd name="connsiteX1" fmla="*/ 17182 w 163777"/>
                <a:gd name="connsiteY1" fmla="*/ 145275 h 138580"/>
                <a:gd name="connsiteX2" fmla="*/ 167101 w 163777"/>
                <a:gd name="connsiteY2" fmla="*/ 19293 h 138580"/>
                <a:gd name="connsiteX3" fmla="*/ 169620 w 163777"/>
                <a:gd name="connsiteY3" fmla="*/ 4175 h 138580"/>
                <a:gd name="connsiteX4" fmla="*/ 154503 w 163777"/>
                <a:gd name="connsiteY4" fmla="*/ 1655 h 138580"/>
                <a:gd name="connsiteX5" fmla="*/ 3324 w 163777"/>
                <a:gd name="connsiteY5" fmla="*/ 128897 h 138580"/>
                <a:gd name="connsiteX6" fmla="*/ 3324 w 163777"/>
                <a:gd name="connsiteY6" fmla="*/ 144015 h 138580"/>
                <a:gd name="connsiteX7" fmla="*/ 962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9623" y="147795"/>
                  </a:moveTo>
                  <a:cubicBezTo>
                    <a:pt x="12142" y="147795"/>
                    <a:pt x="14662" y="146535"/>
                    <a:pt x="17182" y="145275"/>
                  </a:cubicBezTo>
                  <a:cubicBezTo>
                    <a:pt x="65055" y="101181"/>
                    <a:pt x="115448" y="58347"/>
                    <a:pt x="167101" y="19293"/>
                  </a:cubicBezTo>
                  <a:cubicBezTo>
                    <a:pt x="172140" y="15513"/>
                    <a:pt x="172140" y="9214"/>
                    <a:pt x="169620" y="4175"/>
                  </a:cubicBezTo>
                  <a:cubicBezTo>
                    <a:pt x="165841" y="-865"/>
                    <a:pt x="159542" y="-865"/>
                    <a:pt x="154503" y="1655"/>
                  </a:cubicBezTo>
                  <a:cubicBezTo>
                    <a:pt x="102850" y="41970"/>
                    <a:pt x="51197" y="84803"/>
                    <a:pt x="3324" y="128897"/>
                  </a:cubicBezTo>
                  <a:cubicBezTo>
                    <a:pt x="-456" y="132677"/>
                    <a:pt x="-1716" y="140236"/>
                    <a:pt x="3324" y="144015"/>
                  </a:cubicBezTo>
                  <a:cubicBezTo>
                    <a:pt x="4583" y="146535"/>
                    <a:pt x="7103" y="147795"/>
                    <a:pt x="9623" y="14779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10816548" y="3745757"/>
              <a:ext cx="94384" cy="68643"/>
            </a:xfrm>
            <a:custGeom>
              <a:avLst/>
              <a:gdLst>
                <a:gd name="connsiteX0" fmla="*/ 11101 w 138580"/>
                <a:gd name="connsiteY0" fmla="*/ 113062 h 100785"/>
                <a:gd name="connsiteX1" fmla="*/ 18660 w 138580"/>
                <a:gd name="connsiteY1" fmla="*/ 110542 h 100785"/>
                <a:gd name="connsiteX2" fmla="*/ 134564 w 138580"/>
                <a:gd name="connsiteY2" fmla="*/ 19835 h 100785"/>
                <a:gd name="connsiteX3" fmla="*/ 137083 w 138580"/>
                <a:gd name="connsiteY3" fmla="*/ 4717 h 100785"/>
                <a:gd name="connsiteX4" fmla="*/ 121965 w 138580"/>
                <a:gd name="connsiteY4" fmla="*/ 2198 h 100785"/>
                <a:gd name="connsiteX5" fmla="*/ 3542 w 138580"/>
                <a:gd name="connsiteY5" fmla="*/ 94165 h 100785"/>
                <a:gd name="connsiteX6" fmla="*/ 2282 w 138580"/>
                <a:gd name="connsiteY6" fmla="*/ 109283 h 100785"/>
                <a:gd name="connsiteX7" fmla="*/ 11101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1101" y="113062"/>
                  </a:moveTo>
                  <a:cubicBezTo>
                    <a:pt x="13621" y="113062"/>
                    <a:pt x="16140" y="111802"/>
                    <a:pt x="18660" y="110542"/>
                  </a:cubicBezTo>
                  <a:cubicBezTo>
                    <a:pt x="55195" y="77787"/>
                    <a:pt x="94249" y="47551"/>
                    <a:pt x="134564" y="19835"/>
                  </a:cubicBezTo>
                  <a:cubicBezTo>
                    <a:pt x="139603" y="16056"/>
                    <a:pt x="140863" y="9757"/>
                    <a:pt x="137083" y="4717"/>
                  </a:cubicBezTo>
                  <a:cubicBezTo>
                    <a:pt x="133304" y="-322"/>
                    <a:pt x="127005" y="-1582"/>
                    <a:pt x="121965" y="2198"/>
                  </a:cubicBezTo>
                  <a:cubicBezTo>
                    <a:pt x="80391" y="29914"/>
                    <a:pt x="40077" y="61409"/>
                    <a:pt x="3542" y="94165"/>
                  </a:cubicBezTo>
                  <a:cubicBezTo>
                    <a:pt x="-238" y="97944"/>
                    <a:pt x="-1498" y="105503"/>
                    <a:pt x="2282" y="109283"/>
                  </a:cubicBezTo>
                  <a:cubicBezTo>
                    <a:pt x="6062" y="111802"/>
                    <a:pt x="8581" y="113062"/>
                    <a:pt x="11101" y="11306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7524274" y="3911851"/>
              <a:ext cx="429018" cy="926677"/>
            </a:xfrm>
            <a:custGeom>
              <a:avLst/>
              <a:gdLst>
                <a:gd name="connsiteX0" fmla="*/ 213924 w 629911"/>
                <a:gd name="connsiteY0" fmla="*/ 1364602 h 1360609"/>
                <a:gd name="connsiteX1" fmla="*/ 47628 w 629911"/>
                <a:gd name="connsiteY1" fmla="*/ 1120196 h 1360609"/>
                <a:gd name="connsiteX2" fmla="*/ 14872 w 629911"/>
                <a:gd name="connsiteY2" fmla="*/ 715793 h 1360609"/>
                <a:gd name="connsiteX3" fmla="*/ 225263 w 629911"/>
                <a:gd name="connsiteY3" fmla="*/ 386979 h 1360609"/>
                <a:gd name="connsiteX4" fmla="*/ 292033 w 629911"/>
                <a:gd name="connsiteY4" fmla="*/ 95960 h 1360609"/>
                <a:gd name="connsiteX5" fmla="*/ 617068 w 629911"/>
                <a:gd name="connsiteY5" fmla="*/ 249658 h 1360609"/>
                <a:gd name="connsiteX6" fmla="*/ 504943 w 629911"/>
                <a:gd name="connsiteY6" fmla="*/ 540677 h 1360609"/>
                <a:gd name="connsiteX7" fmla="*/ 508723 w 629911"/>
                <a:gd name="connsiteY7" fmla="*/ 845554 h 1360609"/>
                <a:gd name="connsiteX8" fmla="*/ 387780 w 629911"/>
                <a:gd name="connsiteY8" fmla="*/ 1157990 h 1360609"/>
                <a:gd name="connsiteX9" fmla="*/ 213924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213924" y="1364602"/>
                  </a:moveTo>
                  <a:cubicBezTo>
                    <a:pt x="119438" y="1350744"/>
                    <a:pt x="31250" y="1305390"/>
                    <a:pt x="47628" y="1120196"/>
                  </a:cubicBezTo>
                  <a:cubicBezTo>
                    <a:pt x="64005" y="935002"/>
                    <a:pt x="-36781" y="890908"/>
                    <a:pt x="14872" y="715793"/>
                  </a:cubicBezTo>
                  <a:cubicBezTo>
                    <a:pt x="66525" y="540677"/>
                    <a:pt x="229042" y="533118"/>
                    <a:pt x="225263" y="386979"/>
                  </a:cubicBezTo>
                  <a:cubicBezTo>
                    <a:pt x="222743" y="315169"/>
                    <a:pt x="237861" y="185407"/>
                    <a:pt x="292033" y="95960"/>
                  </a:cubicBezTo>
                  <a:cubicBezTo>
                    <a:pt x="382741" y="-53959"/>
                    <a:pt x="698956" y="-46401"/>
                    <a:pt x="617068" y="249658"/>
                  </a:cubicBezTo>
                  <a:cubicBezTo>
                    <a:pt x="589352" y="350444"/>
                    <a:pt x="508723" y="407136"/>
                    <a:pt x="504943" y="540677"/>
                  </a:cubicBezTo>
                  <a:cubicBezTo>
                    <a:pt x="502424" y="635164"/>
                    <a:pt x="551557" y="675478"/>
                    <a:pt x="508723" y="845554"/>
                  </a:cubicBezTo>
                  <a:cubicBezTo>
                    <a:pt x="469668" y="997993"/>
                    <a:pt x="375182" y="1006812"/>
                    <a:pt x="387780" y="1157990"/>
                  </a:cubicBezTo>
                  <a:cubicBezTo>
                    <a:pt x="400378" y="1310429"/>
                    <a:pt x="326049" y="1380979"/>
                    <a:pt x="213924" y="136460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7648522" y="3918694"/>
              <a:ext cx="205929" cy="892356"/>
            </a:xfrm>
            <a:custGeom>
              <a:avLst/>
              <a:gdLst>
                <a:gd name="connsiteX0" fmla="*/ 8819 w 302357"/>
                <a:gd name="connsiteY0" fmla="*/ 1320539 h 1310216"/>
                <a:gd name="connsiteX1" fmla="*/ 5039 w 302357"/>
                <a:gd name="connsiteY1" fmla="*/ 1319279 h 1310216"/>
                <a:gd name="connsiteX2" fmla="*/ 1260 w 302357"/>
                <a:gd name="connsiteY2" fmla="*/ 1304162 h 1310216"/>
                <a:gd name="connsiteX3" fmla="*/ 35275 w 302357"/>
                <a:gd name="connsiteY3" fmla="*/ 1142904 h 1310216"/>
                <a:gd name="connsiteX4" fmla="*/ 36535 w 302357"/>
                <a:gd name="connsiteY4" fmla="*/ 1059755 h 1310216"/>
                <a:gd name="connsiteX5" fmla="*/ 97006 w 302357"/>
                <a:gd name="connsiteY5" fmla="*/ 621337 h 1310216"/>
                <a:gd name="connsiteX6" fmla="*/ 175115 w 302357"/>
                <a:gd name="connsiteY6" fmla="*/ 476457 h 1310216"/>
                <a:gd name="connsiteX7" fmla="*/ 254484 w 302357"/>
                <a:gd name="connsiteY7" fmla="*/ 326539 h 1310216"/>
                <a:gd name="connsiteX8" fmla="*/ 279681 w 302357"/>
                <a:gd name="connsiteY8" fmla="*/ 12842 h 1310216"/>
                <a:gd name="connsiteX9" fmla="*/ 287240 w 302357"/>
                <a:gd name="connsiteY9" fmla="*/ 244 h 1310216"/>
                <a:gd name="connsiteX10" fmla="*/ 299838 w 302357"/>
                <a:gd name="connsiteY10" fmla="*/ 7803 h 1310216"/>
                <a:gd name="connsiteX11" fmla="*/ 273382 w 302357"/>
                <a:gd name="connsiteY11" fmla="*/ 334097 h 1310216"/>
                <a:gd name="connsiteX12" fmla="*/ 192753 w 302357"/>
                <a:gd name="connsiteY12" fmla="*/ 486536 h 1310216"/>
                <a:gd name="connsiteX13" fmla="*/ 115904 w 302357"/>
                <a:gd name="connsiteY13" fmla="*/ 628896 h 1310216"/>
                <a:gd name="connsiteX14" fmla="*/ 56692 w 302357"/>
                <a:gd name="connsiteY14" fmla="*/ 1059755 h 1310216"/>
                <a:gd name="connsiteX15" fmla="*/ 55432 w 302357"/>
                <a:gd name="connsiteY15" fmla="*/ 1142904 h 1310216"/>
                <a:gd name="connsiteX16" fmla="*/ 17638 w 302357"/>
                <a:gd name="connsiteY16" fmla="*/ 1315500 h 1310216"/>
                <a:gd name="connsiteX17" fmla="*/ 8819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8819" y="1320539"/>
                  </a:moveTo>
                  <a:cubicBezTo>
                    <a:pt x="7559" y="1320539"/>
                    <a:pt x="6299" y="1319279"/>
                    <a:pt x="5039" y="1319279"/>
                  </a:cubicBezTo>
                  <a:cubicBezTo>
                    <a:pt x="0" y="1316760"/>
                    <a:pt x="-1260" y="1309201"/>
                    <a:pt x="1260" y="1304162"/>
                  </a:cubicBezTo>
                  <a:cubicBezTo>
                    <a:pt x="30236" y="1257548"/>
                    <a:pt x="34015" y="1199596"/>
                    <a:pt x="35275" y="1142904"/>
                  </a:cubicBezTo>
                  <a:cubicBezTo>
                    <a:pt x="36535" y="1115188"/>
                    <a:pt x="36535" y="1087472"/>
                    <a:pt x="36535" y="1059755"/>
                  </a:cubicBezTo>
                  <a:cubicBezTo>
                    <a:pt x="37795" y="912356"/>
                    <a:pt x="40314" y="758658"/>
                    <a:pt x="97006" y="621337"/>
                  </a:cubicBezTo>
                  <a:cubicBezTo>
                    <a:pt x="118423" y="570944"/>
                    <a:pt x="147399" y="523071"/>
                    <a:pt x="175115" y="476457"/>
                  </a:cubicBezTo>
                  <a:cubicBezTo>
                    <a:pt x="204091" y="428584"/>
                    <a:pt x="233067" y="379451"/>
                    <a:pt x="254484" y="326539"/>
                  </a:cubicBezTo>
                  <a:cubicBezTo>
                    <a:pt x="293539" y="228272"/>
                    <a:pt x="302358" y="116148"/>
                    <a:pt x="279681" y="12842"/>
                  </a:cubicBezTo>
                  <a:cubicBezTo>
                    <a:pt x="278421" y="6543"/>
                    <a:pt x="282200" y="1504"/>
                    <a:pt x="287240" y="244"/>
                  </a:cubicBezTo>
                  <a:cubicBezTo>
                    <a:pt x="293539" y="-1016"/>
                    <a:pt x="298578" y="2764"/>
                    <a:pt x="299838" y="7803"/>
                  </a:cubicBezTo>
                  <a:cubicBezTo>
                    <a:pt x="323775" y="116148"/>
                    <a:pt x="314956" y="230792"/>
                    <a:pt x="273382" y="334097"/>
                  </a:cubicBezTo>
                  <a:cubicBezTo>
                    <a:pt x="251965" y="388270"/>
                    <a:pt x="221729" y="438663"/>
                    <a:pt x="192753" y="486536"/>
                  </a:cubicBezTo>
                  <a:cubicBezTo>
                    <a:pt x="165037" y="531890"/>
                    <a:pt x="137321" y="579763"/>
                    <a:pt x="115904" y="628896"/>
                  </a:cubicBezTo>
                  <a:cubicBezTo>
                    <a:pt x="59212" y="762437"/>
                    <a:pt x="57952" y="913616"/>
                    <a:pt x="56692" y="1059755"/>
                  </a:cubicBezTo>
                  <a:cubicBezTo>
                    <a:pt x="56692" y="1087472"/>
                    <a:pt x="56692" y="1115188"/>
                    <a:pt x="55432" y="1142904"/>
                  </a:cubicBezTo>
                  <a:cubicBezTo>
                    <a:pt x="54172" y="1202116"/>
                    <a:pt x="50393" y="1263847"/>
                    <a:pt x="17638" y="1315500"/>
                  </a:cubicBezTo>
                  <a:cubicBezTo>
                    <a:pt x="17638" y="1319279"/>
                    <a:pt x="12598" y="1321799"/>
                    <a:pt x="8819" y="132053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7551726" y="4378071"/>
              <a:ext cx="137286" cy="180187"/>
            </a:xfrm>
            <a:custGeom>
              <a:avLst/>
              <a:gdLst>
                <a:gd name="connsiteX0" fmla="*/ 189996 w 201571"/>
                <a:gd name="connsiteY0" fmla="*/ 264325 h 264562"/>
                <a:gd name="connsiteX1" fmla="*/ 182437 w 201571"/>
                <a:gd name="connsiteY1" fmla="*/ 259286 h 264562"/>
                <a:gd name="connsiteX2" fmla="*/ 2282 w 201571"/>
                <a:gd name="connsiteY2" fmla="*/ 17400 h 264562"/>
                <a:gd name="connsiteX3" fmla="*/ 3542 w 201571"/>
                <a:gd name="connsiteY3" fmla="*/ 2282 h 264562"/>
                <a:gd name="connsiteX4" fmla="*/ 18660 w 201571"/>
                <a:gd name="connsiteY4" fmla="*/ 3542 h 264562"/>
                <a:gd name="connsiteX5" fmla="*/ 200074 w 201571"/>
                <a:gd name="connsiteY5" fmla="*/ 246688 h 264562"/>
                <a:gd name="connsiteX6" fmla="*/ 197555 w 201571"/>
                <a:gd name="connsiteY6" fmla="*/ 261806 h 264562"/>
                <a:gd name="connsiteX7" fmla="*/ 18999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89996" y="264325"/>
                  </a:moveTo>
                  <a:cubicBezTo>
                    <a:pt x="187476" y="264325"/>
                    <a:pt x="184956" y="261806"/>
                    <a:pt x="182437" y="259286"/>
                  </a:cubicBezTo>
                  <a:cubicBezTo>
                    <a:pt x="124485" y="177397"/>
                    <a:pt x="64013" y="95509"/>
                    <a:pt x="2282" y="17400"/>
                  </a:cubicBezTo>
                  <a:cubicBezTo>
                    <a:pt x="-1497" y="12361"/>
                    <a:pt x="-238" y="6061"/>
                    <a:pt x="3542" y="2282"/>
                  </a:cubicBezTo>
                  <a:cubicBezTo>
                    <a:pt x="8581" y="-1497"/>
                    <a:pt x="14880" y="-238"/>
                    <a:pt x="18660" y="3542"/>
                  </a:cubicBezTo>
                  <a:cubicBezTo>
                    <a:pt x="81651" y="82911"/>
                    <a:pt x="142122" y="164799"/>
                    <a:pt x="200074" y="246688"/>
                  </a:cubicBezTo>
                  <a:cubicBezTo>
                    <a:pt x="203854" y="251727"/>
                    <a:pt x="202594" y="258026"/>
                    <a:pt x="197555" y="261806"/>
                  </a:cubicBezTo>
                  <a:cubicBezTo>
                    <a:pt x="195035" y="264325"/>
                    <a:pt x="192515" y="265585"/>
                    <a:pt x="189996" y="26432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7563362" y="4456633"/>
              <a:ext cx="120125" cy="145866"/>
            </a:xfrm>
            <a:custGeom>
              <a:avLst/>
              <a:gdLst>
                <a:gd name="connsiteX0" fmla="*/ 171651 w 176375"/>
                <a:gd name="connsiteY0" fmla="*/ 214485 h 214169"/>
                <a:gd name="connsiteX1" fmla="*/ 164092 w 176375"/>
                <a:gd name="connsiteY1" fmla="*/ 210706 h 214169"/>
                <a:gd name="connsiteX2" fmla="*/ 2835 w 176375"/>
                <a:gd name="connsiteY2" fmla="*/ 17952 h 214169"/>
                <a:gd name="connsiteX3" fmla="*/ 2835 w 176375"/>
                <a:gd name="connsiteY3" fmla="*/ 2835 h 214169"/>
                <a:gd name="connsiteX4" fmla="*/ 17952 w 176375"/>
                <a:gd name="connsiteY4" fmla="*/ 2835 h 214169"/>
                <a:gd name="connsiteX5" fmla="*/ 180470 w 176375"/>
                <a:gd name="connsiteY5" fmla="*/ 198107 h 214169"/>
                <a:gd name="connsiteX6" fmla="*/ 177950 w 176375"/>
                <a:gd name="connsiteY6" fmla="*/ 213225 h 214169"/>
                <a:gd name="connsiteX7" fmla="*/ 171651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71651" y="214485"/>
                  </a:moveTo>
                  <a:cubicBezTo>
                    <a:pt x="169131" y="214485"/>
                    <a:pt x="166612" y="213225"/>
                    <a:pt x="164092" y="210706"/>
                  </a:cubicBezTo>
                  <a:cubicBezTo>
                    <a:pt x="114959" y="142675"/>
                    <a:pt x="60786" y="78424"/>
                    <a:pt x="2835" y="17952"/>
                  </a:cubicBezTo>
                  <a:cubicBezTo>
                    <a:pt x="-945" y="14173"/>
                    <a:pt x="-945" y="6614"/>
                    <a:pt x="2835" y="2835"/>
                  </a:cubicBezTo>
                  <a:cubicBezTo>
                    <a:pt x="6614" y="-945"/>
                    <a:pt x="14173" y="-945"/>
                    <a:pt x="17952" y="2835"/>
                  </a:cubicBezTo>
                  <a:cubicBezTo>
                    <a:pt x="75904" y="63306"/>
                    <a:pt x="131337" y="128817"/>
                    <a:pt x="180470" y="198107"/>
                  </a:cubicBezTo>
                  <a:cubicBezTo>
                    <a:pt x="184249" y="203147"/>
                    <a:pt x="182989" y="209446"/>
                    <a:pt x="177950" y="213225"/>
                  </a:cubicBezTo>
                  <a:cubicBezTo>
                    <a:pt x="177950" y="214485"/>
                    <a:pt x="174171" y="214485"/>
                    <a:pt x="171651" y="21448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7602069" y="4584576"/>
              <a:ext cx="77223" cy="85803"/>
            </a:xfrm>
            <a:custGeom>
              <a:avLst/>
              <a:gdLst>
                <a:gd name="connsiteX0" fmla="*/ 113559 w 113384"/>
                <a:gd name="connsiteY0" fmla="*/ 136235 h 125982"/>
                <a:gd name="connsiteX1" fmla="*/ 106000 w 113384"/>
                <a:gd name="connsiteY1" fmla="*/ 131196 h 125982"/>
                <a:gd name="connsiteX2" fmla="*/ 3954 w 113384"/>
                <a:gd name="connsiteY2" fmla="*/ 19071 h 125982"/>
                <a:gd name="connsiteX3" fmla="*/ 2694 w 113384"/>
                <a:gd name="connsiteY3" fmla="*/ 3954 h 125982"/>
                <a:gd name="connsiteX4" fmla="*/ 17812 w 113384"/>
                <a:gd name="connsiteY4" fmla="*/ 2694 h 125982"/>
                <a:gd name="connsiteX5" fmla="*/ 123637 w 113384"/>
                <a:gd name="connsiteY5" fmla="*/ 119857 h 125982"/>
                <a:gd name="connsiteX6" fmla="*/ 121117 w 113384"/>
                <a:gd name="connsiteY6" fmla="*/ 134975 h 125982"/>
                <a:gd name="connsiteX7" fmla="*/ 113559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13559" y="136235"/>
                  </a:moveTo>
                  <a:cubicBezTo>
                    <a:pt x="111039" y="136235"/>
                    <a:pt x="108519" y="133715"/>
                    <a:pt x="106000" y="131196"/>
                  </a:cubicBezTo>
                  <a:cubicBezTo>
                    <a:pt x="77024" y="89622"/>
                    <a:pt x="43008" y="51827"/>
                    <a:pt x="3954" y="19071"/>
                  </a:cubicBezTo>
                  <a:cubicBezTo>
                    <a:pt x="-1085" y="15292"/>
                    <a:pt x="-1085" y="8993"/>
                    <a:pt x="2694" y="3954"/>
                  </a:cubicBezTo>
                  <a:cubicBezTo>
                    <a:pt x="6474" y="-1085"/>
                    <a:pt x="12773" y="-1085"/>
                    <a:pt x="17812" y="2694"/>
                  </a:cubicBezTo>
                  <a:cubicBezTo>
                    <a:pt x="58126" y="36709"/>
                    <a:pt x="93401" y="75764"/>
                    <a:pt x="123637" y="119857"/>
                  </a:cubicBezTo>
                  <a:cubicBezTo>
                    <a:pt x="127417" y="124897"/>
                    <a:pt x="126157" y="131196"/>
                    <a:pt x="121117" y="134975"/>
                  </a:cubicBezTo>
                  <a:cubicBezTo>
                    <a:pt x="118598" y="134975"/>
                    <a:pt x="116078" y="136235"/>
                    <a:pt x="113559" y="13623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7681127" y="4391949"/>
              <a:ext cx="171607" cy="85803"/>
            </a:xfrm>
            <a:custGeom>
              <a:avLst/>
              <a:gdLst>
                <a:gd name="connsiteX0" fmla="*/ 8819 w 251964"/>
                <a:gd name="connsiteY0" fmla="*/ 129304 h 125982"/>
                <a:gd name="connsiteX1" fmla="*/ 1260 w 251964"/>
                <a:gd name="connsiteY1" fmla="*/ 124265 h 125982"/>
                <a:gd name="connsiteX2" fmla="*/ 5039 w 251964"/>
                <a:gd name="connsiteY2" fmla="*/ 110407 h 125982"/>
                <a:gd name="connsiteX3" fmla="*/ 249445 w 251964"/>
                <a:gd name="connsiteY3" fmla="*/ 802 h 125982"/>
                <a:gd name="connsiteX4" fmla="*/ 263303 w 251964"/>
                <a:gd name="connsiteY4" fmla="*/ 7101 h 125982"/>
                <a:gd name="connsiteX5" fmla="*/ 257004 w 251964"/>
                <a:gd name="connsiteY5" fmla="*/ 20959 h 125982"/>
                <a:gd name="connsiteX6" fmla="*/ 15118 w 251964"/>
                <a:gd name="connsiteY6" fmla="*/ 129304 h 125982"/>
                <a:gd name="connsiteX7" fmla="*/ 8819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8819" y="129304"/>
                  </a:moveTo>
                  <a:cubicBezTo>
                    <a:pt x="5039" y="129304"/>
                    <a:pt x="2520" y="126784"/>
                    <a:pt x="1260" y="124265"/>
                  </a:cubicBezTo>
                  <a:cubicBezTo>
                    <a:pt x="-1260" y="119225"/>
                    <a:pt x="0" y="112926"/>
                    <a:pt x="5039" y="110407"/>
                  </a:cubicBezTo>
                  <a:cubicBezTo>
                    <a:pt x="83148" y="68832"/>
                    <a:pt x="166297" y="31038"/>
                    <a:pt x="249445" y="802"/>
                  </a:cubicBezTo>
                  <a:cubicBezTo>
                    <a:pt x="254484" y="-1718"/>
                    <a:pt x="260783" y="2062"/>
                    <a:pt x="263303" y="7101"/>
                  </a:cubicBezTo>
                  <a:cubicBezTo>
                    <a:pt x="265823" y="12141"/>
                    <a:pt x="262043" y="18440"/>
                    <a:pt x="257004" y="20959"/>
                  </a:cubicBezTo>
                  <a:cubicBezTo>
                    <a:pt x="173856" y="51195"/>
                    <a:pt x="93227" y="87730"/>
                    <a:pt x="15118" y="129304"/>
                  </a:cubicBezTo>
                  <a:cubicBezTo>
                    <a:pt x="13858" y="129304"/>
                    <a:pt x="11338" y="129304"/>
                    <a:pt x="8819" y="12930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7684341" y="4438611"/>
              <a:ext cx="180187" cy="68643"/>
            </a:xfrm>
            <a:custGeom>
              <a:avLst/>
              <a:gdLst>
                <a:gd name="connsiteX0" fmla="*/ 9140 w 264562"/>
                <a:gd name="connsiteY0" fmla="*/ 103627 h 100785"/>
                <a:gd name="connsiteX1" fmla="*/ 321 w 264562"/>
                <a:gd name="connsiteY1" fmla="*/ 96068 h 100785"/>
                <a:gd name="connsiteX2" fmla="*/ 6620 w 264562"/>
                <a:gd name="connsiteY2" fmla="*/ 82209 h 100785"/>
                <a:gd name="connsiteX3" fmla="*/ 259845 w 264562"/>
                <a:gd name="connsiteY3" fmla="*/ 321 h 100785"/>
                <a:gd name="connsiteX4" fmla="*/ 273703 w 264562"/>
                <a:gd name="connsiteY4" fmla="*/ 6620 h 100785"/>
                <a:gd name="connsiteX5" fmla="*/ 267404 w 264562"/>
                <a:gd name="connsiteY5" fmla="*/ 20478 h 100785"/>
                <a:gd name="connsiteX6" fmla="*/ 14179 w 264562"/>
                <a:gd name="connsiteY6" fmla="*/ 102367 h 100785"/>
                <a:gd name="connsiteX7" fmla="*/ 9140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9140" y="103627"/>
                  </a:moveTo>
                  <a:cubicBezTo>
                    <a:pt x="5360" y="103627"/>
                    <a:pt x="1581" y="99847"/>
                    <a:pt x="321" y="96068"/>
                  </a:cubicBezTo>
                  <a:cubicBezTo>
                    <a:pt x="-939" y="91028"/>
                    <a:pt x="1581" y="84729"/>
                    <a:pt x="6620" y="82209"/>
                  </a:cubicBezTo>
                  <a:lnTo>
                    <a:pt x="259845" y="321"/>
                  </a:lnTo>
                  <a:cubicBezTo>
                    <a:pt x="264884" y="-939"/>
                    <a:pt x="271183" y="1581"/>
                    <a:pt x="273703" y="6620"/>
                  </a:cubicBezTo>
                  <a:cubicBezTo>
                    <a:pt x="274963" y="11660"/>
                    <a:pt x="272443" y="17959"/>
                    <a:pt x="267404" y="20478"/>
                  </a:cubicBezTo>
                  <a:lnTo>
                    <a:pt x="14179" y="102367"/>
                  </a:lnTo>
                  <a:cubicBezTo>
                    <a:pt x="11659" y="103627"/>
                    <a:pt x="10400" y="103627"/>
                    <a:pt x="9140" y="10362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7688211" y="4245991"/>
              <a:ext cx="51482" cy="68643"/>
            </a:xfrm>
            <a:custGeom>
              <a:avLst/>
              <a:gdLst>
                <a:gd name="connsiteX0" fmla="*/ 71488 w 75589"/>
                <a:gd name="connsiteY0" fmla="*/ 104243 h 100785"/>
                <a:gd name="connsiteX1" fmla="*/ 63929 w 75589"/>
                <a:gd name="connsiteY1" fmla="*/ 100464 h 100785"/>
                <a:gd name="connsiteX2" fmla="*/ 2198 w 75589"/>
                <a:gd name="connsiteY2" fmla="*/ 17315 h 100785"/>
                <a:gd name="connsiteX3" fmla="*/ 4717 w 75589"/>
                <a:gd name="connsiteY3" fmla="*/ 2198 h 100785"/>
                <a:gd name="connsiteX4" fmla="*/ 19835 w 75589"/>
                <a:gd name="connsiteY4" fmla="*/ 4717 h 100785"/>
                <a:gd name="connsiteX5" fmla="*/ 81566 w 75589"/>
                <a:gd name="connsiteY5" fmla="*/ 87866 h 100785"/>
                <a:gd name="connsiteX6" fmla="*/ 79047 w 75589"/>
                <a:gd name="connsiteY6" fmla="*/ 102983 h 100785"/>
                <a:gd name="connsiteX7" fmla="*/ 71488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71488" y="104243"/>
                  </a:moveTo>
                  <a:cubicBezTo>
                    <a:pt x="68968" y="104243"/>
                    <a:pt x="66449" y="102983"/>
                    <a:pt x="63929" y="100464"/>
                  </a:cubicBezTo>
                  <a:lnTo>
                    <a:pt x="2198" y="17315"/>
                  </a:lnTo>
                  <a:cubicBezTo>
                    <a:pt x="-1582" y="12276"/>
                    <a:pt x="-322" y="5977"/>
                    <a:pt x="4717" y="2198"/>
                  </a:cubicBezTo>
                  <a:cubicBezTo>
                    <a:pt x="9757" y="-1582"/>
                    <a:pt x="16056" y="-322"/>
                    <a:pt x="19835" y="4717"/>
                  </a:cubicBezTo>
                  <a:lnTo>
                    <a:pt x="81566" y="87866"/>
                  </a:lnTo>
                  <a:cubicBezTo>
                    <a:pt x="85346" y="92905"/>
                    <a:pt x="84086" y="99204"/>
                    <a:pt x="79047" y="102983"/>
                  </a:cubicBezTo>
                  <a:cubicBezTo>
                    <a:pt x="76527" y="104243"/>
                    <a:pt x="74008" y="104243"/>
                    <a:pt x="71488" y="104243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7695332" y="4186186"/>
              <a:ext cx="60063" cy="94384"/>
            </a:xfrm>
            <a:custGeom>
              <a:avLst/>
              <a:gdLst>
                <a:gd name="connsiteX0" fmla="*/ 82448 w 88187"/>
                <a:gd name="connsiteY0" fmla="*/ 145440 h 138580"/>
                <a:gd name="connsiteX1" fmla="*/ 74889 w 88187"/>
                <a:gd name="connsiteY1" fmla="*/ 140400 h 138580"/>
                <a:gd name="connsiteX2" fmla="*/ 1820 w 88187"/>
                <a:gd name="connsiteY2" fmla="*/ 16938 h 138580"/>
                <a:gd name="connsiteX3" fmla="*/ 5599 w 88187"/>
                <a:gd name="connsiteY3" fmla="*/ 1820 h 138580"/>
                <a:gd name="connsiteX4" fmla="*/ 20717 w 88187"/>
                <a:gd name="connsiteY4" fmla="*/ 5599 h 138580"/>
                <a:gd name="connsiteX5" fmla="*/ 93787 w 88187"/>
                <a:gd name="connsiteY5" fmla="*/ 130322 h 138580"/>
                <a:gd name="connsiteX6" fmla="*/ 90007 w 88187"/>
                <a:gd name="connsiteY6" fmla="*/ 144180 h 138580"/>
                <a:gd name="connsiteX7" fmla="*/ 8244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82448" y="145440"/>
                  </a:moveTo>
                  <a:cubicBezTo>
                    <a:pt x="78669" y="145440"/>
                    <a:pt x="76149" y="142920"/>
                    <a:pt x="74889" y="140400"/>
                  </a:cubicBezTo>
                  <a:cubicBezTo>
                    <a:pt x="52213" y="98826"/>
                    <a:pt x="28276" y="57252"/>
                    <a:pt x="1820" y="16938"/>
                  </a:cubicBezTo>
                  <a:cubicBezTo>
                    <a:pt x="-1960" y="11898"/>
                    <a:pt x="560" y="5599"/>
                    <a:pt x="5599" y="1820"/>
                  </a:cubicBezTo>
                  <a:cubicBezTo>
                    <a:pt x="10638" y="-1960"/>
                    <a:pt x="16938" y="560"/>
                    <a:pt x="20717" y="5599"/>
                  </a:cubicBezTo>
                  <a:cubicBezTo>
                    <a:pt x="47173" y="45914"/>
                    <a:pt x="71110" y="87488"/>
                    <a:pt x="93787" y="130322"/>
                  </a:cubicBezTo>
                  <a:cubicBezTo>
                    <a:pt x="96307" y="135361"/>
                    <a:pt x="95047" y="141660"/>
                    <a:pt x="90007" y="144180"/>
                  </a:cubicBezTo>
                  <a:cubicBezTo>
                    <a:pt x="87488" y="145440"/>
                    <a:pt x="84968" y="145440"/>
                    <a:pt x="82448" y="14544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7765906" y="4220342"/>
              <a:ext cx="102964" cy="34321"/>
            </a:xfrm>
            <a:custGeom>
              <a:avLst/>
              <a:gdLst>
                <a:gd name="connsiteX0" fmla="*/ 9063 w 151178"/>
                <a:gd name="connsiteY0" fmla="*/ 61274 h 50392"/>
                <a:gd name="connsiteX1" fmla="*/ 244 w 151178"/>
                <a:gd name="connsiteY1" fmla="*/ 53715 h 50392"/>
                <a:gd name="connsiteX2" fmla="*/ 7803 w 151178"/>
                <a:gd name="connsiteY2" fmla="*/ 41116 h 50392"/>
                <a:gd name="connsiteX3" fmla="*/ 142604 w 151178"/>
                <a:gd name="connsiteY3" fmla="*/ 802 h 50392"/>
                <a:gd name="connsiteX4" fmla="*/ 156462 w 151178"/>
                <a:gd name="connsiteY4" fmla="*/ 7101 h 50392"/>
                <a:gd name="connsiteX5" fmla="*/ 150163 w 151178"/>
                <a:gd name="connsiteY5" fmla="*/ 20959 h 50392"/>
                <a:gd name="connsiteX6" fmla="*/ 12842 w 151178"/>
                <a:gd name="connsiteY6" fmla="*/ 62533 h 50392"/>
                <a:gd name="connsiteX7" fmla="*/ 9063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9063" y="61274"/>
                  </a:moveTo>
                  <a:cubicBezTo>
                    <a:pt x="5283" y="61274"/>
                    <a:pt x="1504" y="57494"/>
                    <a:pt x="244" y="53715"/>
                  </a:cubicBezTo>
                  <a:cubicBezTo>
                    <a:pt x="-1016" y="47416"/>
                    <a:pt x="2764" y="42376"/>
                    <a:pt x="7803" y="41116"/>
                  </a:cubicBezTo>
                  <a:cubicBezTo>
                    <a:pt x="53157" y="29778"/>
                    <a:pt x="98510" y="17180"/>
                    <a:pt x="142604" y="802"/>
                  </a:cubicBezTo>
                  <a:cubicBezTo>
                    <a:pt x="147643" y="-1718"/>
                    <a:pt x="153943" y="2062"/>
                    <a:pt x="156462" y="7101"/>
                  </a:cubicBezTo>
                  <a:cubicBezTo>
                    <a:pt x="158982" y="12141"/>
                    <a:pt x="155202" y="18440"/>
                    <a:pt x="150163" y="20959"/>
                  </a:cubicBezTo>
                  <a:cubicBezTo>
                    <a:pt x="104810" y="37337"/>
                    <a:pt x="59456" y="51195"/>
                    <a:pt x="12842" y="62533"/>
                  </a:cubicBezTo>
                  <a:cubicBezTo>
                    <a:pt x="12842" y="61274"/>
                    <a:pt x="10323" y="61274"/>
                    <a:pt x="9063" y="6127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7677022" y="4667543"/>
              <a:ext cx="94384" cy="60063"/>
            </a:xfrm>
            <a:custGeom>
              <a:avLst/>
              <a:gdLst>
                <a:gd name="connsiteX0" fmla="*/ 8547 w 138580"/>
                <a:gd name="connsiteY0" fmla="*/ 88748 h 88187"/>
                <a:gd name="connsiteX1" fmla="*/ 988 w 138580"/>
                <a:gd name="connsiteY1" fmla="*/ 82448 h 88187"/>
                <a:gd name="connsiteX2" fmla="*/ 6028 w 138580"/>
                <a:gd name="connsiteY2" fmla="*/ 68590 h 88187"/>
                <a:gd name="connsiteX3" fmla="*/ 130750 w 138580"/>
                <a:gd name="connsiteY3" fmla="*/ 1820 h 88187"/>
                <a:gd name="connsiteX4" fmla="*/ 145868 w 138580"/>
                <a:gd name="connsiteY4" fmla="*/ 5599 h 88187"/>
                <a:gd name="connsiteX5" fmla="*/ 142089 w 138580"/>
                <a:gd name="connsiteY5" fmla="*/ 20717 h 88187"/>
                <a:gd name="connsiteX6" fmla="*/ 14847 w 138580"/>
                <a:gd name="connsiteY6" fmla="*/ 90008 h 88187"/>
                <a:gd name="connsiteX7" fmla="*/ 8547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8547" y="88748"/>
                  </a:moveTo>
                  <a:cubicBezTo>
                    <a:pt x="4768" y="88748"/>
                    <a:pt x="2248" y="86228"/>
                    <a:pt x="988" y="82448"/>
                  </a:cubicBezTo>
                  <a:cubicBezTo>
                    <a:pt x="-1531" y="77409"/>
                    <a:pt x="988" y="71110"/>
                    <a:pt x="6028" y="68590"/>
                  </a:cubicBezTo>
                  <a:cubicBezTo>
                    <a:pt x="48862" y="49693"/>
                    <a:pt x="90436" y="27016"/>
                    <a:pt x="130750" y="1820"/>
                  </a:cubicBezTo>
                  <a:cubicBezTo>
                    <a:pt x="135790" y="-1960"/>
                    <a:pt x="142089" y="560"/>
                    <a:pt x="145868" y="5599"/>
                  </a:cubicBezTo>
                  <a:cubicBezTo>
                    <a:pt x="149648" y="10638"/>
                    <a:pt x="147128" y="16938"/>
                    <a:pt x="142089" y="20717"/>
                  </a:cubicBezTo>
                  <a:cubicBezTo>
                    <a:pt x="101774" y="45914"/>
                    <a:pt x="58940" y="69850"/>
                    <a:pt x="14847" y="90008"/>
                  </a:cubicBezTo>
                  <a:cubicBezTo>
                    <a:pt x="12327" y="88748"/>
                    <a:pt x="11067" y="90008"/>
                    <a:pt x="8547" y="887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7728200" y="4027712"/>
              <a:ext cx="94384" cy="137286"/>
            </a:xfrm>
            <a:custGeom>
              <a:avLst/>
              <a:gdLst>
                <a:gd name="connsiteX0" fmla="*/ 127417 w 138580"/>
                <a:gd name="connsiteY0" fmla="*/ 209305 h 201571"/>
                <a:gd name="connsiteX1" fmla="*/ 118598 w 138580"/>
                <a:gd name="connsiteY1" fmla="*/ 203006 h 201571"/>
                <a:gd name="connsiteX2" fmla="*/ 2694 w 138580"/>
                <a:gd name="connsiteY2" fmla="*/ 17812 h 201571"/>
                <a:gd name="connsiteX3" fmla="*/ 3954 w 138580"/>
                <a:gd name="connsiteY3" fmla="*/ 2694 h 201571"/>
                <a:gd name="connsiteX4" fmla="*/ 19072 w 138580"/>
                <a:gd name="connsiteY4" fmla="*/ 3954 h 201571"/>
                <a:gd name="connsiteX5" fmla="*/ 138755 w 138580"/>
                <a:gd name="connsiteY5" fmla="*/ 195447 h 201571"/>
                <a:gd name="connsiteX6" fmla="*/ 132456 w 138580"/>
                <a:gd name="connsiteY6" fmla="*/ 209305 h 201571"/>
                <a:gd name="connsiteX7" fmla="*/ 127417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7417" y="209305"/>
                  </a:moveTo>
                  <a:cubicBezTo>
                    <a:pt x="123637" y="209305"/>
                    <a:pt x="121117" y="206785"/>
                    <a:pt x="118598" y="203006"/>
                  </a:cubicBezTo>
                  <a:cubicBezTo>
                    <a:pt x="90882" y="134976"/>
                    <a:pt x="51827" y="71984"/>
                    <a:pt x="2694" y="17812"/>
                  </a:cubicBezTo>
                  <a:cubicBezTo>
                    <a:pt x="-1085" y="14032"/>
                    <a:pt x="-1085" y="6473"/>
                    <a:pt x="3954" y="2694"/>
                  </a:cubicBezTo>
                  <a:cubicBezTo>
                    <a:pt x="7733" y="-1085"/>
                    <a:pt x="15292" y="-1085"/>
                    <a:pt x="19072" y="3954"/>
                  </a:cubicBezTo>
                  <a:cubicBezTo>
                    <a:pt x="70724" y="60646"/>
                    <a:pt x="111039" y="124897"/>
                    <a:pt x="138755" y="195447"/>
                  </a:cubicBezTo>
                  <a:cubicBezTo>
                    <a:pt x="141275" y="200486"/>
                    <a:pt x="138755" y="206785"/>
                    <a:pt x="132456" y="209305"/>
                  </a:cubicBezTo>
                  <a:cubicBezTo>
                    <a:pt x="131196" y="209305"/>
                    <a:pt x="128676" y="209305"/>
                    <a:pt x="127417" y="2093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7800594" y="4040043"/>
              <a:ext cx="42902" cy="85803"/>
            </a:xfrm>
            <a:custGeom>
              <a:avLst/>
              <a:gdLst>
                <a:gd name="connsiteX0" fmla="*/ 53878 w 62991"/>
                <a:gd name="connsiteY0" fmla="*/ 126948 h 125982"/>
                <a:gd name="connsiteX1" fmla="*/ 45059 w 62991"/>
                <a:gd name="connsiteY1" fmla="*/ 120649 h 125982"/>
                <a:gd name="connsiteX2" fmla="*/ 966 w 62991"/>
                <a:gd name="connsiteY2" fmla="*/ 14824 h 125982"/>
                <a:gd name="connsiteX3" fmla="*/ 7265 w 62991"/>
                <a:gd name="connsiteY3" fmla="*/ 966 h 125982"/>
                <a:gd name="connsiteX4" fmla="*/ 21123 w 62991"/>
                <a:gd name="connsiteY4" fmla="*/ 7265 h 125982"/>
                <a:gd name="connsiteX5" fmla="*/ 65216 w 62991"/>
                <a:gd name="connsiteY5" fmla="*/ 113090 h 125982"/>
                <a:gd name="connsiteX6" fmla="*/ 58917 w 62991"/>
                <a:gd name="connsiteY6" fmla="*/ 126948 h 125982"/>
                <a:gd name="connsiteX7" fmla="*/ 53878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53878" y="126948"/>
                  </a:moveTo>
                  <a:cubicBezTo>
                    <a:pt x="50099" y="126948"/>
                    <a:pt x="47579" y="124428"/>
                    <a:pt x="45059" y="120649"/>
                  </a:cubicBezTo>
                  <a:lnTo>
                    <a:pt x="966" y="14824"/>
                  </a:lnTo>
                  <a:cubicBezTo>
                    <a:pt x="-1554" y="9784"/>
                    <a:pt x="966" y="3485"/>
                    <a:pt x="7265" y="966"/>
                  </a:cubicBezTo>
                  <a:cubicBezTo>
                    <a:pt x="12304" y="-1554"/>
                    <a:pt x="18603" y="966"/>
                    <a:pt x="21123" y="7265"/>
                  </a:cubicBezTo>
                  <a:lnTo>
                    <a:pt x="65216" y="113090"/>
                  </a:lnTo>
                  <a:cubicBezTo>
                    <a:pt x="67736" y="118129"/>
                    <a:pt x="65216" y="124428"/>
                    <a:pt x="58917" y="126948"/>
                  </a:cubicBezTo>
                  <a:cubicBezTo>
                    <a:pt x="57658" y="126948"/>
                    <a:pt x="56398" y="126948"/>
                    <a:pt x="53878" y="1269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7850041" y="3976568"/>
              <a:ext cx="94384" cy="77223"/>
            </a:xfrm>
            <a:custGeom>
              <a:avLst/>
              <a:gdLst>
                <a:gd name="connsiteX0" fmla="*/ 8993 w 138580"/>
                <a:gd name="connsiteY0" fmla="*/ 120621 h 113384"/>
                <a:gd name="connsiteX1" fmla="*/ 2694 w 138580"/>
                <a:gd name="connsiteY1" fmla="*/ 116841 h 113384"/>
                <a:gd name="connsiteX2" fmla="*/ 3954 w 138580"/>
                <a:gd name="connsiteY2" fmla="*/ 101724 h 113384"/>
                <a:gd name="connsiteX3" fmla="*/ 122377 w 138580"/>
                <a:gd name="connsiteY3" fmla="*/ 2198 h 113384"/>
                <a:gd name="connsiteX4" fmla="*/ 137495 w 138580"/>
                <a:gd name="connsiteY4" fmla="*/ 4717 h 113384"/>
                <a:gd name="connsiteX5" fmla="*/ 134976 w 138580"/>
                <a:gd name="connsiteY5" fmla="*/ 19835 h 113384"/>
                <a:gd name="connsiteX6" fmla="*/ 17812 w 138580"/>
                <a:gd name="connsiteY6" fmla="*/ 118101 h 113384"/>
                <a:gd name="connsiteX7" fmla="*/ 8993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8993" y="120621"/>
                  </a:moveTo>
                  <a:cubicBezTo>
                    <a:pt x="6474" y="120621"/>
                    <a:pt x="3954" y="119361"/>
                    <a:pt x="2694" y="116841"/>
                  </a:cubicBezTo>
                  <a:cubicBezTo>
                    <a:pt x="-1085" y="113062"/>
                    <a:pt x="-1085" y="105503"/>
                    <a:pt x="3954" y="101724"/>
                  </a:cubicBezTo>
                  <a:cubicBezTo>
                    <a:pt x="41749" y="66448"/>
                    <a:pt x="82063" y="33693"/>
                    <a:pt x="122377" y="2198"/>
                  </a:cubicBezTo>
                  <a:cubicBezTo>
                    <a:pt x="127417" y="-1582"/>
                    <a:pt x="133716" y="-322"/>
                    <a:pt x="137495" y="4717"/>
                  </a:cubicBezTo>
                  <a:cubicBezTo>
                    <a:pt x="141275" y="9756"/>
                    <a:pt x="140015" y="16056"/>
                    <a:pt x="134976" y="19835"/>
                  </a:cubicBezTo>
                  <a:cubicBezTo>
                    <a:pt x="94661" y="50071"/>
                    <a:pt x="55607" y="84086"/>
                    <a:pt x="17812" y="118101"/>
                  </a:cubicBezTo>
                  <a:cubicBezTo>
                    <a:pt x="15292" y="120621"/>
                    <a:pt x="11513" y="120621"/>
                    <a:pt x="8993" y="12062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7850899" y="3948253"/>
              <a:ext cx="77223" cy="60063"/>
            </a:xfrm>
            <a:custGeom>
              <a:avLst/>
              <a:gdLst>
                <a:gd name="connsiteX0" fmla="*/ 8993 w 113384"/>
                <a:gd name="connsiteY0" fmla="*/ 92905 h 88187"/>
                <a:gd name="connsiteX1" fmla="*/ 2694 w 113384"/>
                <a:gd name="connsiteY1" fmla="*/ 89125 h 88187"/>
                <a:gd name="connsiteX2" fmla="*/ 3954 w 113384"/>
                <a:gd name="connsiteY2" fmla="*/ 74007 h 88187"/>
                <a:gd name="connsiteX3" fmla="*/ 97181 w 113384"/>
                <a:gd name="connsiteY3" fmla="*/ 2198 h 88187"/>
                <a:gd name="connsiteX4" fmla="*/ 112299 w 113384"/>
                <a:gd name="connsiteY4" fmla="*/ 4717 h 88187"/>
                <a:gd name="connsiteX5" fmla="*/ 109779 w 113384"/>
                <a:gd name="connsiteY5" fmla="*/ 19835 h 88187"/>
                <a:gd name="connsiteX6" fmla="*/ 19072 w 113384"/>
                <a:gd name="connsiteY6" fmla="*/ 90385 h 88187"/>
                <a:gd name="connsiteX7" fmla="*/ 899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8993" y="92905"/>
                  </a:moveTo>
                  <a:cubicBezTo>
                    <a:pt x="6474" y="92905"/>
                    <a:pt x="3954" y="91645"/>
                    <a:pt x="2694" y="89125"/>
                  </a:cubicBezTo>
                  <a:cubicBezTo>
                    <a:pt x="-1085" y="85346"/>
                    <a:pt x="-1085" y="77787"/>
                    <a:pt x="3954" y="74007"/>
                  </a:cubicBezTo>
                  <a:cubicBezTo>
                    <a:pt x="32930" y="47551"/>
                    <a:pt x="64425" y="23615"/>
                    <a:pt x="97181" y="2198"/>
                  </a:cubicBezTo>
                  <a:cubicBezTo>
                    <a:pt x="102220" y="-1582"/>
                    <a:pt x="108519" y="-322"/>
                    <a:pt x="112299" y="4717"/>
                  </a:cubicBezTo>
                  <a:cubicBezTo>
                    <a:pt x="116078" y="9756"/>
                    <a:pt x="114818" y="16056"/>
                    <a:pt x="109779" y="19835"/>
                  </a:cubicBezTo>
                  <a:cubicBezTo>
                    <a:pt x="78283" y="41252"/>
                    <a:pt x="48048" y="63929"/>
                    <a:pt x="19072" y="90385"/>
                  </a:cubicBezTo>
                  <a:cubicBezTo>
                    <a:pt x="15292" y="92905"/>
                    <a:pt x="12773" y="92905"/>
                    <a:pt x="8993" y="929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7525132" y="4010670"/>
              <a:ext cx="283152" cy="832294"/>
            </a:xfrm>
            <a:custGeom>
              <a:avLst/>
              <a:gdLst>
                <a:gd name="connsiteX0" fmla="*/ 342426 w 415741"/>
                <a:gd name="connsiteY0" fmla="*/ 835263 h 1222028"/>
                <a:gd name="connsiteX1" fmla="*/ 268097 w 415741"/>
                <a:gd name="connsiteY1" fmla="*/ 0 h 1222028"/>
                <a:gd name="connsiteX2" fmla="*/ 225263 w 415741"/>
                <a:gd name="connsiteY2" fmla="*/ 243146 h 1222028"/>
                <a:gd name="connsiteX3" fmla="*/ 14872 w 415741"/>
                <a:gd name="connsiteY3" fmla="*/ 571960 h 1222028"/>
                <a:gd name="connsiteX4" fmla="*/ 47628 w 415741"/>
                <a:gd name="connsiteY4" fmla="*/ 976363 h 1222028"/>
                <a:gd name="connsiteX5" fmla="*/ 213924 w 415741"/>
                <a:gd name="connsiteY5" fmla="*/ 1220769 h 1222028"/>
                <a:gd name="connsiteX6" fmla="*/ 375182 w 415741"/>
                <a:gd name="connsiteY6" fmla="*/ 1131322 h 1222028"/>
                <a:gd name="connsiteX7" fmla="*/ 342426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342426" y="835263"/>
                  </a:moveTo>
                  <a:cubicBezTo>
                    <a:pt x="454551" y="549283"/>
                    <a:pt x="469668" y="212910"/>
                    <a:pt x="268097" y="0"/>
                  </a:cubicBezTo>
                  <a:cubicBezTo>
                    <a:pt x="234081" y="83148"/>
                    <a:pt x="222743" y="182674"/>
                    <a:pt x="225263" y="243146"/>
                  </a:cubicBezTo>
                  <a:cubicBezTo>
                    <a:pt x="230302" y="389286"/>
                    <a:pt x="66525" y="396844"/>
                    <a:pt x="14872" y="571960"/>
                  </a:cubicBezTo>
                  <a:cubicBezTo>
                    <a:pt x="-36781" y="747075"/>
                    <a:pt x="64005" y="791169"/>
                    <a:pt x="47628" y="976363"/>
                  </a:cubicBezTo>
                  <a:cubicBezTo>
                    <a:pt x="31250" y="1161557"/>
                    <a:pt x="119438" y="1206911"/>
                    <a:pt x="213924" y="1220769"/>
                  </a:cubicBezTo>
                  <a:cubicBezTo>
                    <a:pt x="290774" y="1232107"/>
                    <a:pt x="349985" y="1201871"/>
                    <a:pt x="375182" y="1131322"/>
                  </a:cubicBezTo>
                  <a:cubicBezTo>
                    <a:pt x="339907" y="1028016"/>
                    <a:pt x="303372" y="929750"/>
                    <a:pt x="342426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7178083" y="3697569"/>
              <a:ext cx="549142" cy="1192668"/>
            </a:xfrm>
            <a:custGeom>
              <a:avLst/>
              <a:gdLst>
                <a:gd name="connsiteX0" fmla="*/ 531991 w 806286"/>
                <a:gd name="connsiteY0" fmla="*/ 1748516 h 1751154"/>
                <a:gd name="connsiteX1" fmla="*/ 744901 w 806286"/>
                <a:gd name="connsiteY1" fmla="*/ 1436079 h 1751154"/>
                <a:gd name="connsiteX2" fmla="*/ 787735 w 806286"/>
                <a:gd name="connsiteY2" fmla="*/ 918292 h 1751154"/>
                <a:gd name="connsiteX3" fmla="*/ 519393 w 806286"/>
                <a:gd name="connsiteY3" fmla="*/ 496251 h 1751154"/>
                <a:gd name="connsiteX4" fmla="*/ 433725 w 806286"/>
                <a:gd name="connsiteY4" fmla="*/ 123343 h 1751154"/>
                <a:gd name="connsiteX5" fmla="*/ 16724 w 806286"/>
                <a:gd name="connsiteY5" fmla="*/ 319876 h 1751154"/>
                <a:gd name="connsiteX6" fmla="*/ 160343 w 806286"/>
                <a:gd name="connsiteY6" fmla="*/ 694043 h 1751154"/>
                <a:gd name="connsiteX7" fmla="*/ 155304 w 806286"/>
                <a:gd name="connsiteY7" fmla="*/ 1084589 h 1751154"/>
                <a:gd name="connsiteX8" fmla="*/ 310262 w 806286"/>
                <a:gd name="connsiteY8" fmla="*/ 1485212 h 1751154"/>
                <a:gd name="connsiteX9" fmla="*/ 531991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531991" y="1748516"/>
                  </a:moveTo>
                  <a:cubicBezTo>
                    <a:pt x="652934" y="1730878"/>
                    <a:pt x="766318" y="1672926"/>
                    <a:pt x="744901" y="1436079"/>
                  </a:cubicBezTo>
                  <a:cubicBezTo>
                    <a:pt x="723484" y="1199233"/>
                    <a:pt x="853246" y="1142541"/>
                    <a:pt x="787735" y="918292"/>
                  </a:cubicBezTo>
                  <a:cubicBezTo>
                    <a:pt x="722225" y="692783"/>
                    <a:pt x="513094" y="683965"/>
                    <a:pt x="519393" y="496251"/>
                  </a:cubicBezTo>
                  <a:cubicBezTo>
                    <a:pt x="521913" y="404284"/>
                    <a:pt x="503015" y="237987"/>
                    <a:pt x="433725" y="123343"/>
                  </a:cubicBezTo>
                  <a:cubicBezTo>
                    <a:pt x="317821" y="-69410"/>
                    <a:pt x="-86582" y="-59331"/>
                    <a:pt x="16724" y="319876"/>
                  </a:cubicBezTo>
                  <a:cubicBezTo>
                    <a:pt x="51999" y="449638"/>
                    <a:pt x="155304" y="521448"/>
                    <a:pt x="160343" y="694043"/>
                  </a:cubicBezTo>
                  <a:cubicBezTo>
                    <a:pt x="164123" y="814986"/>
                    <a:pt x="99872" y="867899"/>
                    <a:pt x="155304" y="1084589"/>
                  </a:cubicBezTo>
                  <a:cubicBezTo>
                    <a:pt x="205697" y="1281121"/>
                    <a:pt x="326640" y="1291200"/>
                    <a:pt x="310262" y="1485212"/>
                  </a:cubicBezTo>
                  <a:cubicBezTo>
                    <a:pt x="293885" y="1677965"/>
                    <a:pt x="388371" y="1768672"/>
                    <a:pt x="531991" y="174851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7394543" y="4395928"/>
              <a:ext cx="326053" cy="489080"/>
            </a:xfrm>
            <a:custGeom>
              <a:avLst/>
              <a:gdLst>
                <a:gd name="connsiteX0" fmla="*/ 488811 w 478732"/>
                <a:gd name="connsiteY0" fmla="*/ 0 h 718099"/>
                <a:gd name="connsiteX1" fmla="*/ 0 w 478732"/>
                <a:gd name="connsiteY1" fmla="*/ 580778 h 718099"/>
                <a:gd name="connsiteX2" fmla="*/ 215430 w 478732"/>
                <a:gd name="connsiteY2" fmla="*/ 723139 h 718099"/>
                <a:gd name="connsiteX3" fmla="*/ 428340 w 478732"/>
                <a:gd name="connsiteY3" fmla="*/ 410702 h 718099"/>
                <a:gd name="connsiteX4" fmla="*/ 48881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488811" y="0"/>
                  </a:moveTo>
                  <a:cubicBezTo>
                    <a:pt x="282200" y="122203"/>
                    <a:pt x="115904" y="321255"/>
                    <a:pt x="0" y="580778"/>
                  </a:cubicBezTo>
                  <a:cubicBezTo>
                    <a:pt x="25196" y="690383"/>
                    <a:pt x="105825" y="739516"/>
                    <a:pt x="215430" y="723139"/>
                  </a:cubicBezTo>
                  <a:cubicBezTo>
                    <a:pt x="336373" y="705501"/>
                    <a:pt x="449757" y="647549"/>
                    <a:pt x="428340" y="410702"/>
                  </a:cubicBezTo>
                  <a:cubicBezTo>
                    <a:pt x="410702" y="216690"/>
                    <a:pt x="493851" y="143620"/>
                    <a:pt x="48881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7296867" y="3708427"/>
              <a:ext cx="265991" cy="1141186"/>
            </a:xfrm>
            <a:custGeom>
              <a:avLst/>
              <a:gdLst>
                <a:gd name="connsiteX0" fmla="*/ 385300 w 390545"/>
                <a:gd name="connsiteY0" fmla="*/ 1685959 h 1675564"/>
                <a:gd name="connsiteX1" fmla="*/ 376482 w 390545"/>
                <a:gd name="connsiteY1" fmla="*/ 1680919 h 1675564"/>
                <a:gd name="connsiteX2" fmla="*/ 328608 w 390545"/>
                <a:gd name="connsiteY2" fmla="*/ 1461710 h 1675564"/>
                <a:gd name="connsiteX3" fmla="*/ 327349 w 390545"/>
                <a:gd name="connsiteY3" fmla="*/ 1354625 h 1675564"/>
                <a:gd name="connsiteX4" fmla="*/ 251759 w 390545"/>
                <a:gd name="connsiteY4" fmla="*/ 801563 h 1675564"/>
                <a:gd name="connsiteX5" fmla="*/ 153493 w 390545"/>
                <a:gd name="connsiteY5" fmla="*/ 618888 h 1675564"/>
                <a:gd name="connsiteX6" fmla="*/ 50187 w 390545"/>
                <a:gd name="connsiteY6" fmla="*/ 423616 h 1675564"/>
                <a:gd name="connsiteX7" fmla="*/ 17432 w 390545"/>
                <a:gd name="connsiteY7" fmla="*/ 7874 h 1675564"/>
                <a:gd name="connsiteX8" fmla="*/ 30030 w 390545"/>
                <a:gd name="connsiteY8" fmla="*/ 315 h 1675564"/>
                <a:gd name="connsiteX9" fmla="*/ 37589 w 390545"/>
                <a:gd name="connsiteY9" fmla="*/ 12913 h 1675564"/>
                <a:gd name="connsiteX10" fmla="*/ 69085 w 390545"/>
                <a:gd name="connsiteY10" fmla="*/ 416057 h 1675564"/>
                <a:gd name="connsiteX11" fmla="*/ 171130 w 390545"/>
                <a:gd name="connsiteY11" fmla="*/ 608810 h 1675564"/>
                <a:gd name="connsiteX12" fmla="*/ 270656 w 390545"/>
                <a:gd name="connsiteY12" fmla="*/ 794004 h 1675564"/>
                <a:gd name="connsiteX13" fmla="*/ 347506 w 390545"/>
                <a:gd name="connsiteY13" fmla="*/ 1354625 h 1675564"/>
                <a:gd name="connsiteX14" fmla="*/ 348766 w 390545"/>
                <a:gd name="connsiteY14" fmla="*/ 1460450 h 1675564"/>
                <a:gd name="connsiteX15" fmla="*/ 392859 w 390545"/>
                <a:gd name="connsiteY15" fmla="*/ 1668321 h 1675564"/>
                <a:gd name="connsiteX16" fmla="*/ 389080 w 390545"/>
                <a:gd name="connsiteY16" fmla="*/ 1683439 h 1675564"/>
                <a:gd name="connsiteX17" fmla="*/ 385300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385300" y="1685959"/>
                  </a:moveTo>
                  <a:cubicBezTo>
                    <a:pt x="381521" y="1685959"/>
                    <a:pt x="379001" y="1684699"/>
                    <a:pt x="376482" y="1680919"/>
                  </a:cubicBezTo>
                  <a:cubicBezTo>
                    <a:pt x="336167" y="1616668"/>
                    <a:pt x="331128" y="1537300"/>
                    <a:pt x="328608" y="1461710"/>
                  </a:cubicBezTo>
                  <a:cubicBezTo>
                    <a:pt x="327349" y="1426435"/>
                    <a:pt x="327349" y="1391160"/>
                    <a:pt x="327349" y="1354625"/>
                  </a:cubicBezTo>
                  <a:cubicBezTo>
                    <a:pt x="326089" y="1166911"/>
                    <a:pt x="323569" y="974158"/>
                    <a:pt x="251759" y="801563"/>
                  </a:cubicBezTo>
                  <a:cubicBezTo>
                    <a:pt x="225303" y="738571"/>
                    <a:pt x="188768" y="676840"/>
                    <a:pt x="153493" y="618888"/>
                  </a:cubicBezTo>
                  <a:cubicBezTo>
                    <a:pt x="115698" y="557157"/>
                    <a:pt x="77904" y="491646"/>
                    <a:pt x="50187" y="423616"/>
                  </a:cubicBezTo>
                  <a:cubicBezTo>
                    <a:pt x="-2725" y="292594"/>
                    <a:pt x="-14064" y="145195"/>
                    <a:pt x="17432" y="7874"/>
                  </a:cubicBezTo>
                  <a:cubicBezTo>
                    <a:pt x="18692" y="1575"/>
                    <a:pt x="24991" y="-945"/>
                    <a:pt x="30030" y="315"/>
                  </a:cubicBezTo>
                  <a:cubicBezTo>
                    <a:pt x="36329" y="1575"/>
                    <a:pt x="38849" y="7874"/>
                    <a:pt x="37589" y="12913"/>
                  </a:cubicBezTo>
                  <a:cubicBezTo>
                    <a:pt x="7353" y="146454"/>
                    <a:pt x="18692" y="290074"/>
                    <a:pt x="69085" y="416057"/>
                  </a:cubicBezTo>
                  <a:cubicBezTo>
                    <a:pt x="95541" y="482827"/>
                    <a:pt x="134596" y="547078"/>
                    <a:pt x="171130" y="608810"/>
                  </a:cubicBezTo>
                  <a:cubicBezTo>
                    <a:pt x="206406" y="668021"/>
                    <a:pt x="242940" y="729753"/>
                    <a:pt x="270656" y="794004"/>
                  </a:cubicBezTo>
                  <a:cubicBezTo>
                    <a:pt x="343726" y="970379"/>
                    <a:pt x="346246" y="1165652"/>
                    <a:pt x="347506" y="1354625"/>
                  </a:cubicBezTo>
                  <a:cubicBezTo>
                    <a:pt x="347506" y="1389900"/>
                    <a:pt x="348766" y="1425175"/>
                    <a:pt x="348766" y="1460450"/>
                  </a:cubicBezTo>
                  <a:cubicBezTo>
                    <a:pt x="350025" y="1532260"/>
                    <a:pt x="355065" y="1607849"/>
                    <a:pt x="392859" y="1668321"/>
                  </a:cubicBezTo>
                  <a:cubicBezTo>
                    <a:pt x="395379" y="1673360"/>
                    <a:pt x="394119" y="1679659"/>
                    <a:pt x="389080" y="1683439"/>
                  </a:cubicBezTo>
                  <a:cubicBezTo>
                    <a:pt x="389080" y="1685959"/>
                    <a:pt x="386560" y="1685959"/>
                    <a:pt x="385300" y="16859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7518320" y="4297135"/>
              <a:ext cx="171607" cy="223089"/>
            </a:xfrm>
            <a:custGeom>
              <a:avLst/>
              <a:gdLst>
                <a:gd name="connsiteX0" fmla="*/ 11016 w 251964"/>
                <a:gd name="connsiteY0" fmla="*/ 332768 h 327554"/>
                <a:gd name="connsiteX1" fmla="*/ 4717 w 251964"/>
                <a:gd name="connsiteY1" fmla="*/ 330248 h 327554"/>
                <a:gd name="connsiteX2" fmla="*/ 2198 w 251964"/>
                <a:gd name="connsiteY2" fmla="*/ 315130 h 327554"/>
                <a:gd name="connsiteX3" fmla="*/ 235265 w 251964"/>
                <a:gd name="connsiteY3" fmla="*/ 3954 h 327554"/>
                <a:gd name="connsiteX4" fmla="*/ 250383 w 251964"/>
                <a:gd name="connsiteY4" fmla="*/ 2694 h 327554"/>
                <a:gd name="connsiteX5" fmla="*/ 251643 w 251964"/>
                <a:gd name="connsiteY5" fmla="*/ 17812 h 327554"/>
                <a:gd name="connsiteX6" fmla="*/ 19835 w 251964"/>
                <a:gd name="connsiteY6" fmla="*/ 327728 h 327554"/>
                <a:gd name="connsiteX7" fmla="*/ 11016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11016" y="332768"/>
                  </a:moveTo>
                  <a:cubicBezTo>
                    <a:pt x="8497" y="332768"/>
                    <a:pt x="7237" y="331508"/>
                    <a:pt x="4717" y="330248"/>
                  </a:cubicBezTo>
                  <a:cubicBezTo>
                    <a:pt x="-322" y="326469"/>
                    <a:pt x="-1582" y="320170"/>
                    <a:pt x="2198" y="315130"/>
                  </a:cubicBezTo>
                  <a:cubicBezTo>
                    <a:pt x="76527" y="209305"/>
                    <a:pt x="154636" y="104740"/>
                    <a:pt x="235265" y="3954"/>
                  </a:cubicBezTo>
                  <a:cubicBezTo>
                    <a:pt x="239044" y="-1085"/>
                    <a:pt x="245343" y="-1085"/>
                    <a:pt x="250383" y="2694"/>
                  </a:cubicBezTo>
                  <a:cubicBezTo>
                    <a:pt x="255422" y="6474"/>
                    <a:pt x="255422" y="12773"/>
                    <a:pt x="251643" y="17812"/>
                  </a:cubicBezTo>
                  <a:cubicBezTo>
                    <a:pt x="171014" y="118598"/>
                    <a:pt x="94165" y="223163"/>
                    <a:pt x="19835" y="327728"/>
                  </a:cubicBezTo>
                  <a:cubicBezTo>
                    <a:pt x="17315" y="330248"/>
                    <a:pt x="14796" y="332768"/>
                    <a:pt x="11016" y="33276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7519178" y="4396571"/>
              <a:ext cx="154446" cy="180187"/>
            </a:xfrm>
            <a:custGeom>
              <a:avLst/>
              <a:gdLst>
                <a:gd name="connsiteX0" fmla="*/ 11016 w 226768"/>
                <a:gd name="connsiteY0" fmla="*/ 269917 h 264562"/>
                <a:gd name="connsiteX1" fmla="*/ 4717 w 226768"/>
                <a:gd name="connsiteY1" fmla="*/ 267398 h 264562"/>
                <a:gd name="connsiteX2" fmla="*/ 2198 w 226768"/>
                <a:gd name="connsiteY2" fmla="*/ 252279 h 264562"/>
                <a:gd name="connsiteX3" fmla="*/ 210068 w 226768"/>
                <a:gd name="connsiteY3" fmla="*/ 2835 h 264562"/>
                <a:gd name="connsiteX4" fmla="*/ 225186 w 226768"/>
                <a:gd name="connsiteY4" fmla="*/ 2835 h 264562"/>
                <a:gd name="connsiteX5" fmla="*/ 225186 w 226768"/>
                <a:gd name="connsiteY5" fmla="*/ 17952 h 264562"/>
                <a:gd name="connsiteX6" fmla="*/ 18575 w 226768"/>
                <a:gd name="connsiteY6" fmla="*/ 264878 h 264562"/>
                <a:gd name="connsiteX7" fmla="*/ 11016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11016" y="269917"/>
                  </a:moveTo>
                  <a:cubicBezTo>
                    <a:pt x="8497" y="269917"/>
                    <a:pt x="7237" y="268657"/>
                    <a:pt x="4717" y="267398"/>
                  </a:cubicBezTo>
                  <a:cubicBezTo>
                    <a:pt x="-322" y="263618"/>
                    <a:pt x="-1582" y="257319"/>
                    <a:pt x="2198" y="252279"/>
                  </a:cubicBezTo>
                  <a:cubicBezTo>
                    <a:pt x="66449" y="165352"/>
                    <a:pt x="135739" y="80943"/>
                    <a:pt x="210068" y="2835"/>
                  </a:cubicBezTo>
                  <a:cubicBezTo>
                    <a:pt x="213848" y="-945"/>
                    <a:pt x="221407" y="-945"/>
                    <a:pt x="225186" y="2835"/>
                  </a:cubicBezTo>
                  <a:cubicBezTo>
                    <a:pt x="228966" y="6614"/>
                    <a:pt x="228966" y="14173"/>
                    <a:pt x="225186" y="17952"/>
                  </a:cubicBezTo>
                  <a:cubicBezTo>
                    <a:pt x="150857" y="94802"/>
                    <a:pt x="81566" y="177950"/>
                    <a:pt x="18575" y="264878"/>
                  </a:cubicBezTo>
                  <a:cubicBezTo>
                    <a:pt x="17315" y="268657"/>
                    <a:pt x="13536" y="269917"/>
                    <a:pt x="11016" y="26991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7520894" y="4560551"/>
              <a:ext cx="102964" cy="111544"/>
            </a:xfrm>
            <a:custGeom>
              <a:avLst/>
              <a:gdLst>
                <a:gd name="connsiteX0" fmla="*/ 11016 w 151178"/>
                <a:gd name="connsiteY0" fmla="*/ 168991 h 163777"/>
                <a:gd name="connsiteX1" fmla="*/ 4717 w 151178"/>
                <a:gd name="connsiteY1" fmla="*/ 166471 h 163777"/>
                <a:gd name="connsiteX2" fmla="*/ 2198 w 151178"/>
                <a:gd name="connsiteY2" fmla="*/ 151353 h 163777"/>
                <a:gd name="connsiteX3" fmla="*/ 138258 w 151178"/>
                <a:gd name="connsiteY3" fmla="*/ 2694 h 163777"/>
                <a:gd name="connsiteX4" fmla="*/ 153376 w 151178"/>
                <a:gd name="connsiteY4" fmla="*/ 3954 h 163777"/>
                <a:gd name="connsiteX5" fmla="*/ 152117 w 151178"/>
                <a:gd name="connsiteY5" fmla="*/ 19072 h 163777"/>
                <a:gd name="connsiteX6" fmla="*/ 19835 w 151178"/>
                <a:gd name="connsiteY6" fmla="*/ 163951 h 163777"/>
                <a:gd name="connsiteX7" fmla="*/ 11016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1016" y="168991"/>
                  </a:moveTo>
                  <a:cubicBezTo>
                    <a:pt x="8497" y="168991"/>
                    <a:pt x="7237" y="167731"/>
                    <a:pt x="4717" y="166471"/>
                  </a:cubicBezTo>
                  <a:cubicBezTo>
                    <a:pt x="-322" y="162692"/>
                    <a:pt x="-1582" y="156392"/>
                    <a:pt x="2198" y="151353"/>
                  </a:cubicBezTo>
                  <a:cubicBezTo>
                    <a:pt x="41252" y="95921"/>
                    <a:pt x="86606" y="45528"/>
                    <a:pt x="138258" y="2694"/>
                  </a:cubicBezTo>
                  <a:cubicBezTo>
                    <a:pt x="143298" y="-1085"/>
                    <a:pt x="149597" y="-1085"/>
                    <a:pt x="153376" y="3954"/>
                  </a:cubicBezTo>
                  <a:cubicBezTo>
                    <a:pt x="157156" y="8993"/>
                    <a:pt x="157156" y="15292"/>
                    <a:pt x="152117" y="19072"/>
                  </a:cubicBezTo>
                  <a:cubicBezTo>
                    <a:pt x="101724" y="61906"/>
                    <a:pt x="57630" y="109779"/>
                    <a:pt x="19835" y="163951"/>
                  </a:cubicBezTo>
                  <a:cubicBezTo>
                    <a:pt x="17315" y="167731"/>
                    <a:pt x="13536" y="168991"/>
                    <a:pt x="11016" y="16899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7298755" y="4312152"/>
              <a:ext cx="223089" cy="102964"/>
            </a:xfrm>
            <a:custGeom>
              <a:avLst/>
              <a:gdLst>
                <a:gd name="connsiteX0" fmla="*/ 322057 w 327554"/>
                <a:gd name="connsiteY0" fmla="*/ 162059 h 151178"/>
                <a:gd name="connsiteX1" fmla="*/ 317018 w 327554"/>
                <a:gd name="connsiteY1" fmla="*/ 160799 h 151178"/>
                <a:gd name="connsiteX2" fmla="*/ 7101 w 327554"/>
                <a:gd name="connsiteY2" fmla="*/ 20959 h 151178"/>
                <a:gd name="connsiteX3" fmla="*/ 802 w 327554"/>
                <a:gd name="connsiteY3" fmla="*/ 7101 h 151178"/>
                <a:gd name="connsiteX4" fmla="*/ 14660 w 327554"/>
                <a:gd name="connsiteY4" fmla="*/ 802 h 151178"/>
                <a:gd name="connsiteX5" fmla="*/ 328356 w 327554"/>
                <a:gd name="connsiteY5" fmla="*/ 141902 h 151178"/>
                <a:gd name="connsiteX6" fmla="*/ 332136 w 327554"/>
                <a:gd name="connsiteY6" fmla="*/ 155760 h 151178"/>
                <a:gd name="connsiteX7" fmla="*/ 322057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322057" y="162059"/>
                  </a:moveTo>
                  <a:cubicBezTo>
                    <a:pt x="320797" y="162059"/>
                    <a:pt x="318277" y="162059"/>
                    <a:pt x="317018" y="160799"/>
                  </a:cubicBezTo>
                  <a:cubicBezTo>
                    <a:pt x="217492" y="106627"/>
                    <a:pt x="112926" y="60014"/>
                    <a:pt x="7101" y="20959"/>
                  </a:cubicBezTo>
                  <a:cubicBezTo>
                    <a:pt x="2062" y="18440"/>
                    <a:pt x="-1718" y="13400"/>
                    <a:pt x="802" y="7101"/>
                  </a:cubicBezTo>
                  <a:cubicBezTo>
                    <a:pt x="3322" y="2062"/>
                    <a:pt x="8361" y="-1718"/>
                    <a:pt x="14660" y="802"/>
                  </a:cubicBezTo>
                  <a:cubicBezTo>
                    <a:pt x="121745" y="39856"/>
                    <a:pt x="227570" y="87730"/>
                    <a:pt x="328356" y="141902"/>
                  </a:cubicBezTo>
                  <a:cubicBezTo>
                    <a:pt x="333395" y="144422"/>
                    <a:pt x="335915" y="150721"/>
                    <a:pt x="332136" y="155760"/>
                  </a:cubicBezTo>
                  <a:cubicBezTo>
                    <a:pt x="329616" y="160799"/>
                    <a:pt x="325836" y="162059"/>
                    <a:pt x="322057" y="1620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7285885" y="4374788"/>
              <a:ext cx="231669" cy="77223"/>
            </a:xfrm>
            <a:custGeom>
              <a:avLst/>
              <a:gdLst>
                <a:gd name="connsiteX0" fmla="*/ 334655 w 340152"/>
                <a:gd name="connsiteY0" fmla="*/ 125524 h 113384"/>
                <a:gd name="connsiteX1" fmla="*/ 332136 w 340152"/>
                <a:gd name="connsiteY1" fmla="*/ 125524 h 113384"/>
                <a:gd name="connsiteX2" fmla="*/ 7101 w 340152"/>
                <a:gd name="connsiteY2" fmla="*/ 20959 h 113384"/>
                <a:gd name="connsiteX3" fmla="*/ 802 w 340152"/>
                <a:gd name="connsiteY3" fmla="*/ 7101 h 113384"/>
                <a:gd name="connsiteX4" fmla="*/ 14660 w 340152"/>
                <a:gd name="connsiteY4" fmla="*/ 802 h 113384"/>
                <a:gd name="connsiteX5" fmla="*/ 339694 w 340152"/>
                <a:gd name="connsiteY5" fmla="*/ 105368 h 113384"/>
                <a:gd name="connsiteX6" fmla="*/ 345994 w 340152"/>
                <a:gd name="connsiteY6" fmla="*/ 119225 h 113384"/>
                <a:gd name="connsiteX7" fmla="*/ 334655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334655" y="125524"/>
                  </a:moveTo>
                  <a:cubicBezTo>
                    <a:pt x="333395" y="125524"/>
                    <a:pt x="332136" y="125524"/>
                    <a:pt x="332136" y="125524"/>
                  </a:cubicBezTo>
                  <a:lnTo>
                    <a:pt x="7101" y="20959"/>
                  </a:lnTo>
                  <a:cubicBezTo>
                    <a:pt x="2062" y="19699"/>
                    <a:pt x="-1718" y="13400"/>
                    <a:pt x="802" y="7101"/>
                  </a:cubicBezTo>
                  <a:cubicBezTo>
                    <a:pt x="2062" y="2062"/>
                    <a:pt x="8361" y="-1718"/>
                    <a:pt x="14660" y="802"/>
                  </a:cubicBezTo>
                  <a:lnTo>
                    <a:pt x="339694" y="105368"/>
                  </a:lnTo>
                  <a:cubicBezTo>
                    <a:pt x="344734" y="106627"/>
                    <a:pt x="348513" y="112926"/>
                    <a:pt x="345994" y="119225"/>
                  </a:cubicBezTo>
                  <a:cubicBezTo>
                    <a:pt x="343474" y="123005"/>
                    <a:pt x="338435" y="125524"/>
                    <a:pt x="334655" y="12552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7447103" y="4126724"/>
              <a:ext cx="68643" cy="85803"/>
            </a:xfrm>
            <a:custGeom>
              <a:avLst/>
              <a:gdLst>
                <a:gd name="connsiteX0" fmla="*/ 11016 w 100785"/>
                <a:gd name="connsiteY0" fmla="*/ 128180 h 125982"/>
                <a:gd name="connsiteX1" fmla="*/ 4717 w 100785"/>
                <a:gd name="connsiteY1" fmla="*/ 125660 h 125982"/>
                <a:gd name="connsiteX2" fmla="*/ 2198 w 100785"/>
                <a:gd name="connsiteY2" fmla="*/ 110542 h 125982"/>
                <a:gd name="connsiteX3" fmla="*/ 81566 w 100785"/>
                <a:gd name="connsiteY3" fmla="*/ 4717 h 125982"/>
                <a:gd name="connsiteX4" fmla="*/ 96684 w 100785"/>
                <a:gd name="connsiteY4" fmla="*/ 2198 h 125982"/>
                <a:gd name="connsiteX5" fmla="*/ 99204 w 100785"/>
                <a:gd name="connsiteY5" fmla="*/ 17315 h 125982"/>
                <a:gd name="connsiteX6" fmla="*/ 19835 w 100785"/>
                <a:gd name="connsiteY6" fmla="*/ 123141 h 125982"/>
                <a:gd name="connsiteX7" fmla="*/ 11016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11016" y="128180"/>
                  </a:moveTo>
                  <a:cubicBezTo>
                    <a:pt x="8497" y="128180"/>
                    <a:pt x="7237" y="126920"/>
                    <a:pt x="4717" y="125660"/>
                  </a:cubicBezTo>
                  <a:cubicBezTo>
                    <a:pt x="-322" y="121881"/>
                    <a:pt x="-1582" y="115582"/>
                    <a:pt x="2198" y="110542"/>
                  </a:cubicBezTo>
                  <a:lnTo>
                    <a:pt x="81566" y="4717"/>
                  </a:lnTo>
                  <a:cubicBezTo>
                    <a:pt x="85346" y="-322"/>
                    <a:pt x="91645" y="-1582"/>
                    <a:pt x="96684" y="2198"/>
                  </a:cubicBezTo>
                  <a:cubicBezTo>
                    <a:pt x="101724" y="5977"/>
                    <a:pt x="102983" y="12276"/>
                    <a:pt x="99204" y="17315"/>
                  </a:cubicBezTo>
                  <a:lnTo>
                    <a:pt x="19835" y="123141"/>
                  </a:lnTo>
                  <a:cubicBezTo>
                    <a:pt x="17315" y="126920"/>
                    <a:pt x="13536" y="128180"/>
                    <a:pt x="11016" y="12818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/>
            <p:cNvSpPr/>
            <p:nvPr/>
          </p:nvSpPr>
          <p:spPr>
            <a:xfrm>
              <a:off x="7428483" y="4050140"/>
              <a:ext cx="77223" cy="120125"/>
            </a:xfrm>
            <a:custGeom>
              <a:avLst/>
              <a:gdLst>
                <a:gd name="connsiteX0" fmla="*/ 10639 w 113384"/>
                <a:gd name="connsiteY0" fmla="*/ 180155 h 176375"/>
                <a:gd name="connsiteX1" fmla="*/ 5599 w 113384"/>
                <a:gd name="connsiteY1" fmla="*/ 178895 h 176375"/>
                <a:gd name="connsiteX2" fmla="*/ 1820 w 113384"/>
                <a:gd name="connsiteY2" fmla="*/ 165037 h 176375"/>
                <a:gd name="connsiteX3" fmla="*/ 96306 w 113384"/>
                <a:gd name="connsiteY3" fmla="*/ 5039 h 176375"/>
                <a:gd name="connsiteX4" fmla="*/ 111424 w 113384"/>
                <a:gd name="connsiteY4" fmla="*/ 1260 h 176375"/>
                <a:gd name="connsiteX5" fmla="*/ 115204 w 113384"/>
                <a:gd name="connsiteY5" fmla="*/ 16378 h 176375"/>
                <a:gd name="connsiteX6" fmla="*/ 21977 w 113384"/>
                <a:gd name="connsiteY6" fmla="*/ 175115 h 176375"/>
                <a:gd name="connsiteX7" fmla="*/ 10639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639" y="180155"/>
                  </a:moveTo>
                  <a:cubicBezTo>
                    <a:pt x="9379" y="180155"/>
                    <a:pt x="6859" y="180155"/>
                    <a:pt x="5599" y="178895"/>
                  </a:cubicBezTo>
                  <a:cubicBezTo>
                    <a:pt x="560" y="176375"/>
                    <a:pt x="-1960" y="170076"/>
                    <a:pt x="1820" y="165037"/>
                  </a:cubicBezTo>
                  <a:cubicBezTo>
                    <a:pt x="30796" y="110865"/>
                    <a:pt x="62291" y="56692"/>
                    <a:pt x="96306" y="5039"/>
                  </a:cubicBezTo>
                  <a:cubicBezTo>
                    <a:pt x="100086" y="0"/>
                    <a:pt x="106385" y="-1260"/>
                    <a:pt x="111424" y="1260"/>
                  </a:cubicBezTo>
                  <a:cubicBezTo>
                    <a:pt x="116464" y="5039"/>
                    <a:pt x="117723" y="11338"/>
                    <a:pt x="115204" y="16378"/>
                  </a:cubicBezTo>
                  <a:cubicBezTo>
                    <a:pt x="82448" y="68030"/>
                    <a:pt x="50953" y="120943"/>
                    <a:pt x="21977" y="175115"/>
                  </a:cubicBezTo>
                  <a:cubicBezTo>
                    <a:pt x="18197" y="178895"/>
                    <a:pt x="14418" y="180155"/>
                    <a:pt x="10639" y="18015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/>
            <p:cNvSpPr/>
            <p:nvPr/>
          </p:nvSpPr>
          <p:spPr>
            <a:xfrm>
              <a:off x="7283311" y="4092495"/>
              <a:ext cx="128705" cy="42902"/>
            </a:xfrm>
            <a:custGeom>
              <a:avLst/>
              <a:gdLst>
                <a:gd name="connsiteX0" fmla="*/ 184736 w 188973"/>
                <a:gd name="connsiteY0" fmla="*/ 73872 h 62991"/>
                <a:gd name="connsiteX1" fmla="*/ 182217 w 188973"/>
                <a:gd name="connsiteY1" fmla="*/ 73872 h 62991"/>
                <a:gd name="connsiteX2" fmla="*/ 7101 w 188973"/>
                <a:gd name="connsiteY2" fmla="*/ 20959 h 62991"/>
                <a:gd name="connsiteX3" fmla="*/ 802 w 188973"/>
                <a:gd name="connsiteY3" fmla="*/ 7101 h 62991"/>
                <a:gd name="connsiteX4" fmla="*/ 14660 w 188973"/>
                <a:gd name="connsiteY4" fmla="*/ 802 h 62991"/>
                <a:gd name="connsiteX5" fmla="*/ 188516 w 188973"/>
                <a:gd name="connsiteY5" fmla="*/ 53715 h 62991"/>
                <a:gd name="connsiteX6" fmla="*/ 196075 w 188973"/>
                <a:gd name="connsiteY6" fmla="*/ 66313 h 62991"/>
                <a:gd name="connsiteX7" fmla="*/ 184736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84736" y="73872"/>
                  </a:moveTo>
                  <a:cubicBezTo>
                    <a:pt x="183476" y="73872"/>
                    <a:pt x="183476" y="73872"/>
                    <a:pt x="182217" y="73872"/>
                  </a:cubicBezTo>
                  <a:cubicBezTo>
                    <a:pt x="123005" y="60014"/>
                    <a:pt x="63793" y="41116"/>
                    <a:pt x="7101" y="20959"/>
                  </a:cubicBezTo>
                  <a:cubicBezTo>
                    <a:pt x="2062" y="18439"/>
                    <a:pt x="-1718" y="12140"/>
                    <a:pt x="802" y="7101"/>
                  </a:cubicBezTo>
                  <a:cubicBezTo>
                    <a:pt x="3322" y="2062"/>
                    <a:pt x="9621" y="-1718"/>
                    <a:pt x="14660" y="802"/>
                  </a:cubicBezTo>
                  <a:cubicBezTo>
                    <a:pt x="71352" y="22219"/>
                    <a:pt x="129304" y="39857"/>
                    <a:pt x="188516" y="53715"/>
                  </a:cubicBezTo>
                  <a:cubicBezTo>
                    <a:pt x="194815" y="54974"/>
                    <a:pt x="197334" y="61274"/>
                    <a:pt x="196075" y="66313"/>
                  </a:cubicBezTo>
                  <a:cubicBezTo>
                    <a:pt x="193555" y="71352"/>
                    <a:pt x="189775" y="75131"/>
                    <a:pt x="184736" y="7387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/>
            <p:cNvSpPr/>
            <p:nvPr/>
          </p:nvSpPr>
          <p:spPr>
            <a:xfrm>
              <a:off x="7407414" y="4667066"/>
              <a:ext cx="120125" cy="68643"/>
            </a:xfrm>
            <a:custGeom>
              <a:avLst/>
              <a:gdLst>
                <a:gd name="connsiteX0" fmla="*/ 170076 w 176375"/>
                <a:gd name="connsiteY0" fmla="*/ 109605 h 100785"/>
                <a:gd name="connsiteX1" fmla="*/ 166297 w 176375"/>
                <a:gd name="connsiteY1" fmla="*/ 108345 h 100785"/>
                <a:gd name="connsiteX2" fmla="*/ 5039 w 176375"/>
                <a:gd name="connsiteY2" fmla="*/ 20157 h 100785"/>
                <a:gd name="connsiteX3" fmla="*/ 1260 w 176375"/>
                <a:gd name="connsiteY3" fmla="*/ 5039 h 100785"/>
                <a:gd name="connsiteX4" fmla="*/ 16378 w 176375"/>
                <a:gd name="connsiteY4" fmla="*/ 1260 h 100785"/>
                <a:gd name="connsiteX5" fmla="*/ 175115 w 176375"/>
                <a:gd name="connsiteY5" fmla="*/ 88188 h 100785"/>
                <a:gd name="connsiteX6" fmla="*/ 180155 w 176375"/>
                <a:gd name="connsiteY6" fmla="*/ 102046 h 100785"/>
                <a:gd name="connsiteX7" fmla="*/ 170076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70076" y="109605"/>
                  </a:moveTo>
                  <a:cubicBezTo>
                    <a:pt x="168816" y="109605"/>
                    <a:pt x="167556" y="109605"/>
                    <a:pt x="166297" y="108345"/>
                  </a:cubicBezTo>
                  <a:cubicBezTo>
                    <a:pt x="110864" y="83148"/>
                    <a:pt x="56692" y="52913"/>
                    <a:pt x="5039" y="20157"/>
                  </a:cubicBezTo>
                  <a:cubicBezTo>
                    <a:pt x="0" y="16378"/>
                    <a:pt x="-1260" y="10079"/>
                    <a:pt x="1260" y="5039"/>
                  </a:cubicBezTo>
                  <a:cubicBezTo>
                    <a:pt x="5039" y="0"/>
                    <a:pt x="11338" y="-1260"/>
                    <a:pt x="16378" y="1260"/>
                  </a:cubicBezTo>
                  <a:cubicBezTo>
                    <a:pt x="66771" y="34015"/>
                    <a:pt x="120943" y="62991"/>
                    <a:pt x="175115" y="88188"/>
                  </a:cubicBezTo>
                  <a:cubicBezTo>
                    <a:pt x="180155" y="90707"/>
                    <a:pt x="182674" y="97007"/>
                    <a:pt x="180155" y="102046"/>
                  </a:cubicBezTo>
                  <a:cubicBezTo>
                    <a:pt x="177635" y="107085"/>
                    <a:pt x="173856" y="109605"/>
                    <a:pt x="170076" y="1096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/>
            <p:cNvSpPr/>
            <p:nvPr/>
          </p:nvSpPr>
          <p:spPr>
            <a:xfrm>
              <a:off x="7347991" y="3846089"/>
              <a:ext cx="111545" cy="171607"/>
            </a:xfrm>
            <a:custGeom>
              <a:avLst/>
              <a:gdLst>
                <a:gd name="connsiteX0" fmla="*/ 10400 w 163777"/>
                <a:gd name="connsiteY0" fmla="*/ 263066 h 251964"/>
                <a:gd name="connsiteX1" fmla="*/ 6620 w 163777"/>
                <a:gd name="connsiteY1" fmla="*/ 261806 h 251964"/>
                <a:gd name="connsiteX2" fmla="*/ 321 w 163777"/>
                <a:gd name="connsiteY2" fmla="*/ 247947 h 251964"/>
                <a:gd name="connsiteX3" fmla="*/ 154019 w 163777"/>
                <a:gd name="connsiteY3" fmla="*/ 3542 h 251964"/>
                <a:gd name="connsiteX4" fmla="*/ 169137 w 163777"/>
                <a:gd name="connsiteY4" fmla="*/ 2282 h 251964"/>
                <a:gd name="connsiteX5" fmla="*/ 170397 w 163777"/>
                <a:gd name="connsiteY5" fmla="*/ 17400 h 251964"/>
                <a:gd name="connsiteX6" fmla="*/ 20478 w 163777"/>
                <a:gd name="connsiteY6" fmla="*/ 255507 h 251964"/>
                <a:gd name="connsiteX7" fmla="*/ 1040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0400" y="263066"/>
                  </a:moveTo>
                  <a:cubicBezTo>
                    <a:pt x="9140" y="263066"/>
                    <a:pt x="7880" y="263066"/>
                    <a:pt x="6620" y="261806"/>
                  </a:cubicBezTo>
                  <a:cubicBezTo>
                    <a:pt x="1581" y="259286"/>
                    <a:pt x="-939" y="252987"/>
                    <a:pt x="321" y="247947"/>
                  </a:cubicBezTo>
                  <a:cubicBezTo>
                    <a:pt x="36856" y="157240"/>
                    <a:pt x="88509" y="75352"/>
                    <a:pt x="154019" y="3542"/>
                  </a:cubicBezTo>
                  <a:cubicBezTo>
                    <a:pt x="157799" y="-238"/>
                    <a:pt x="164098" y="-1497"/>
                    <a:pt x="169137" y="2282"/>
                  </a:cubicBezTo>
                  <a:cubicBezTo>
                    <a:pt x="172917" y="6061"/>
                    <a:pt x="174177" y="12361"/>
                    <a:pt x="170397" y="17400"/>
                  </a:cubicBezTo>
                  <a:cubicBezTo>
                    <a:pt x="106146" y="87950"/>
                    <a:pt x="55753" y="167319"/>
                    <a:pt x="20478" y="255507"/>
                  </a:cubicBezTo>
                  <a:cubicBezTo>
                    <a:pt x="19218" y="260546"/>
                    <a:pt x="15439" y="263066"/>
                    <a:pt x="10400" y="26306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/>
            <p:cNvSpPr/>
            <p:nvPr/>
          </p:nvSpPr>
          <p:spPr>
            <a:xfrm>
              <a:off x="7318818" y="3862012"/>
              <a:ext cx="51482" cy="102964"/>
            </a:xfrm>
            <a:custGeom>
              <a:avLst/>
              <a:gdLst>
                <a:gd name="connsiteX0" fmla="*/ 10400 w 75589"/>
                <a:gd name="connsiteY0" fmla="*/ 157799 h 151178"/>
                <a:gd name="connsiteX1" fmla="*/ 6620 w 75589"/>
                <a:gd name="connsiteY1" fmla="*/ 156539 h 151178"/>
                <a:gd name="connsiteX2" fmla="*/ 321 w 75589"/>
                <a:gd name="connsiteY2" fmla="*/ 142681 h 151178"/>
                <a:gd name="connsiteX3" fmla="*/ 57013 w 75589"/>
                <a:gd name="connsiteY3" fmla="*/ 6620 h 151178"/>
                <a:gd name="connsiteX4" fmla="*/ 70871 w 75589"/>
                <a:gd name="connsiteY4" fmla="*/ 321 h 151178"/>
                <a:gd name="connsiteX5" fmla="*/ 77170 w 75589"/>
                <a:gd name="connsiteY5" fmla="*/ 14179 h 151178"/>
                <a:gd name="connsiteX6" fmla="*/ 20478 w 75589"/>
                <a:gd name="connsiteY6" fmla="*/ 151500 h 151178"/>
                <a:gd name="connsiteX7" fmla="*/ 10400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10400" y="157799"/>
                  </a:moveTo>
                  <a:cubicBezTo>
                    <a:pt x="9140" y="157799"/>
                    <a:pt x="7880" y="157799"/>
                    <a:pt x="6620" y="156539"/>
                  </a:cubicBezTo>
                  <a:cubicBezTo>
                    <a:pt x="1581" y="154019"/>
                    <a:pt x="-939" y="147720"/>
                    <a:pt x="321" y="142681"/>
                  </a:cubicBezTo>
                  <a:lnTo>
                    <a:pt x="57013" y="6620"/>
                  </a:lnTo>
                  <a:cubicBezTo>
                    <a:pt x="59533" y="1581"/>
                    <a:pt x="65832" y="-939"/>
                    <a:pt x="70871" y="321"/>
                  </a:cubicBezTo>
                  <a:cubicBezTo>
                    <a:pt x="75910" y="2841"/>
                    <a:pt x="78430" y="9140"/>
                    <a:pt x="77170" y="14179"/>
                  </a:cubicBezTo>
                  <a:lnTo>
                    <a:pt x="20478" y="151500"/>
                  </a:lnTo>
                  <a:cubicBezTo>
                    <a:pt x="19218" y="156539"/>
                    <a:pt x="15439" y="157799"/>
                    <a:pt x="10400" y="15779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/>
            <p:cNvSpPr/>
            <p:nvPr/>
          </p:nvSpPr>
          <p:spPr>
            <a:xfrm>
              <a:off x="7192636" y="3782164"/>
              <a:ext cx="111545" cy="94384"/>
            </a:xfrm>
            <a:custGeom>
              <a:avLst/>
              <a:gdLst>
                <a:gd name="connsiteX0" fmla="*/ 161653 w 163777"/>
                <a:gd name="connsiteY0" fmla="*/ 147795 h 138580"/>
                <a:gd name="connsiteX1" fmla="*/ 154094 w 163777"/>
                <a:gd name="connsiteY1" fmla="*/ 145275 h 138580"/>
                <a:gd name="connsiteX2" fmla="*/ 4175 w 163777"/>
                <a:gd name="connsiteY2" fmla="*/ 19293 h 138580"/>
                <a:gd name="connsiteX3" fmla="*/ 1655 w 163777"/>
                <a:gd name="connsiteY3" fmla="*/ 4175 h 138580"/>
                <a:gd name="connsiteX4" fmla="*/ 16773 w 163777"/>
                <a:gd name="connsiteY4" fmla="*/ 1655 h 138580"/>
                <a:gd name="connsiteX5" fmla="*/ 167952 w 163777"/>
                <a:gd name="connsiteY5" fmla="*/ 128897 h 138580"/>
                <a:gd name="connsiteX6" fmla="*/ 167952 w 163777"/>
                <a:gd name="connsiteY6" fmla="*/ 144015 h 138580"/>
                <a:gd name="connsiteX7" fmla="*/ 16165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161653" y="147795"/>
                  </a:moveTo>
                  <a:cubicBezTo>
                    <a:pt x="159133" y="147795"/>
                    <a:pt x="156613" y="146535"/>
                    <a:pt x="154094" y="145275"/>
                  </a:cubicBezTo>
                  <a:cubicBezTo>
                    <a:pt x="106220" y="101181"/>
                    <a:pt x="55827" y="58347"/>
                    <a:pt x="4175" y="19293"/>
                  </a:cubicBezTo>
                  <a:cubicBezTo>
                    <a:pt x="-865" y="15513"/>
                    <a:pt x="-865" y="9214"/>
                    <a:pt x="1655" y="4175"/>
                  </a:cubicBezTo>
                  <a:cubicBezTo>
                    <a:pt x="5435" y="-865"/>
                    <a:pt x="11734" y="-865"/>
                    <a:pt x="16773" y="1655"/>
                  </a:cubicBezTo>
                  <a:cubicBezTo>
                    <a:pt x="68426" y="41970"/>
                    <a:pt x="120078" y="84803"/>
                    <a:pt x="167952" y="128897"/>
                  </a:cubicBezTo>
                  <a:cubicBezTo>
                    <a:pt x="171731" y="132677"/>
                    <a:pt x="172991" y="140236"/>
                    <a:pt x="167952" y="144015"/>
                  </a:cubicBezTo>
                  <a:cubicBezTo>
                    <a:pt x="166692" y="146535"/>
                    <a:pt x="164172" y="147795"/>
                    <a:pt x="161653" y="14779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/>
            <p:cNvSpPr/>
            <p:nvPr/>
          </p:nvSpPr>
          <p:spPr>
            <a:xfrm>
              <a:off x="7213718" y="3745757"/>
              <a:ext cx="94384" cy="68643"/>
            </a:xfrm>
            <a:custGeom>
              <a:avLst/>
              <a:gdLst>
                <a:gd name="connsiteX0" fmla="*/ 128180 w 138580"/>
                <a:gd name="connsiteY0" fmla="*/ 113062 h 100785"/>
                <a:gd name="connsiteX1" fmla="*/ 120621 w 138580"/>
                <a:gd name="connsiteY1" fmla="*/ 110542 h 100785"/>
                <a:gd name="connsiteX2" fmla="*/ 4717 w 138580"/>
                <a:gd name="connsiteY2" fmla="*/ 19835 h 100785"/>
                <a:gd name="connsiteX3" fmla="*/ 2198 w 138580"/>
                <a:gd name="connsiteY3" fmla="*/ 4717 h 100785"/>
                <a:gd name="connsiteX4" fmla="*/ 17315 w 138580"/>
                <a:gd name="connsiteY4" fmla="*/ 2198 h 100785"/>
                <a:gd name="connsiteX5" fmla="*/ 135739 w 138580"/>
                <a:gd name="connsiteY5" fmla="*/ 94165 h 100785"/>
                <a:gd name="connsiteX6" fmla="*/ 136999 w 138580"/>
                <a:gd name="connsiteY6" fmla="*/ 109283 h 100785"/>
                <a:gd name="connsiteX7" fmla="*/ 128180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28180" y="113062"/>
                  </a:moveTo>
                  <a:cubicBezTo>
                    <a:pt x="125660" y="113062"/>
                    <a:pt x="123141" y="111802"/>
                    <a:pt x="120621" y="110542"/>
                  </a:cubicBezTo>
                  <a:cubicBezTo>
                    <a:pt x="84086" y="77787"/>
                    <a:pt x="45032" y="47551"/>
                    <a:pt x="4717" y="19835"/>
                  </a:cubicBezTo>
                  <a:cubicBezTo>
                    <a:pt x="-322" y="16056"/>
                    <a:pt x="-1582" y="9757"/>
                    <a:pt x="2198" y="4717"/>
                  </a:cubicBezTo>
                  <a:cubicBezTo>
                    <a:pt x="5977" y="-322"/>
                    <a:pt x="12276" y="-1582"/>
                    <a:pt x="17315" y="2198"/>
                  </a:cubicBezTo>
                  <a:cubicBezTo>
                    <a:pt x="58890" y="29914"/>
                    <a:pt x="99204" y="61409"/>
                    <a:pt x="135739" y="94165"/>
                  </a:cubicBezTo>
                  <a:cubicBezTo>
                    <a:pt x="139518" y="97944"/>
                    <a:pt x="140778" y="105503"/>
                    <a:pt x="136999" y="109283"/>
                  </a:cubicBezTo>
                  <a:cubicBezTo>
                    <a:pt x="133219" y="111802"/>
                    <a:pt x="130700" y="113062"/>
                    <a:pt x="128180" y="11306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/>
            <p:cNvSpPr/>
            <p:nvPr/>
          </p:nvSpPr>
          <p:spPr>
            <a:xfrm>
              <a:off x="10323875" y="4791481"/>
              <a:ext cx="429018" cy="128705"/>
            </a:xfrm>
            <a:custGeom>
              <a:avLst/>
              <a:gdLst>
                <a:gd name="connsiteX0" fmla="*/ 621093 w 629911"/>
                <a:gd name="connsiteY0" fmla="*/ 0 h 188973"/>
                <a:gd name="connsiteX1" fmla="*/ 8819 w 629911"/>
                <a:gd name="connsiteY1" fmla="*/ 0 h 188973"/>
                <a:gd name="connsiteX2" fmla="*/ 0 w 629911"/>
                <a:gd name="connsiteY2" fmla="*/ 8819 h 188973"/>
                <a:gd name="connsiteX3" fmla="*/ 0 w 629911"/>
                <a:gd name="connsiteY3" fmla="*/ 105825 h 188973"/>
                <a:gd name="connsiteX4" fmla="*/ 85668 w 629911"/>
                <a:gd name="connsiteY4" fmla="*/ 191493 h 188973"/>
                <a:gd name="connsiteX5" fmla="*/ 544243 w 629911"/>
                <a:gd name="connsiteY5" fmla="*/ 191493 h 188973"/>
                <a:gd name="connsiteX6" fmla="*/ 629912 w 629911"/>
                <a:gd name="connsiteY6" fmla="*/ 105825 h 188973"/>
                <a:gd name="connsiteX7" fmla="*/ 629912 w 629911"/>
                <a:gd name="connsiteY7" fmla="*/ 8819 h 188973"/>
                <a:gd name="connsiteX8" fmla="*/ 621093 w 629911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911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3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3117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7376525" y="4791481"/>
              <a:ext cx="420437" cy="128705"/>
            </a:xfrm>
            <a:custGeom>
              <a:avLst/>
              <a:gdLst>
                <a:gd name="connsiteX0" fmla="*/ 621093 w 617313"/>
                <a:gd name="connsiteY0" fmla="*/ 0 h 188973"/>
                <a:gd name="connsiteX1" fmla="*/ 8819 w 617313"/>
                <a:gd name="connsiteY1" fmla="*/ 0 h 188973"/>
                <a:gd name="connsiteX2" fmla="*/ 0 w 617313"/>
                <a:gd name="connsiteY2" fmla="*/ 8819 h 188973"/>
                <a:gd name="connsiteX3" fmla="*/ 0 w 617313"/>
                <a:gd name="connsiteY3" fmla="*/ 105825 h 188973"/>
                <a:gd name="connsiteX4" fmla="*/ 85668 w 617313"/>
                <a:gd name="connsiteY4" fmla="*/ 191493 h 188973"/>
                <a:gd name="connsiteX5" fmla="*/ 544244 w 617313"/>
                <a:gd name="connsiteY5" fmla="*/ 191493 h 188973"/>
                <a:gd name="connsiteX6" fmla="*/ 629912 w 617313"/>
                <a:gd name="connsiteY6" fmla="*/ 105825 h 188973"/>
                <a:gd name="connsiteX7" fmla="*/ 629912 w 617313"/>
                <a:gd name="connsiteY7" fmla="*/ 8819 h 188973"/>
                <a:gd name="connsiteX8" fmla="*/ 621093 w 617313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7313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4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2991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/>
            <p:cNvSpPr/>
            <p:nvPr/>
          </p:nvSpPr>
          <p:spPr>
            <a:xfrm>
              <a:off x="8779412" y="4101621"/>
              <a:ext cx="154446" cy="154446"/>
            </a:xfrm>
            <a:custGeom>
              <a:avLst/>
              <a:gdLst>
                <a:gd name="connsiteX0" fmla="*/ 0 w 226768"/>
                <a:gd name="connsiteY0" fmla="*/ 94487 h 226768"/>
                <a:gd name="connsiteX1" fmla="*/ 0 w 226768"/>
                <a:gd name="connsiteY1" fmla="*/ 137321 h 226768"/>
                <a:gd name="connsiteX2" fmla="*/ 21417 w 226768"/>
                <a:gd name="connsiteY2" fmla="*/ 177635 h 226768"/>
                <a:gd name="connsiteX3" fmla="*/ 49133 w 226768"/>
                <a:gd name="connsiteY3" fmla="*/ 186454 h 226768"/>
                <a:gd name="connsiteX4" fmla="*/ 61731 w 226768"/>
                <a:gd name="connsiteY4" fmla="*/ 186454 h 226768"/>
                <a:gd name="connsiteX5" fmla="*/ 61731 w 226768"/>
                <a:gd name="connsiteY5" fmla="*/ 229288 h 226768"/>
                <a:gd name="connsiteX6" fmla="*/ 238107 w 226768"/>
                <a:gd name="connsiteY6" fmla="*/ 229288 h 226768"/>
                <a:gd name="connsiteX7" fmla="*/ 238107 w 226768"/>
                <a:gd name="connsiteY7" fmla="*/ 45354 h 226768"/>
                <a:gd name="connsiteX8" fmla="*/ 192753 w 226768"/>
                <a:gd name="connsiteY8" fmla="*/ 0 h 226768"/>
                <a:gd name="connsiteX9" fmla="*/ 108345 w 226768"/>
                <a:gd name="connsiteY9" fmla="*/ 0 h 226768"/>
                <a:gd name="connsiteX10" fmla="*/ 62991 w 226768"/>
                <a:gd name="connsiteY10" fmla="*/ 45354 h 226768"/>
                <a:gd name="connsiteX11" fmla="*/ 62991 w 226768"/>
                <a:gd name="connsiteY11" fmla="*/ 46613 h 226768"/>
                <a:gd name="connsiteX12" fmla="*/ 50393 w 226768"/>
                <a:gd name="connsiteY12" fmla="*/ 46613 h 226768"/>
                <a:gd name="connsiteX13" fmla="*/ 18897 w 226768"/>
                <a:gd name="connsiteY13" fmla="*/ 57952 h 226768"/>
                <a:gd name="connsiteX14" fmla="*/ 0 w 226768"/>
                <a:gd name="connsiteY14" fmla="*/ 94487 h 226768"/>
                <a:gd name="connsiteX15" fmla="*/ 30236 w 226768"/>
                <a:gd name="connsiteY15" fmla="*/ 153698 h 226768"/>
                <a:gd name="connsiteX16" fmla="*/ 23937 w 226768"/>
                <a:gd name="connsiteY16" fmla="*/ 138581 h 226768"/>
                <a:gd name="connsiteX17" fmla="*/ 23937 w 226768"/>
                <a:gd name="connsiteY17" fmla="*/ 94487 h 226768"/>
                <a:gd name="connsiteX18" fmla="*/ 32755 w 226768"/>
                <a:gd name="connsiteY18" fmla="*/ 76849 h 226768"/>
                <a:gd name="connsiteX19" fmla="*/ 46613 w 226768"/>
                <a:gd name="connsiteY19" fmla="*/ 71810 h 226768"/>
                <a:gd name="connsiteX20" fmla="*/ 61731 w 226768"/>
                <a:gd name="connsiteY20" fmla="*/ 71810 h 226768"/>
                <a:gd name="connsiteX21" fmla="*/ 62991 w 226768"/>
                <a:gd name="connsiteY21" fmla="*/ 71810 h 226768"/>
                <a:gd name="connsiteX22" fmla="*/ 62991 w 226768"/>
                <a:gd name="connsiteY22" fmla="*/ 159998 h 226768"/>
                <a:gd name="connsiteX23" fmla="*/ 61731 w 226768"/>
                <a:gd name="connsiteY23" fmla="*/ 159998 h 226768"/>
                <a:gd name="connsiteX24" fmla="*/ 46613 w 226768"/>
                <a:gd name="connsiteY24" fmla="*/ 159998 h 226768"/>
                <a:gd name="connsiteX25" fmla="*/ 30236 w 226768"/>
                <a:gd name="connsiteY25" fmla="*/ 153698 h 22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6768" h="226768">
                  <a:moveTo>
                    <a:pt x="0" y="94487"/>
                  </a:moveTo>
                  <a:lnTo>
                    <a:pt x="0" y="137321"/>
                  </a:lnTo>
                  <a:cubicBezTo>
                    <a:pt x="0" y="153698"/>
                    <a:pt x="8819" y="168816"/>
                    <a:pt x="21417" y="177635"/>
                  </a:cubicBezTo>
                  <a:cubicBezTo>
                    <a:pt x="28976" y="182674"/>
                    <a:pt x="39054" y="186454"/>
                    <a:pt x="49133" y="186454"/>
                  </a:cubicBezTo>
                  <a:lnTo>
                    <a:pt x="61731" y="186454"/>
                  </a:lnTo>
                  <a:lnTo>
                    <a:pt x="61731" y="229288"/>
                  </a:lnTo>
                  <a:lnTo>
                    <a:pt x="238107" y="229288"/>
                  </a:lnTo>
                  <a:lnTo>
                    <a:pt x="238107" y="45354"/>
                  </a:lnTo>
                  <a:cubicBezTo>
                    <a:pt x="238107" y="20157"/>
                    <a:pt x="217949" y="0"/>
                    <a:pt x="192753" y="0"/>
                  </a:cubicBezTo>
                  <a:lnTo>
                    <a:pt x="108345" y="0"/>
                  </a:lnTo>
                  <a:cubicBezTo>
                    <a:pt x="83148" y="0"/>
                    <a:pt x="62991" y="20157"/>
                    <a:pt x="62991" y="45354"/>
                  </a:cubicBezTo>
                  <a:lnTo>
                    <a:pt x="62991" y="46613"/>
                  </a:lnTo>
                  <a:lnTo>
                    <a:pt x="50393" y="46613"/>
                  </a:lnTo>
                  <a:cubicBezTo>
                    <a:pt x="39054" y="46613"/>
                    <a:pt x="27716" y="50393"/>
                    <a:pt x="18897" y="57952"/>
                  </a:cubicBezTo>
                  <a:cubicBezTo>
                    <a:pt x="6299" y="65511"/>
                    <a:pt x="0" y="79369"/>
                    <a:pt x="0" y="94487"/>
                  </a:cubicBezTo>
                  <a:close/>
                  <a:moveTo>
                    <a:pt x="30236" y="153698"/>
                  </a:moveTo>
                  <a:cubicBezTo>
                    <a:pt x="26456" y="149919"/>
                    <a:pt x="23937" y="143620"/>
                    <a:pt x="23937" y="138581"/>
                  </a:cubicBezTo>
                  <a:lnTo>
                    <a:pt x="23937" y="94487"/>
                  </a:lnTo>
                  <a:cubicBezTo>
                    <a:pt x="23937" y="86928"/>
                    <a:pt x="27716" y="80629"/>
                    <a:pt x="32755" y="76849"/>
                  </a:cubicBezTo>
                  <a:cubicBezTo>
                    <a:pt x="36535" y="74330"/>
                    <a:pt x="41574" y="71810"/>
                    <a:pt x="46613" y="71810"/>
                  </a:cubicBezTo>
                  <a:lnTo>
                    <a:pt x="61731" y="71810"/>
                  </a:lnTo>
                  <a:cubicBezTo>
                    <a:pt x="61731" y="71810"/>
                    <a:pt x="61731" y="71810"/>
                    <a:pt x="62991" y="71810"/>
                  </a:cubicBezTo>
                  <a:lnTo>
                    <a:pt x="62991" y="159998"/>
                  </a:lnTo>
                  <a:cubicBezTo>
                    <a:pt x="62991" y="159998"/>
                    <a:pt x="62991" y="159998"/>
                    <a:pt x="61731" y="159998"/>
                  </a:cubicBezTo>
                  <a:lnTo>
                    <a:pt x="46613" y="159998"/>
                  </a:lnTo>
                  <a:cubicBezTo>
                    <a:pt x="39054" y="159998"/>
                    <a:pt x="34015" y="157478"/>
                    <a:pt x="30236" y="15369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/>
            <p:cNvSpPr/>
            <p:nvPr/>
          </p:nvSpPr>
          <p:spPr>
            <a:xfrm>
              <a:off x="8839474" y="4109344"/>
              <a:ext cx="85803" cy="8580"/>
            </a:xfrm>
            <a:custGeom>
              <a:avLst/>
              <a:gdLst>
                <a:gd name="connsiteX0" fmla="*/ 0 w 125982"/>
                <a:gd name="connsiteY0" fmla="*/ 11339 h 12598"/>
                <a:gd name="connsiteX1" fmla="*/ 11338 w 125982"/>
                <a:gd name="connsiteY1" fmla="*/ 22677 h 12598"/>
                <a:gd name="connsiteX2" fmla="*/ 118423 w 125982"/>
                <a:gd name="connsiteY2" fmla="*/ 22677 h 12598"/>
                <a:gd name="connsiteX3" fmla="*/ 129762 w 125982"/>
                <a:gd name="connsiteY3" fmla="*/ 11339 h 12598"/>
                <a:gd name="connsiteX4" fmla="*/ 129762 w 125982"/>
                <a:gd name="connsiteY4" fmla="*/ 11339 h 12598"/>
                <a:gd name="connsiteX5" fmla="*/ 118423 w 125982"/>
                <a:gd name="connsiteY5" fmla="*/ 0 h 12598"/>
                <a:gd name="connsiteX6" fmla="*/ 11338 w 125982"/>
                <a:gd name="connsiteY6" fmla="*/ 0 h 12598"/>
                <a:gd name="connsiteX7" fmla="*/ 0 w 125982"/>
                <a:gd name="connsiteY7" fmla="*/ 11339 h 12598"/>
                <a:gd name="connsiteX8" fmla="*/ 0 w 125982"/>
                <a:gd name="connsiteY8" fmla="*/ 11339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12598">
                  <a:moveTo>
                    <a:pt x="0" y="11339"/>
                  </a:moveTo>
                  <a:cubicBezTo>
                    <a:pt x="0" y="17638"/>
                    <a:pt x="5039" y="22677"/>
                    <a:pt x="11338" y="22677"/>
                  </a:cubicBezTo>
                  <a:lnTo>
                    <a:pt x="118423" y="22677"/>
                  </a:lnTo>
                  <a:cubicBezTo>
                    <a:pt x="124722" y="22677"/>
                    <a:pt x="129762" y="17638"/>
                    <a:pt x="129762" y="11339"/>
                  </a:cubicBezTo>
                  <a:lnTo>
                    <a:pt x="129762" y="11339"/>
                  </a:lnTo>
                  <a:cubicBezTo>
                    <a:pt x="129762" y="5039"/>
                    <a:pt x="124722" y="0"/>
                    <a:pt x="118423" y="0"/>
                  </a:cubicBezTo>
                  <a:lnTo>
                    <a:pt x="11338" y="0"/>
                  </a:lnTo>
                  <a:cubicBezTo>
                    <a:pt x="5039" y="1260"/>
                    <a:pt x="0" y="6299"/>
                    <a:pt x="0" y="11339"/>
                  </a:cubicBezTo>
                  <a:lnTo>
                    <a:pt x="0" y="1133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/>
            <p:cNvSpPr/>
            <p:nvPr/>
          </p:nvSpPr>
          <p:spPr>
            <a:xfrm>
              <a:off x="8113843" y="3994367"/>
              <a:ext cx="454758" cy="506241"/>
            </a:xfrm>
            <a:custGeom>
              <a:avLst/>
              <a:gdLst>
                <a:gd name="connsiteX0" fmla="*/ 528734 w 667706"/>
                <a:gd name="connsiteY0" fmla="*/ 51653 h 743295"/>
                <a:gd name="connsiteX1" fmla="*/ 465743 w 667706"/>
                <a:gd name="connsiteY1" fmla="*/ 0 h 743295"/>
                <a:gd name="connsiteX2" fmla="*/ 43702 w 667706"/>
                <a:gd name="connsiteY2" fmla="*/ 0 h 743295"/>
                <a:gd name="connsiteX3" fmla="*/ 43702 w 667706"/>
                <a:gd name="connsiteY3" fmla="*/ 0 h 743295"/>
                <a:gd name="connsiteX4" fmla="*/ 22285 w 667706"/>
                <a:gd name="connsiteY4" fmla="*/ 5039 h 743295"/>
                <a:gd name="connsiteX5" fmla="*/ 868 w 667706"/>
                <a:gd name="connsiteY5" fmla="*/ 51653 h 743295"/>
                <a:gd name="connsiteX6" fmla="*/ 130630 w 667706"/>
                <a:gd name="connsiteY6" fmla="*/ 720619 h 743295"/>
                <a:gd name="connsiteX7" fmla="*/ 130630 w 667706"/>
                <a:gd name="connsiteY7" fmla="*/ 720619 h 743295"/>
                <a:gd name="connsiteX8" fmla="*/ 172204 w 667706"/>
                <a:gd name="connsiteY8" fmla="*/ 754634 h 743295"/>
                <a:gd name="connsiteX9" fmla="*/ 173464 w 667706"/>
                <a:gd name="connsiteY9" fmla="*/ 754634 h 743295"/>
                <a:gd name="connsiteX10" fmla="*/ 673614 w 667706"/>
                <a:gd name="connsiteY10" fmla="*/ 754634 h 743295"/>
                <a:gd name="connsiteX11" fmla="*/ 528734 w 667706"/>
                <a:gd name="connsiteY11" fmla="*/ 51653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706" h="743295">
                  <a:moveTo>
                    <a:pt x="528734" y="51653"/>
                  </a:moveTo>
                  <a:cubicBezTo>
                    <a:pt x="522435" y="21417"/>
                    <a:pt x="495979" y="0"/>
                    <a:pt x="465743" y="0"/>
                  </a:cubicBezTo>
                  <a:lnTo>
                    <a:pt x="43702" y="0"/>
                  </a:lnTo>
                  <a:lnTo>
                    <a:pt x="43702" y="0"/>
                  </a:lnTo>
                  <a:cubicBezTo>
                    <a:pt x="37403" y="0"/>
                    <a:pt x="29844" y="1260"/>
                    <a:pt x="22285" y="5039"/>
                  </a:cubicBezTo>
                  <a:cubicBezTo>
                    <a:pt x="5907" y="13858"/>
                    <a:pt x="-2911" y="32755"/>
                    <a:pt x="868" y="51653"/>
                  </a:cubicBezTo>
                  <a:lnTo>
                    <a:pt x="130630" y="720619"/>
                  </a:lnTo>
                  <a:lnTo>
                    <a:pt x="130630" y="720619"/>
                  </a:lnTo>
                  <a:cubicBezTo>
                    <a:pt x="134409" y="740776"/>
                    <a:pt x="152047" y="754634"/>
                    <a:pt x="172204" y="754634"/>
                  </a:cubicBezTo>
                  <a:lnTo>
                    <a:pt x="173464" y="754634"/>
                  </a:lnTo>
                  <a:lnTo>
                    <a:pt x="673614" y="754634"/>
                  </a:lnTo>
                  <a:lnTo>
                    <a:pt x="528734" y="51653"/>
                  </a:ln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/>
            <p:cNvSpPr/>
            <p:nvPr/>
          </p:nvSpPr>
          <p:spPr>
            <a:xfrm>
              <a:off x="8114040" y="3994566"/>
              <a:ext cx="677847" cy="506241"/>
            </a:xfrm>
            <a:custGeom>
              <a:avLst/>
              <a:gdLst>
                <a:gd name="connsiteX0" fmla="*/ 34594 w 995260"/>
                <a:gd name="connsiteY0" fmla="*/ 968 h 743295"/>
                <a:gd name="connsiteX1" fmla="*/ 83727 w 995260"/>
                <a:gd name="connsiteY1" fmla="*/ 34984 h 743295"/>
                <a:gd name="connsiteX2" fmla="*/ 207190 w 995260"/>
                <a:gd name="connsiteY2" fmla="*/ 669935 h 743295"/>
                <a:gd name="connsiteX3" fmla="*/ 363408 w 995260"/>
                <a:gd name="connsiteY3" fmla="*/ 669935 h 743295"/>
                <a:gd name="connsiteX4" fmla="*/ 517106 w 995260"/>
                <a:gd name="connsiteY4" fmla="*/ 669935 h 743295"/>
                <a:gd name="connsiteX5" fmla="*/ 953005 w 995260"/>
                <a:gd name="connsiteY5" fmla="*/ 669935 h 743295"/>
                <a:gd name="connsiteX6" fmla="*/ 995839 w 995260"/>
                <a:gd name="connsiteY6" fmla="*/ 712769 h 743295"/>
                <a:gd name="connsiteX7" fmla="*/ 953005 w 995260"/>
                <a:gd name="connsiteY7" fmla="*/ 755602 h 743295"/>
                <a:gd name="connsiteX8" fmla="*/ 517106 w 995260"/>
                <a:gd name="connsiteY8" fmla="*/ 755602 h 743295"/>
                <a:gd name="connsiteX9" fmla="*/ 417580 w 995260"/>
                <a:gd name="connsiteY9" fmla="*/ 755602 h 743295"/>
                <a:gd name="connsiteX10" fmla="*/ 173175 w 995260"/>
                <a:gd name="connsiteY10" fmla="*/ 755602 h 743295"/>
                <a:gd name="connsiteX11" fmla="*/ 171915 w 995260"/>
                <a:gd name="connsiteY11" fmla="*/ 755602 h 743295"/>
                <a:gd name="connsiteX12" fmla="*/ 130341 w 995260"/>
                <a:gd name="connsiteY12" fmla="*/ 721587 h 743295"/>
                <a:gd name="connsiteX13" fmla="*/ 579 w 995260"/>
                <a:gd name="connsiteY13" fmla="*/ 52621 h 743295"/>
                <a:gd name="connsiteX14" fmla="*/ 34594 w 995260"/>
                <a:gd name="connsiteY14" fmla="*/ 968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5260" h="743295">
                  <a:moveTo>
                    <a:pt x="34594" y="968"/>
                  </a:moveTo>
                  <a:cubicBezTo>
                    <a:pt x="57271" y="-4071"/>
                    <a:pt x="79948" y="11047"/>
                    <a:pt x="83727" y="34984"/>
                  </a:cubicBezTo>
                  <a:lnTo>
                    <a:pt x="207190" y="669935"/>
                  </a:lnTo>
                  <a:lnTo>
                    <a:pt x="363408" y="669935"/>
                  </a:lnTo>
                  <a:lnTo>
                    <a:pt x="517106" y="669935"/>
                  </a:lnTo>
                  <a:lnTo>
                    <a:pt x="953005" y="669935"/>
                  </a:lnTo>
                  <a:cubicBezTo>
                    <a:pt x="976942" y="669935"/>
                    <a:pt x="995839" y="688832"/>
                    <a:pt x="995839" y="712769"/>
                  </a:cubicBezTo>
                  <a:cubicBezTo>
                    <a:pt x="995839" y="736705"/>
                    <a:pt x="976942" y="755602"/>
                    <a:pt x="953005" y="755602"/>
                  </a:cubicBezTo>
                  <a:lnTo>
                    <a:pt x="517106" y="755602"/>
                  </a:lnTo>
                  <a:lnTo>
                    <a:pt x="417580" y="755602"/>
                  </a:lnTo>
                  <a:lnTo>
                    <a:pt x="173175" y="755602"/>
                  </a:lnTo>
                  <a:cubicBezTo>
                    <a:pt x="173175" y="755602"/>
                    <a:pt x="173175" y="755602"/>
                    <a:pt x="171915" y="755602"/>
                  </a:cubicBezTo>
                  <a:cubicBezTo>
                    <a:pt x="151758" y="755602"/>
                    <a:pt x="134120" y="741744"/>
                    <a:pt x="130341" y="721587"/>
                  </a:cubicBezTo>
                  <a:lnTo>
                    <a:pt x="579" y="52621"/>
                  </a:lnTo>
                  <a:cubicBezTo>
                    <a:pt x="-3201" y="27424"/>
                    <a:pt x="11917" y="4748"/>
                    <a:pt x="34594" y="968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/>
            <p:cNvSpPr/>
            <p:nvPr/>
          </p:nvSpPr>
          <p:spPr>
            <a:xfrm>
              <a:off x="8300453" y="4508330"/>
              <a:ext cx="334634" cy="411857"/>
            </a:xfrm>
            <a:custGeom>
              <a:avLst/>
              <a:gdLst>
                <a:gd name="connsiteX0" fmla="*/ 33012 w 491331"/>
                <a:gd name="connsiteY0" fmla="*/ 544244 h 604715"/>
                <a:gd name="connsiteX1" fmla="*/ 36792 w 491331"/>
                <a:gd name="connsiteY1" fmla="*/ 544244 h 604715"/>
                <a:gd name="connsiteX2" fmla="*/ 33012 w 491331"/>
                <a:gd name="connsiteY2" fmla="*/ 531646 h 604715"/>
                <a:gd name="connsiteX3" fmla="*/ 33012 w 491331"/>
                <a:gd name="connsiteY3" fmla="*/ 524087 h 604715"/>
                <a:gd name="connsiteX4" fmla="*/ 54429 w 491331"/>
                <a:gd name="connsiteY4" fmla="*/ 502669 h 604715"/>
                <a:gd name="connsiteX5" fmla="*/ 194270 w 491331"/>
                <a:gd name="connsiteY5" fmla="*/ 502669 h 604715"/>
                <a:gd name="connsiteX6" fmla="*/ 194270 w 491331"/>
                <a:gd name="connsiteY6" fmla="*/ 306137 h 604715"/>
                <a:gd name="connsiteX7" fmla="*/ 214427 w 491331"/>
                <a:gd name="connsiteY7" fmla="*/ 273382 h 604715"/>
                <a:gd name="connsiteX8" fmla="*/ 214427 w 491331"/>
                <a:gd name="connsiteY8" fmla="*/ 134801 h 604715"/>
                <a:gd name="connsiteX9" fmla="*/ 214427 w 491331"/>
                <a:gd name="connsiteY9" fmla="*/ 73070 h 604715"/>
                <a:gd name="connsiteX10" fmla="*/ 64508 w 491331"/>
                <a:gd name="connsiteY10" fmla="*/ 73070 h 604715"/>
                <a:gd name="connsiteX11" fmla="*/ 6556 w 491331"/>
                <a:gd name="connsiteY11" fmla="*/ 15118 h 604715"/>
                <a:gd name="connsiteX12" fmla="*/ 6556 w 491331"/>
                <a:gd name="connsiteY12" fmla="*/ 0 h 604715"/>
                <a:gd name="connsiteX13" fmla="*/ 484029 w 491331"/>
                <a:gd name="connsiteY13" fmla="*/ 0 h 604715"/>
                <a:gd name="connsiteX14" fmla="*/ 484029 w 491331"/>
                <a:gd name="connsiteY14" fmla="*/ 15118 h 604715"/>
                <a:gd name="connsiteX15" fmla="*/ 426077 w 491331"/>
                <a:gd name="connsiteY15" fmla="*/ 73070 h 604715"/>
                <a:gd name="connsiteX16" fmla="*/ 276158 w 491331"/>
                <a:gd name="connsiteY16" fmla="*/ 73070 h 604715"/>
                <a:gd name="connsiteX17" fmla="*/ 276158 w 491331"/>
                <a:gd name="connsiteY17" fmla="*/ 273382 h 604715"/>
                <a:gd name="connsiteX18" fmla="*/ 296316 w 491331"/>
                <a:gd name="connsiteY18" fmla="*/ 306137 h 604715"/>
                <a:gd name="connsiteX19" fmla="*/ 296316 w 491331"/>
                <a:gd name="connsiteY19" fmla="*/ 502669 h 604715"/>
                <a:gd name="connsiteX20" fmla="*/ 436156 w 491331"/>
                <a:gd name="connsiteY20" fmla="*/ 502669 h 604715"/>
                <a:gd name="connsiteX21" fmla="*/ 457573 w 491331"/>
                <a:gd name="connsiteY21" fmla="*/ 524087 h 604715"/>
                <a:gd name="connsiteX22" fmla="*/ 457573 w 491331"/>
                <a:gd name="connsiteY22" fmla="*/ 531646 h 604715"/>
                <a:gd name="connsiteX23" fmla="*/ 453793 w 491331"/>
                <a:gd name="connsiteY23" fmla="*/ 544244 h 604715"/>
                <a:gd name="connsiteX24" fmla="*/ 457573 w 491331"/>
                <a:gd name="connsiteY24" fmla="*/ 544244 h 604715"/>
                <a:gd name="connsiteX25" fmla="*/ 492848 w 491331"/>
                <a:gd name="connsiteY25" fmla="*/ 579519 h 604715"/>
                <a:gd name="connsiteX26" fmla="*/ 457573 w 491331"/>
                <a:gd name="connsiteY26" fmla="*/ 614794 h 604715"/>
                <a:gd name="connsiteX27" fmla="*/ 422298 w 491331"/>
                <a:gd name="connsiteY27" fmla="*/ 579519 h 604715"/>
                <a:gd name="connsiteX28" fmla="*/ 433636 w 491331"/>
                <a:gd name="connsiteY28" fmla="*/ 553062 h 604715"/>
                <a:gd name="connsiteX29" fmla="*/ 342929 w 491331"/>
                <a:gd name="connsiteY29" fmla="*/ 553062 h 604715"/>
                <a:gd name="connsiteX30" fmla="*/ 354267 w 491331"/>
                <a:gd name="connsiteY30" fmla="*/ 579519 h 604715"/>
                <a:gd name="connsiteX31" fmla="*/ 318992 w 491331"/>
                <a:gd name="connsiteY31" fmla="*/ 614794 h 604715"/>
                <a:gd name="connsiteX32" fmla="*/ 283717 w 491331"/>
                <a:gd name="connsiteY32" fmla="*/ 579519 h 604715"/>
                <a:gd name="connsiteX33" fmla="*/ 295056 w 491331"/>
                <a:gd name="connsiteY33" fmla="*/ 553062 h 604715"/>
                <a:gd name="connsiteX34" fmla="*/ 198049 w 491331"/>
                <a:gd name="connsiteY34" fmla="*/ 553062 h 604715"/>
                <a:gd name="connsiteX35" fmla="*/ 209388 w 491331"/>
                <a:gd name="connsiteY35" fmla="*/ 579519 h 604715"/>
                <a:gd name="connsiteX36" fmla="*/ 174113 w 491331"/>
                <a:gd name="connsiteY36" fmla="*/ 614794 h 604715"/>
                <a:gd name="connsiteX37" fmla="*/ 138838 w 491331"/>
                <a:gd name="connsiteY37" fmla="*/ 579519 h 604715"/>
                <a:gd name="connsiteX38" fmla="*/ 150176 w 491331"/>
                <a:gd name="connsiteY38" fmla="*/ 553062 h 604715"/>
                <a:gd name="connsiteX39" fmla="*/ 59469 w 491331"/>
                <a:gd name="connsiteY39" fmla="*/ 553062 h 604715"/>
                <a:gd name="connsiteX40" fmla="*/ 70807 w 491331"/>
                <a:gd name="connsiteY40" fmla="*/ 579519 h 604715"/>
                <a:gd name="connsiteX41" fmla="*/ 35532 w 491331"/>
                <a:gd name="connsiteY41" fmla="*/ 614794 h 604715"/>
                <a:gd name="connsiteX42" fmla="*/ 257 w 491331"/>
                <a:gd name="connsiteY42" fmla="*/ 579519 h 604715"/>
                <a:gd name="connsiteX43" fmla="*/ 33012 w 491331"/>
                <a:gd name="connsiteY43" fmla="*/ 544244 h 60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91331" h="604715">
                  <a:moveTo>
                    <a:pt x="33012" y="544244"/>
                  </a:moveTo>
                  <a:cubicBezTo>
                    <a:pt x="34272" y="544244"/>
                    <a:pt x="35532" y="544244"/>
                    <a:pt x="36792" y="544244"/>
                  </a:cubicBezTo>
                  <a:cubicBezTo>
                    <a:pt x="34272" y="540464"/>
                    <a:pt x="33012" y="536685"/>
                    <a:pt x="33012" y="531646"/>
                  </a:cubicBezTo>
                  <a:lnTo>
                    <a:pt x="33012" y="524087"/>
                  </a:lnTo>
                  <a:cubicBezTo>
                    <a:pt x="33012" y="511488"/>
                    <a:pt x="43091" y="502669"/>
                    <a:pt x="54429" y="502669"/>
                  </a:cubicBezTo>
                  <a:lnTo>
                    <a:pt x="194270" y="502669"/>
                  </a:lnTo>
                  <a:lnTo>
                    <a:pt x="194270" y="306137"/>
                  </a:lnTo>
                  <a:cubicBezTo>
                    <a:pt x="194270" y="292279"/>
                    <a:pt x="203088" y="279681"/>
                    <a:pt x="214427" y="273382"/>
                  </a:cubicBezTo>
                  <a:lnTo>
                    <a:pt x="214427" y="134801"/>
                  </a:lnTo>
                  <a:lnTo>
                    <a:pt x="214427" y="73070"/>
                  </a:lnTo>
                  <a:lnTo>
                    <a:pt x="64508" y="73070"/>
                  </a:lnTo>
                  <a:cubicBezTo>
                    <a:pt x="31753" y="73070"/>
                    <a:pt x="6556" y="46614"/>
                    <a:pt x="6556" y="15118"/>
                  </a:cubicBezTo>
                  <a:lnTo>
                    <a:pt x="6556" y="0"/>
                  </a:lnTo>
                  <a:lnTo>
                    <a:pt x="484029" y="0"/>
                  </a:lnTo>
                  <a:lnTo>
                    <a:pt x="484029" y="15118"/>
                  </a:lnTo>
                  <a:cubicBezTo>
                    <a:pt x="484029" y="47874"/>
                    <a:pt x="457573" y="73070"/>
                    <a:pt x="426077" y="73070"/>
                  </a:cubicBezTo>
                  <a:lnTo>
                    <a:pt x="276158" y="73070"/>
                  </a:lnTo>
                  <a:lnTo>
                    <a:pt x="276158" y="273382"/>
                  </a:lnTo>
                  <a:cubicBezTo>
                    <a:pt x="287497" y="279681"/>
                    <a:pt x="296316" y="291019"/>
                    <a:pt x="296316" y="306137"/>
                  </a:cubicBezTo>
                  <a:lnTo>
                    <a:pt x="296316" y="502669"/>
                  </a:lnTo>
                  <a:lnTo>
                    <a:pt x="436156" y="502669"/>
                  </a:lnTo>
                  <a:cubicBezTo>
                    <a:pt x="448754" y="502669"/>
                    <a:pt x="457573" y="512748"/>
                    <a:pt x="457573" y="524087"/>
                  </a:cubicBezTo>
                  <a:lnTo>
                    <a:pt x="457573" y="531646"/>
                  </a:lnTo>
                  <a:cubicBezTo>
                    <a:pt x="457573" y="536685"/>
                    <a:pt x="456313" y="540464"/>
                    <a:pt x="453793" y="544244"/>
                  </a:cubicBezTo>
                  <a:cubicBezTo>
                    <a:pt x="455053" y="544244"/>
                    <a:pt x="456313" y="544244"/>
                    <a:pt x="457573" y="544244"/>
                  </a:cubicBezTo>
                  <a:cubicBezTo>
                    <a:pt x="477730" y="544244"/>
                    <a:pt x="492848" y="560621"/>
                    <a:pt x="492848" y="579519"/>
                  </a:cubicBezTo>
                  <a:cubicBezTo>
                    <a:pt x="492848" y="599676"/>
                    <a:pt x="476470" y="614794"/>
                    <a:pt x="457573" y="614794"/>
                  </a:cubicBezTo>
                  <a:cubicBezTo>
                    <a:pt x="437416" y="614794"/>
                    <a:pt x="422298" y="598416"/>
                    <a:pt x="422298" y="579519"/>
                  </a:cubicBezTo>
                  <a:cubicBezTo>
                    <a:pt x="422298" y="569440"/>
                    <a:pt x="427337" y="559361"/>
                    <a:pt x="433636" y="553062"/>
                  </a:cubicBezTo>
                  <a:lnTo>
                    <a:pt x="342929" y="553062"/>
                  </a:lnTo>
                  <a:cubicBezTo>
                    <a:pt x="350488" y="559361"/>
                    <a:pt x="354267" y="569440"/>
                    <a:pt x="354267" y="579519"/>
                  </a:cubicBezTo>
                  <a:cubicBezTo>
                    <a:pt x="354267" y="599676"/>
                    <a:pt x="337890" y="614794"/>
                    <a:pt x="318992" y="614794"/>
                  </a:cubicBezTo>
                  <a:cubicBezTo>
                    <a:pt x="298835" y="614794"/>
                    <a:pt x="283717" y="598416"/>
                    <a:pt x="283717" y="579519"/>
                  </a:cubicBezTo>
                  <a:cubicBezTo>
                    <a:pt x="283717" y="569440"/>
                    <a:pt x="288756" y="559361"/>
                    <a:pt x="295056" y="553062"/>
                  </a:cubicBezTo>
                  <a:lnTo>
                    <a:pt x="198049" y="553062"/>
                  </a:lnTo>
                  <a:cubicBezTo>
                    <a:pt x="205608" y="559361"/>
                    <a:pt x="209388" y="569440"/>
                    <a:pt x="209388" y="579519"/>
                  </a:cubicBezTo>
                  <a:cubicBezTo>
                    <a:pt x="209388" y="599676"/>
                    <a:pt x="193010" y="614794"/>
                    <a:pt x="174113" y="614794"/>
                  </a:cubicBezTo>
                  <a:cubicBezTo>
                    <a:pt x="153955" y="614794"/>
                    <a:pt x="138838" y="598416"/>
                    <a:pt x="138838" y="579519"/>
                  </a:cubicBezTo>
                  <a:cubicBezTo>
                    <a:pt x="138838" y="569440"/>
                    <a:pt x="143877" y="559361"/>
                    <a:pt x="150176" y="553062"/>
                  </a:cubicBezTo>
                  <a:lnTo>
                    <a:pt x="59469" y="553062"/>
                  </a:lnTo>
                  <a:cubicBezTo>
                    <a:pt x="67028" y="559361"/>
                    <a:pt x="70807" y="569440"/>
                    <a:pt x="70807" y="579519"/>
                  </a:cubicBezTo>
                  <a:cubicBezTo>
                    <a:pt x="70807" y="599676"/>
                    <a:pt x="54429" y="614794"/>
                    <a:pt x="35532" y="614794"/>
                  </a:cubicBezTo>
                  <a:cubicBezTo>
                    <a:pt x="15375" y="614794"/>
                    <a:pt x="257" y="598416"/>
                    <a:pt x="257" y="579519"/>
                  </a:cubicBezTo>
                  <a:cubicBezTo>
                    <a:pt x="-2263" y="560621"/>
                    <a:pt x="14115" y="544244"/>
                    <a:pt x="33012" y="54424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/>
            <p:cNvSpPr/>
            <p:nvPr/>
          </p:nvSpPr>
          <p:spPr>
            <a:xfrm>
              <a:off x="8698849" y="4338574"/>
              <a:ext cx="111545" cy="523401"/>
            </a:xfrm>
            <a:custGeom>
              <a:avLst/>
              <a:gdLst>
                <a:gd name="connsiteX0" fmla="*/ 127107 w 163777"/>
                <a:gd name="connsiteY0" fmla="*/ 767035 h 768492"/>
                <a:gd name="connsiteX1" fmla="*/ 164902 w 163777"/>
                <a:gd name="connsiteY1" fmla="*/ 82951 h 768492"/>
                <a:gd name="connsiteX2" fmla="*/ 83013 w 163777"/>
                <a:gd name="connsiteY2" fmla="*/ 2322 h 768492"/>
                <a:gd name="connsiteX3" fmla="*/ 2384 w 163777"/>
                <a:gd name="connsiteY3" fmla="*/ 84211 h 768492"/>
                <a:gd name="connsiteX4" fmla="*/ 14982 w 163777"/>
                <a:gd name="connsiteY4" fmla="*/ 770814 h 768492"/>
                <a:gd name="connsiteX5" fmla="*/ 127107 w 163777"/>
                <a:gd name="connsiteY5" fmla="*/ 767035 h 76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777" h="768492">
                  <a:moveTo>
                    <a:pt x="127107" y="767035"/>
                  </a:moveTo>
                  <a:lnTo>
                    <a:pt x="164902" y="82951"/>
                  </a:lnTo>
                  <a:cubicBezTo>
                    <a:pt x="164902" y="37597"/>
                    <a:pt x="127107" y="2322"/>
                    <a:pt x="83013" y="2322"/>
                  </a:cubicBezTo>
                  <a:cubicBezTo>
                    <a:pt x="37659" y="2322"/>
                    <a:pt x="-11474" y="-21614"/>
                    <a:pt x="2384" y="84211"/>
                  </a:cubicBezTo>
                  <a:lnTo>
                    <a:pt x="14982" y="770814"/>
                  </a:lnTo>
                  <a:lnTo>
                    <a:pt x="127107" y="767035"/>
                  </a:lnTo>
                  <a:close/>
                </a:path>
              </a:pathLst>
            </a:custGeom>
            <a:solidFill>
              <a:srgbClr val="557FF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/>
            <p:cNvSpPr/>
            <p:nvPr/>
          </p:nvSpPr>
          <p:spPr>
            <a:xfrm>
              <a:off x="8328943" y="4339297"/>
              <a:ext cx="411857" cy="102964"/>
            </a:xfrm>
            <a:custGeom>
              <a:avLst/>
              <a:gdLst>
                <a:gd name="connsiteX0" fmla="*/ 531645 w 604715"/>
                <a:gd name="connsiteY0" fmla="*/ 0 h 151178"/>
                <a:gd name="connsiteX1" fmla="*/ 0 w 604715"/>
                <a:gd name="connsiteY1" fmla="*/ 0 h 151178"/>
                <a:gd name="connsiteX2" fmla="*/ 0 w 604715"/>
                <a:gd name="connsiteY2" fmla="*/ 69290 h 151178"/>
                <a:gd name="connsiteX3" fmla="*/ 93227 w 604715"/>
                <a:gd name="connsiteY3" fmla="*/ 162517 h 151178"/>
                <a:gd name="connsiteX4" fmla="*/ 531645 w 604715"/>
                <a:gd name="connsiteY4" fmla="*/ 162517 h 151178"/>
                <a:gd name="connsiteX5" fmla="*/ 613534 w 604715"/>
                <a:gd name="connsiteY5" fmla="*/ 80629 h 151178"/>
                <a:gd name="connsiteX6" fmla="*/ 613534 w 604715"/>
                <a:gd name="connsiteY6" fmla="*/ 80629 h 151178"/>
                <a:gd name="connsiteX7" fmla="*/ 531645 w 604715"/>
                <a:gd name="connsiteY7" fmla="*/ 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715" h="151178">
                  <a:moveTo>
                    <a:pt x="531645" y="0"/>
                  </a:moveTo>
                  <a:lnTo>
                    <a:pt x="0" y="0"/>
                  </a:lnTo>
                  <a:lnTo>
                    <a:pt x="0" y="69290"/>
                  </a:lnTo>
                  <a:cubicBezTo>
                    <a:pt x="0" y="120943"/>
                    <a:pt x="41574" y="162517"/>
                    <a:pt x="93227" y="162517"/>
                  </a:cubicBezTo>
                  <a:lnTo>
                    <a:pt x="531645" y="162517"/>
                  </a:lnTo>
                  <a:cubicBezTo>
                    <a:pt x="576999" y="162517"/>
                    <a:pt x="613534" y="125983"/>
                    <a:pt x="613534" y="80629"/>
                  </a:cubicBezTo>
                  <a:lnTo>
                    <a:pt x="613534" y="80629"/>
                  </a:lnTo>
                  <a:cubicBezTo>
                    <a:pt x="612274" y="36535"/>
                    <a:pt x="575739" y="0"/>
                    <a:pt x="531645" y="0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/>
            <p:cNvSpPr/>
            <p:nvPr/>
          </p:nvSpPr>
          <p:spPr>
            <a:xfrm>
              <a:off x="8518569" y="4339226"/>
              <a:ext cx="223089" cy="489080"/>
            </a:xfrm>
            <a:custGeom>
              <a:avLst/>
              <a:gdLst>
                <a:gd name="connsiteX0" fmla="*/ 273382 w 327554"/>
                <a:gd name="connsiteY0" fmla="*/ 2624 h 718099"/>
                <a:gd name="connsiteX1" fmla="*/ 175116 w 327554"/>
                <a:gd name="connsiteY1" fmla="*/ 61835 h 718099"/>
                <a:gd name="connsiteX2" fmla="*/ 0 w 327554"/>
                <a:gd name="connsiteY2" fmla="*/ 700566 h 718099"/>
                <a:gd name="connsiteX3" fmla="*/ 44094 w 327554"/>
                <a:gd name="connsiteY3" fmla="*/ 700566 h 718099"/>
                <a:gd name="connsiteX4" fmla="*/ 88188 w 327554"/>
                <a:gd name="connsiteY4" fmla="*/ 719463 h 718099"/>
                <a:gd name="connsiteX5" fmla="*/ 120943 w 327554"/>
                <a:gd name="connsiteY5" fmla="*/ 729542 h 718099"/>
                <a:gd name="connsiteX6" fmla="*/ 113384 w 327554"/>
                <a:gd name="connsiteY6" fmla="*/ 721983 h 718099"/>
                <a:gd name="connsiteX7" fmla="*/ 332593 w 327554"/>
                <a:gd name="connsiteY7" fmla="*/ 102150 h 718099"/>
                <a:gd name="connsiteX8" fmla="*/ 273382 w 327554"/>
                <a:gd name="connsiteY8" fmla="*/ 2624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554" h="718099">
                  <a:moveTo>
                    <a:pt x="273382" y="2624"/>
                  </a:moveTo>
                  <a:cubicBezTo>
                    <a:pt x="229288" y="-8715"/>
                    <a:pt x="185194" y="17742"/>
                    <a:pt x="175116" y="61835"/>
                  </a:cubicBezTo>
                  <a:lnTo>
                    <a:pt x="0" y="700566"/>
                  </a:lnTo>
                  <a:cubicBezTo>
                    <a:pt x="12598" y="696786"/>
                    <a:pt x="27716" y="696786"/>
                    <a:pt x="44094" y="700566"/>
                  </a:cubicBezTo>
                  <a:cubicBezTo>
                    <a:pt x="60472" y="704345"/>
                    <a:pt x="74330" y="713164"/>
                    <a:pt x="88188" y="719463"/>
                  </a:cubicBezTo>
                  <a:cubicBezTo>
                    <a:pt x="98266" y="723243"/>
                    <a:pt x="109605" y="725762"/>
                    <a:pt x="120943" y="729542"/>
                  </a:cubicBezTo>
                  <a:lnTo>
                    <a:pt x="113384" y="721983"/>
                  </a:lnTo>
                  <a:lnTo>
                    <a:pt x="332593" y="102150"/>
                  </a:lnTo>
                  <a:cubicBezTo>
                    <a:pt x="342672" y="58056"/>
                    <a:pt x="316216" y="13962"/>
                    <a:pt x="273382" y="2624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/>
            <p:cNvSpPr/>
            <p:nvPr/>
          </p:nvSpPr>
          <p:spPr>
            <a:xfrm>
              <a:off x="8393296" y="4286957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7559 h 0"/>
                <a:gd name="connsiteX5" fmla="*/ 0 w 0"/>
                <a:gd name="connsiteY5" fmla="*/ 6299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lnTo>
                    <a:pt x="0" y="1260"/>
                  </a:lnTo>
                  <a:lnTo>
                    <a:pt x="0" y="0"/>
                  </a:lnTo>
                  <a:lnTo>
                    <a:pt x="0" y="1260"/>
                  </a:lnTo>
                  <a:cubicBezTo>
                    <a:pt x="0" y="3779"/>
                    <a:pt x="0" y="5039"/>
                    <a:pt x="0" y="7559"/>
                  </a:cubicBezTo>
                  <a:cubicBezTo>
                    <a:pt x="0" y="7559"/>
                    <a:pt x="0" y="6299"/>
                    <a:pt x="0" y="6299"/>
                  </a:cubicBezTo>
                  <a:cubicBezTo>
                    <a:pt x="0" y="3779"/>
                    <a:pt x="0" y="252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/>
            <p:cNvSpPr/>
            <p:nvPr/>
          </p:nvSpPr>
          <p:spPr>
            <a:xfrm>
              <a:off x="8361549" y="4335007"/>
              <a:ext cx="8580" cy="8580"/>
            </a:xfrm>
            <a:custGeom>
              <a:avLst/>
              <a:gdLst>
                <a:gd name="connsiteX0" fmla="*/ 2520 w 0"/>
                <a:gd name="connsiteY0" fmla="*/ 0 h 0"/>
                <a:gd name="connsiteX1" fmla="*/ 2520 w 0"/>
                <a:gd name="connsiteY1" fmla="*/ 0 h 0"/>
                <a:gd name="connsiteX2" fmla="*/ 2520 w 0"/>
                <a:gd name="connsiteY2" fmla="*/ 0 h 0"/>
                <a:gd name="connsiteX3" fmla="*/ 2520 w 0"/>
                <a:gd name="connsiteY3" fmla="*/ 0 h 0"/>
                <a:gd name="connsiteX4" fmla="*/ 0 w 0"/>
                <a:gd name="connsiteY4" fmla="*/ 1260 h 0"/>
                <a:gd name="connsiteX5" fmla="*/ 1260 w 0"/>
                <a:gd name="connsiteY5" fmla="*/ 1260 h 0"/>
                <a:gd name="connsiteX6" fmla="*/ 2520 w 0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2520" y="0"/>
                  </a:moveTo>
                  <a:lnTo>
                    <a:pt x="2520" y="0"/>
                  </a:lnTo>
                  <a:lnTo>
                    <a:pt x="2520" y="0"/>
                  </a:lnTo>
                  <a:lnTo>
                    <a:pt x="2520" y="0"/>
                  </a:lnTo>
                  <a:cubicBezTo>
                    <a:pt x="1260" y="0"/>
                    <a:pt x="0" y="1260"/>
                    <a:pt x="0" y="1260"/>
                  </a:cubicBezTo>
                  <a:cubicBezTo>
                    <a:pt x="0" y="1260"/>
                    <a:pt x="1260" y="1260"/>
                    <a:pt x="1260" y="1260"/>
                  </a:cubicBezTo>
                  <a:cubicBezTo>
                    <a:pt x="1260" y="1260"/>
                    <a:pt x="1260" y="1260"/>
                    <a:pt x="252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/>
            <p:cNvSpPr/>
            <p:nvPr/>
          </p:nvSpPr>
          <p:spPr>
            <a:xfrm>
              <a:off x="8376993" y="4327285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126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1260 h 0"/>
                <a:gd name="connsiteX5" fmla="*/ 0 w 0"/>
                <a:gd name="connsiteY5" fmla="*/ 1260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0" y="1260"/>
                    <a:pt x="0" y="0"/>
                    <a:pt x="0" y="1260"/>
                  </a:cubicBezTo>
                  <a:cubicBezTo>
                    <a:pt x="1260" y="0"/>
                    <a:pt x="1260" y="0"/>
                    <a:pt x="1260" y="0"/>
                  </a:cubicBezTo>
                  <a:cubicBezTo>
                    <a:pt x="1260" y="0"/>
                    <a:pt x="0" y="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lnTo>
                    <a:pt x="0" y="126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/>
            <p:cNvSpPr/>
            <p:nvPr/>
          </p:nvSpPr>
          <p:spPr>
            <a:xfrm>
              <a:off x="8363265" y="4332433"/>
              <a:ext cx="8580" cy="8580"/>
            </a:xfrm>
            <a:custGeom>
              <a:avLst/>
              <a:gdLst>
                <a:gd name="connsiteX0" fmla="*/ 6299 w 0"/>
                <a:gd name="connsiteY0" fmla="*/ 1260 h 0"/>
                <a:gd name="connsiteX1" fmla="*/ 6299 w 0"/>
                <a:gd name="connsiteY1" fmla="*/ 1260 h 0"/>
                <a:gd name="connsiteX2" fmla="*/ 7559 w 0"/>
                <a:gd name="connsiteY2" fmla="*/ 0 h 0"/>
                <a:gd name="connsiteX3" fmla="*/ 6299 w 0"/>
                <a:gd name="connsiteY3" fmla="*/ 1260 h 0"/>
                <a:gd name="connsiteX4" fmla="*/ 0 w 0"/>
                <a:gd name="connsiteY4" fmla="*/ 3780 h 0"/>
                <a:gd name="connsiteX5" fmla="*/ 1260 w 0"/>
                <a:gd name="connsiteY5" fmla="*/ 3780 h 0"/>
                <a:gd name="connsiteX6" fmla="*/ 6299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6299" y="1260"/>
                  </a:moveTo>
                  <a:cubicBezTo>
                    <a:pt x="7559" y="1260"/>
                    <a:pt x="7559" y="1260"/>
                    <a:pt x="6299" y="1260"/>
                  </a:cubicBezTo>
                  <a:cubicBezTo>
                    <a:pt x="7559" y="1260"/>
                    <a:pt x="7559" y="0"/>
                    <a:pt x="7559" y="0"/>
                  </a:cubicBezTo>
                  <a:cubicBezTo>
                    <a:pt x="7559" y="1260"/>
                    <a:pt x="7559" y="1260"/>
                    <a:pt x="6299" y="1260"/>
                  </a:cubicBezTo>
                  <a:cubicBezTo>
                    <a:pt x="5039" y="1260"/>
                    <a:pt x="2520" y="2520"/>
                    <a:pt x="0" y="3780"/>
                  </a:cubicBezTo>
                  <a:cubicBezTo>
                    <a:pt x="0" y="3780"/>
                    <a:pt x="1260" y="3780"/>
                    <a:pt x="1260" y="3780"/>
                  </a:cubicBezTo>
                  <a:cubicBezTo>
                    <a:pt x="3779" y="2520"/>
                    <a:pt x="5039" y="2520"/>
                    <a:pt x="6299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8391580" y="4265506"/>
              <a:ext cx="8580" cy="8580"/>
            </a:xfrm>
            <a:custGeom>
              <a:avLst/>
              <a:gdLst>
                <a:gd name="connsiteX0" fmla="*/ 1260 w 0"/>
                <a:gd name="connsiteY0" fmla="*/ 6299 h 0"/>
                <a:gd name="connsiteX1" fmla="*/ 0 w 0"/>
                <a:gd name="connsiteY1" fmla="*/ 0 h 0"/>
                <a:gd name="connsiteX2" fmla="*/ 1260 w 0"/>
                <a:gd name="connsiteY2" fmla="*/ 6299 h 0"/>
                <a:gd name="connsiteX3" fmla="*/ 1260 w 0"/>
                <a:gd name="connsiteY3" fmla="*/ 8819 h 0"/>
                <a:gd name="connsiteX4" fmla="*/ 1260 w 0"/>
                <a:gd name="connsiteY4" fmla="*/ 6299 h 0"/>
                <a:gd name="connsiteX5" fmla="*/ 1260 w 0"/>
                <a:gd name="connsiteY5" fmla="*/ 62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260" y="6299"/>
                  </a:moveTo>
                  <a:cubicBezTo>
                    <a:pt x="1260" y="3779"/>
                    <a:pt x="0" y="2520"/>
                    <a:pt x="0" y="0"/>
                  </a:cubicBezTo>
                  <a:cubicBezTo>
                    <a:pt x="0" y="2520"/>
                    <a:pt x="1260" y="3779"/>
                    <a:pt x="1260" y="6299"/>
                  </a:cubicBezTo>
                  <a:cubicBezTo>
                    <a:pt x="1260" y="7559"/>
                    <a:pt x="1260" y="7559"/>
                    <a:pt x="1260" y="8819"/>
                  </a:cubicBezTo>
                  <a:cubicBezTo>
                    <a:pt x="1260" y="7559"/>
                    <a:pt x="1260" y="7559"/>
                    <a:pt x="1260" y="6299"/>
                  </a:cubicBezTo>
                  <a:cubicBezTo>
                    <a:pt x="1260" y="6299"/>
                    <a:pt x="1260" y="6299"/>
                    <a:pt x="1260" y="6299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/>
            <p:cNvSpPr/>
            <p:nvPr/>
          </p:nvSpPr>
          <p:spPr>
            <a:xfrm>
              <a:off x="8330660" y="4324710"/>
              <a:ext cx="17160" cy="8580"/>
            </a:xfrm>
            <a:custGeom>
              <a:avLst/>
              <a:gdLst>
                <a:gd name="connsiteX0" fmla="*/ 8819 w 25196"/>
                <a:gd name="connsiteY0" fmla="*/ 15118 h 12598"/>
                <a:gd name="connsiteX1" fmla="*/ 13858 w 25196"/>
                <a:gd name="connsiteY1" fmla="*/ 16378 h 12598"/>
                <a:gd name="connsiteX2" fmla="*/ 17637 w 25196"/>
                <a:gd name="connsiteY2" fmla="*/ 16378 h 12598"/>
                <a:gd name="connsiteX3" fmla="*/ 17637 w 25196"/>
                <a:gd name="connsiteY3" fmla="*/ 16378 h 12598"/>
                <a:gd name="connsiteX4" fmla="*/ 25196 w 25196"/>
                <a:gd name="connsiteY4" fmla="*/ 17637 h 12598"/>
                <a:gd name="connsiteX5" fmla="*/ 20157 w 25196"/>
                <a:gd name="connsiteY5" fmla="*/ 16378 h 12598"/>
                <a:gd name="connsiteX6" fmla="*/ 15118 w 25196"/>
                <a:gd name="connsiteY6" fmla="*/ 13858 h 12598"/>
                <a:gd name="connsiteX7" fmla="*/ 10079 w 25196"/>
                <a:gd name="connsiteY7" fmla="*/ 11338 h 12598"/>
                <a:gd name="connsiteX8" fmla="*/ 10079 w 25196"/>
                <a:gd name="connsiteY8" fmla="*/ 11338 h 12598"/>
                <a:gd name="connsiteX9" fmla="*/ 7559 w 25196"/>
                <a:gd name="connsiteY9" fmla="*/ 8819 h 12598"/>
                <a:gd name="connsiteX10" fmla="*/ 1260 w 25196"/>
                <a:gd name="connsiteY10" fmla="*/ 2520 h 12598"/>
                <a:gd name="connsiteX11" fmla="*/ 0 w 25196"/>
                <a:gd name="connsiteY11" fmla="*/ 0 h 12598"/>
                <a:gd name="connsiteX12" fmla="*/ 0 w 25196"/>
                <a:gd name="connsiteY12" fmla="*/ 1260 h 12598"/>
                <a:gd name="connsiteX13" fmla="*/ 2520 w 25196"/>
                <a:gd name="connsiteY13" fmla="*/ 8819 h 12598"/>
                <a:gd name="connsiteX14" fmla="*/ 3780 w 25196"/>
                <a:gd name="connsiteY14" fmla="*/ 10079 h 12598"/>
                <a:gd name="connsiteX15" fmla="*/ 5039 w 25196"/>
                <a:gd name="connsiteY15" fmla="*/ 11338 h 12598"/>
                <a:gd name="connsiteX16" fmla="*/ 8819 w 25196"/>
                <a:gd name="connsiteY16" fmla="*/ 15118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196" h="12598">
                  <a:moveTo>
                    <a:pt x="8819" y="15118"/>
                  </a:moveTo>
                  <a:cubicBezTo>
                    <a:pt x="10079" y="16378"/>
                    <a:pt x="12598" y="16378"/>
                    <a:pt x="13858" y="16378"/>
                  </a:cubicBezTo>
                  <a:cubicBezTo>
                    <a:pt x="15118" y="16378"/>
                    <a:pt x="16378" y="16378"/>
                    <a:pt x="17637" y="16378"/>
                  </a:cubicBezTo>
                  <a:lnTo>
                    <a:pt x="17637" y="16378"/>
                  </a:lnTo>
                  <a:cubicBezTo>
                    <a:pt x="20157" y="16378"/>
                    <a:pt x="22677" y="16378"/>
                    <a:pt x="25196" y="17637"/>
                  </a:cubicBezTo>
                  <a:cubicBezTo>
                    <a:pt x="23937" y="17637"/>
                    <a:pt x="21417" y="16378"/>
                    <a:pt x="20157" y="16378"/>
                  </a:cubicBezTo>
                  <a:cubicBezTo>
                    <a:pt x="17637" y="15118"/>
                    <a:pt x="16378" y="15118"/>
                    <a:pt x="15118" y="13858"/>
                  </a:cubicBezTo>
                  <a:cubicBezTo>
                    <a:pt x="13858" y="12598"/>
                    <a:pt x="12598" y="12598"/>
                    <a:pt x="10079" y="11338"/>
                  </a:cubicBezTo>
                  <a:lnTo>
                    <a:pt x="10079" y="11338"/>
                  </a:lnTo>
                  <a:cubicBezTo>
                    <a:pt x="8819" y="10079"/>
                    <a:pt x="7559" y="10079"/>
                    <a:pt x="7559" y="8819"/>
                  </a:cubicBezTo>
                  <a:cubicBezTo>
                    <a:pt x="6299" y="7559"/>
                    <a:pt x="3780" y="5039"/>
                    <a:pt x="1260" y="2520"/>
                  </a:cubicBezTo>
                  <a:cubicBezTo>
                    <a:pt x="0" y="1260"/>
                    <a:pt x="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1260" y="3780"/>
                    <a:pt x="2520" y="6299"/>
                    <a:pt x="2520" y="8819"/>
                  </a:cubicBezTo>
                  <a:cubicBezTo>
                    <a:pt x="2520" y="8819"/>
                    <a:pt x="2520" y="10079"/>
                    <a:pt x="3780" y="10079"/>
                  </a:cubicBezTo>
                  <a:cubicBezTo>
                    <a:pt x="3780" y="10079"/>
                    <a:pt x="3780" y="11338"/>
                    <a:pt x="5039" y="11338"/>
                  </a:cubicBezTo>
                  <a:cubicBezTo>
                    <a:pt x="6299" y="12598"/>
                    <a:pt x="7559" y="13858"/>
                    <a:pt x="8819" y="1511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/>
            <p:cNvSpPr/>
            <p:nvPr/>
          </p:nvSpPr>
          <p:spPr>
            <a:xfrm>
              <a:off x="8355757" y="4337581"/>
              <a:ext cx="8580" cy="8580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0 h 0"/>
                <a:gd name="connsiteX2" fmla="*/ 945 w 0"/>
                <a:gd name="connsiteY2" fmla="*/ 0 h 0"/>
                <a:gd name="connsiteX3" fmla="*/ 94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/>
            <p:cNvSpPr/>
            <p:nvPr/>
          </p:nvSpPr>
          <p:spPr>
            <a:xfrm>
              <a:off x="8393296" y="4280951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/>
            <p:cNvSpPr/>
            <p:nvPr/>
          </p:nvSpPr>
          <p:spPr>
            <a:xfrm>
              <a:off x="8383000" y="4244055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1260 w 0"/>
                <a:gd name="connsiteY1" fmla="*/ 3779 h 0"/>
                <a:gd name="connsiteX2" fmla="*/ 1260 w 0"/>
                <a:gd name="connsiteY2" fmla="*/ 3779 h 0"/>
                <a:gd name="connsiteX3" fmla="*/ 1260 w 0"/>
                <a:gd name="connsiteY3" fmla="*/ 3779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1260" y="2520"/>
                    <a:pt x="1260" y="3779"/>
                  </a:cubicBezTo>
                  <a:lnTo>
                    <a:pt x="1260" y="3779"/>
                  </a:lnTo>
                  <a:lnTo>
                    <a:pt x="1260" y="3779"/>
                  </a:lnTo>
                  <a:cubicBezTo>
                    <a:pt x="126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/>
            <p:cNvSpPr/>
            <p:nvPr/>
          </p:nvSpPr>
          <p:spPr>
            <a:xfrm>
              <a:off x="8313499" y="4031263"/>
              <a:ext cx="8580" cy="42902"/>
            </a:xfrm>
            <a:custGeom>
              <a:avLst/>
              <a:gdLst>
                <a:gd name="connsiteX0" fmla="*/ 1260 w 0"/>
                <a:gd name="connsiteY0" fmla="*/ 68030 h 62991"/>
                <a:gd name="connsiteX1" fmla="*/ 1260 w 0"/>
                <a:gd name="connsiteY1" fmla="*/ 68030 h 62991"/>
                <a:gd name="connsiteX2" fmla="*/ 1260 w 0"/>
                <a:gd name="connsiteY2" fmla="*/ 66771 h 62991"/>
                <a:gd name="connsiteX3" fmla="*/ 1260 w 0"/>
                <a:gd name="connsiteY3" fmla="*/ 65511 h 62991"/>
                <a:gd name="connsiteX4" fmla="*/ 1260 w 0"/>
                <a:gd name="connsiteY4" fmla="*/ 64251 h 62991"/>
                <a:gd name="connsiteX5" fmla="*/ 1260 w 0"/>
                <a:gd name="connsiteY5" fmla="*/ 60472 h 62991"/>
                <a:gd name="connsiteX6" fmla="*/ 1260 w 0"/>
                <a:gd name="connsiteY6" fmla="*/ 57952 h 62991"/>
                <a:gd name="connsiteX7" fmla="*/ 1260 w 0"/>
                <a:gd name="connsiteY7" fmla="*/ 55432 h 62991"/>
                <a:gd name="connsiteX8" fmla="*/ 1260 w 0"/>
                <a:gd name="connsiteY8" fmla="*/ 45354 h 62991"/>
                <a:gd name="connsiteX9" fmla="*/ 1260 w 0"/>
                <a:gd name="connsiteY9" fmla="*/ 42834 h 62991"/>
                <a:gd name="connsiteX10" fmla="*/ 0 w 0"/>
                <a:gd name="connsiteY10" fmla="*/ 32755 h 62991"/>
                <a:gd name="connsiteX11" fmla="*/ 0 w 0"/>
                <a:gd name="connsiteY11" fmla="*/ 30236 h 62991"/>
                <a:gd name="connsiteX12" fmla="*/ 0 w 0"/>
                <a:gd name="connsiteY12" fmla="*/ 27716 h 62991"/>
                <a:gd name="connsiteX13" fmla="*/ 0 w 0"/>
                <a:gd name="connsiteY13" fmla="*/ 25196 h 62991"/>
                <a:gd name="connsiteX14" fmla="*/ 0 w 0"/>
                <a:gd name="connsiteY14" fmla="*/ 21417 h 62991"/>
                <a:gd name="connsiteX15" fmla="*/ 0 w 0"/>
                <a:gd name="connsiteY15" fmla="*/ 13858 h 62991"/>
                <a:gd name="connsiteX16" fmla="*/ 0 w 0"/>
                <a:gd name="connsiteY16" fmla="*/ 10079 h 62991"/>
                <a:gd name="connsiteX17" fmla="*/ 0 w 0"/>
                <a:gd name="connsiteY17" fmla="*/ 8819 h 62991"/>
                <a:gd name="connsiteX18" fmla="*/ 0 w 0"/>
                <a:gd name="connsiteY18" fmla="*/ 5039 h 62991"/>
                <a:gd name="connsiteX19" fmla="*/ 0 w 0"/>
                <a:gd name="connsiteY19" fmla="*/ 3780 h 62991"/>
                <a:gd name="connsiteX20" fmla="*/ 0 w 0"/>
                <a:gd name="connsiteY20" fmla="*/ 1260 h 62991"/>
                <a:gd name="connsiteX21" fmla="*/ 0 w 0"/>
                <a:gd name="connsiteY21" fmla="*/ 1260 h 62991"/>
                <a:gd name="connsiteX22" fmla="*/ 0 w 0"/>
                <a:gd name="connsiteY22" fmla="*/ 1260 h 62991"/>
                <a:gd name="connsiteX23" fmla="*/ 0 w 0"/>
                <a:gd name="connsiteY23" fmla="*/ 1260 h 62991"/>
                <a:gd name="connsiteX24" fmla="*/ 0 w 0"/>
                <a:gd name="connsiteY24" fmla="*/ 1260 h 62991"/>
                <a:gd name="connsiteX25" fmla="*/ 0 w 0"/>
                <a:gd name="connsiteY25" fmla="*/ 1260 h 62991"/>
                <a:gd name="connsiteX26" fmla="*/ 0 w 0"/>
                <a:gd name="connsiteY26" fmla="*/ 0 h 62991"/>
                <a:gd name="connsiteX27" fmla="*/ 0 w 0"/>
                <a:gd name="connsiteY27" fmla="*/ 6299 h 62991"/>
                <a:gd name="connsiteX28" fmla="*/ 1260 w 0"/>
                <a:gd name="connsiteY28" fmla="*/ 31496 h 62991"/>
                <a:gd name="connsiteX29" fmla="*/ 2520 w 0"/>
                <a:gd name="connsiteY29" fmla="*/ 70550 h 62991"/>
                <a:gd name="connsiteX30" fmla="*/ 2520 w 0"/>
                <a:gd name="connsiteY30" fmla="*/ 70550 h 62991"/>
                <a:gd name="connsiteX31" fmla="*/ 2520 w 0"/>
                <a:gd name="connsiteY31" fmla="*/ 70550 h 62991"/>
                <a:gd name="connsiteX32" fmla="*/ 1260 w 0"/>
                <a:gd name="connsiteY32" fmla="*/ 6803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h="62991">
                  <a:moveTo>
                    <a:pt x="1260" y="68030"/>
                  </a:moveTo>
                  <a:cubicBezTo>
                    <a:pt x="1260" y="68030"/>
                    <a:pt x="1260" y="68030"/>
                    <a:pt x="1260" y="68030"/>
                  </a:cubicBezTo>
                  <a:lnTo>
                    <a:pt x="1260" y="66771"/>
                  </a:lnTo>
                  <a:lnTo>
                    <a:pt x="1260" y="65511"/>
                  </a:lnTo>
                  <a:lnTo>
                    <a:pt x="1260" y="64251"/>
                  </a:lnTo>
                  <a:cubicBezTo>
                    <a:pt x="1260" y="62991"/>
                    <a:pt x="1260" y="61731"/>
                    <a:pt x="1260" y="60472"/>
                  </a:cubicBezTo>
                  <a:cubicBezTo>
                    <a:pt x="1260" y="59212"/>
                    <a:pt x="1260" y="59212"/>
                    <a:pt x="1260" y="57952"/>
                  </a:cubicBezTo>
                  <a:cubicBezTo>
                    <a:pt x="1260" y="56692"/>
                    <a:pt x="1260" y="56692"/>
                    <a:pt x="1260" y="55432"/>
                  </a:cubicBezTo>
                  <a:cubicBezTo>
                    <a:pt x="1260" y="51653"/>
                    <a:pt x="1260" y="49133"/>
                    <a:pt x="1260" y="45354"/>
                  </a:cubicBezTo>
                  <a:cubicBezTo>
                    <a:pt x="1260" y="44094"/>
                    <a:pt x="1260" y="44094"/>
                    <a:pt x="1260" y="42834"/>
                  </a:cubicBezTo>
                  <a:cubicBezTo>
                    <a:pt x="1260" y="40314"/>
                    <a:pt x="1260" y="36535"/>
                    <a:pt x="0" y="32755"/>
                  </a:cubicBezTo>
                  <a:cubicBezTo>
                    <a:pt x="0" y="31496"/>
                    <a:pt x="0" y="30236"/>
                    <a:pt x="0" y="30236"/>
                  </a:cubicBezTo>
                  <a:cubicBezTo>
                    <a:pt x="0" y="28976"/>
                    <a:pt x="0" y="28976"/>
                    <a:pt x="0" y="27716"/>
                  </a:cubicBezTo>
                  <a:lnTo>
                    <a:pt x="0" y="25196"/>
                  </a:lnTo>
                  <a:cubicBezTo>
                    <a:pt x="0" y="23937"/>
                    <a:pt x="0" y="22677"/>
                    <a:pt x="0" y="21417"/>
                  </a:cubicBezTo>
                  <a:cubicBezTo>
                    <a:pt x="0" y="18897"/>
                    <a:pt x="0" y="16378"/>
                    <a:pt x="0" y="13858"/>
                  </a:cubicBezTo>
                  <a:cubicBezTo>
                    <a:pt x="0" y="12598"/>
                    <a:pt x="0" y="11338"/>
                    <a:pt x="0" y="10079"/>
                  </a:cubicBezTo>
                  <a:lnTo>
                    <a:pt x="0" y="8819"/>
                  </a:lnTo>
                  <a:cubicBezTo>
                    <a:pt x="0" y="7559"/>
                    <a:pt x="0" y="6299"/>
                    <a:pt x="0" y="5039"/>
                  </a:cubicBezTo>
                  <a:cubicBezTo>
                    <a:pt x="0" y="5039"/>
                    <a:pt x="0" y="3780"/>
                    <a:pt x="0" y="3780"/>
                  </a:cubicBezTo>
                  <a:cubicBezTo>
                    <a:pt x="0" y="2520"/>
                    <a:pt x="0" y="252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cubicBezTo>
                    <a:pt x="0" y="1260"/>
                    <a:pt x="0" y="0"/>
                    <a:pt x="0" y="0"/>
                  </a:cubicBezTo>
                  <a:cubicBezTo>
                    <a:pt x="0" y="2520"/>
                    <a:pt x="0" y="3780"/>
                    <a:pt x="0" y="6299"/>
                  </a:cubicBezTo>
                  <a:cubicBezTo>
                    <a:pt x="0" y="13858"/>
                    <a:pt x="1260" y="22677"/>
                    <a:pt x="1260" y="31496"/>
                  </a:cubicBezTo>
                  <a:cubicBezTo>
                    <a:pt x="1260" y="44094"/>
                    <a:pt x="2520" y="57952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1260" y="70550"/>
                    <a:pt x="1260" y="69290"/>
                    <a:pt x="1260" y="68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/>
            <p:cNvSpPr/>
            <p:nvPr/>
          </p:nvSpPr>
          <p:spPr>
            <a:xfrm>
              <a:off x="8304919" y="3989219"/>
              <a:ext cx="25741" cy="120125"/>
            </a:xfrm>
            <a:custGeom>
              <a:avLst/>
              <a:gdLst>
                <a:gd name="connsiteX0" fmla="*/ 8819 w 37794"/>
                <a:gd name="connsiteY0" fmla="*/ 44094 h 176375"/>
                <a:gd name="connsiteX1" fmla="*/ 8819 w 37794"/>
                <a:gd name="connsiteY1" fmla="*/ 45354 h 176375"/>
                <a:gd name="connsiteX2" fmla="*/ 8819 w 37794"/>
                <a:gd name="connsiteY2" fmla="*/ 46614 h 176375"/>
                <a:gd name="connsiteX3" fmla="*/ 8819 w 37794"/>
                <a:gd name="connsiteY3" fmla="*/ 49133 h 176375"/>
                <a:gd name="connsiteX4" fmla="*/ 8819 w 37794"/>
                <a:gd name="connsiteY4" fmla="*/ 50393 h 176375"/>
                <a:gd name="connsiteX5" fmla="*/ 8819 w 37794"/>
                <a:gd name="connsiteY5" fmla="*/ 52913 h 176375"/>
                <a:gd name="connsiteX6" fmla="*/ 8819 w 37794"/>
                <a:gd name="connsiteY6" fmla="*/ 59212 h 176375"/>
                <a:gd name="connsiteX7" fmla="*/ 8819 w 37794"/>
                <a:gd name="connsiteY7" fmla="*/ 62991 h 176375"/>
                <a:gd name="connsiteX8" fmla="*/ 8819 w 37794"/>
                <a:gd name="connsiteY8" fmla="*/ 64251 h 176375"/>
                <a:gd name="connsiteX9" fmla="*/ 8819 w 37794"/>
                <a:gd name="connsiteY9" fmla="*/ 64251 h 176375"/>
                <a:gd name="connsiteX10" fmla="*/ 8819 w 37794"/>
                <a:gd name="connsiteY10" fmla="*/ 64251 h 176375"/>
                <a:gd name="connsiteX11" fmla="*/ 8819 w 37794"/>
                <a:gd name="connsiteY11" fmla="*/ 64251 h 176375"/>
                <a:gd name="connsiteX12" fmla="*/ 8819 w 37794"/>
                <a:gd name="connsiteY12" fmla="*/ 64251 h 176375"/>
                <a:gd name="connsiteX13" fmla="*/ 8819 w 37794"/>
                <a:gd name="connsiteY13" fmla="*/ 64251 h 176375"/>
                <a:gd name="connsiteX14" fmla="*/ 8819 w 37794"/>
                <a:gd name="connsiteY14" fmla="*/ 66771 h 176375"/>
                <a:gd name="connsiteX15" fmla="*/ 8819 w 37794"/>
                <a:gd name="connsiteY15" fmla="*/ 68031 h 176375"/>
                <a:gd name="connsiteX16" fmla="*/ 8819 w 37794"/>
                <a:gd name="connsiteY16" fmla="*/ 71810 h 176375"/>
                <a:gd name="connsiteX17" fmla="*/ 8819 w 37794"/>
                <a:gd name="connsiteY17" fmla="*/ 73070 h 176375"/>
                <a:gd name="connsiteX18" fmla="*/ 8819 w 37794"/>
                <a:gd name="connsiteY18" fmla="*/ 76849 h 176375"/>
                <a:gd name="connsiteX19" fmla="*/ 8819 w 37794"/>
                <a:gd name="connsiteY19" fmla="*/ 84408 h 176375"/>
                <a:gd name="connsiteX20" fmla="*/ 8819 w 37794"/>
                <a:gd name="connsiteY20" fmla="*/ 88188 h 176375"/>
                <a:gd name="connsiteX21" fmla="*/ 8819 w 37794"/>
                <a:gd name="connsiteY21" fmla="*/ 90707 h 176375"/>
                <a:gd name="connsiteX22" fmla="*/ 8819 w 37794"/>
                <a:gd name="connsiteY22" fmla="*/ 93227 h 176375"/>
                <a:gd name="connsiteX23" fmla="*/ 8819 w 37794"/>
                <a:gd name="connsiteY23" fmla="*/ 95747 h 176375"/>
                <a:gd name="connsiteX24" fmla="*/ 10079 w 37794"/>
                <a:gd name="connsiteY24" fmla="*/ 105825 h 176375"/>
                <a:gd name="connsiteX25" fmla="*/ 10079 w 37794"/>
                <a:gd name="connsiteY25" fmla="*/ 108345 h 176375"/>
                <a:gd name="connsiteX26" fmla="*/ 10079 w 37794"/>
                <a:gd name="connsiteY26" fmla="*/ 118424 h 176375"/>
                <a:gd name="connsiteX27" fmla="*/ 10079 w 37794"/>
                <a:gd name="connsiteY27" fmla="*/ 120943 h 176375"/>
                <a:gd name="connsiteX28" fmla="*/ 10079 w 37794"/>
                <a:gd name="connsiteY28" fmla="*/ 123463 h 176375"/>
                <a:gd name="connsiteX29" fmla="*/ 10079 w 37794"/>
                <a:gd name="connsiteY29" fmla="*/ 127242 h 176375"/>
                <a:gd name="connsiteX30" fmla="*/ 10079 w 37794"/>
                <a:gd name="connsiteY30" fmla="*/ 128502 h 176375"/>
                <a:gd name="connsiteX31" fmla="*/ 10079 w 37794"/>
                <a:gd name="connsiteY31" fmla="*/ 129762 h 176375"/>
                <a:gd name="connsiteX32" fmla="*/ 10079 w 37794"/>
                <a:gd name="connsiteY32" fmla="*/ 131022 h 176375"/>
                <a:gd name="connsiteX33" fmla="*/ 10079 w 37794"/>
                <a:gd name="connsiteY33" fmla="*/ 132281 h 176375"/>
                <a:gd name="connsiteX34" fmla="*/ 10079 w 37794"/>
                <a:gd name="connsiteY34" fmla="*/ 136061 h 176375"/>
                <a:gd name="connsiteX35" fmla="*/ 10079 w 37794"/>
                <a:gd name="connsiteY35" fmla="*/ 136061 h 176375"/>
                <a:gd name="connsiteX36" fmla="*/ 10079 w 37794"/>
                <a:gd name="connsiteY36" fmla="*/ 148659 h 176375"/>
                <a:gd name="connsiteX37" fmla="*/ 10079 w 37794"/>
                <a:gd name="connsiteY37" fmla="*/ 149919 h 176375"/>
                <a:gd name="connsiteX38" fmla="*/ 11338 w 37794"/>
                <a:gd name="connsiteY38" fmla="*/ 166297 h 176375"/>
                <a:gd name="connsiteX39" fmla="*/ 11338 w 37794"/>
                <a:gd name="connsiteY39" fmla="*/ 173856 h 176375"/>
                <a:gd name="connsiteX40" fmla="*/ 11338 w 37794"/>
                <a:gd name="connsiteY40" fmla="*/ 183934 h 176375"/>
                <a:gd name="connsiteX41" fmla="*/ 11338 w 37794"/>
                <a:gd name="connsiteY41" fmla="*/ 183934 h 176375"/>
                <a:gd name="connsiteX42" fmla="*/ 11338 w 37794"/>
                <a:gd name="connsiteY42" fmla="*/ 183934 h 176375"/>
                <a:gd name="connsiteX43" fmla="*/ 11338 w 37794"/>
                <a:gd name="connsiteY43" fmla="*/ 183934 h 176375"/>
                <a:gd name="connsiteX44" fmla="*/ 11338 w 37794"/>
                <a:gd name="connsiteY44" fmla="*/ 183934 h 176375"/>
                <a:gd name="connsiteX45" fmla="*/ 12598 w 37794"/>
                <a:gd name="connsiteY45" fmla="*/ 185194 h 176375"/>
                <a:gd name="connsiteX46" fmla="*/ 12598 w 37794"/>
                <a:gd name="connsiteY46" fmla="*/ 185194 h 176375"/>
                <a:gd name="connsiteX47" fmla="*/ 13858 w 37794"/>
                <a:gd name="connsiteY47" fmla="*/ 185194 h 176375"/>
                <a:gd name="connsiteX48" fmla="*/ 15118 w 37794"/>
                <a:gd name="connsiteY48" fmla="*/ 185194 h 176375"/>
                <a:gd name="connsiteX49" fmla="*/ 16378 w 37794"/>
                <a:gd name="connsiteY49" fmla="*/ 185194 h 176375"/>
                <a:gd name="connsiteX50" fmla="*/ 17637 w 37794"/>
                <a:gd name="connsiteY50" fmla="*/ 183934 h 176375"/>
                <a:gd name="connsiteX51" fmla="*/ 17637 w 37794"/>
                <a:gd name="connsiteY51" fmla="*/ 183934 h 176375"/>
                <a:gd name="connsiteX52" fmla="*/ 18897 w 37794"/>
                <a:gd name="connsiteY52" fmla="*/ 178895 h 176375"/>
                <a:gd name="connsiteX53" fmla="*/ 18897 w 37794"/>
                <a:gd name="connsiteY53" fmla="*/ 178895 h 176375"/>
                <a:gd name="connsiteX54" fmla="*/ 18897 w 37794"/>
                <a:gd name="connsiteY54" fmla="*/ 177635 h 176375"/>
                <a:gd name="connsiteX55" fmla="*/ 20157 w 37794"/>
                <a:gd name="connsiteY55" fmla="*/ 173856 h 176375"/>
                <a:gd name="connsiteX56" fmla="*/ 20157 w 37794"/>
                <a:gd name="connsiteY56" fmla="*/ 173856 h 176375"/>
                <a:gd name="connsiteX57" fmla="*/ 20157 w 37794"/>
                <a:gd name="connsiteY57" fmla="*/ 173856 h 176375"/>
                <a:gd name="connsiteX58" fmla="*/ 21417 w 37794"/>
                <a:gd name="connsiteY58" fmla="*/ 165037 h 176375"/>
                <a:gd name="connsiteX59" fmla="*/ 21417 w 37794"/>
                <a:gd name="connsiteY59" fmla="*/ 163777 h 176375"/>
                <a:gd name="connsiteX60" fmla="*/ 21417 w 37794"/>
                <a:gd name="connsiteY60" fmla="*/ 161257 h 176375"/>
                <a:gd name="connsiteX61" fmla="*/ 21417 w 37794"/>
                <a:gd name="connsiteY61" fmla="*/ 158738 h 176375"/>
                <a:gd name="connsiteX62" fmla="*/ 21417 w 37794"/>
                <a:gd name="connsiteY62" fmla="*/ 158738 h 176375"/>
                <a:gd name="connsiteX63" fmla="*/ 21417 w 37794"/>
                <a:gd name="connsiteY63" fmla="*/ 158738 h 176375"/>
                <a:gd name="connsiteX64" fmla="*/ 21417 w 37794"/>
                <a:gd name="connsiteY64" fmla="*/ 158738 h 176375"/>
                <a:gd name="connsiteX65" fmla="*/ 21417 w 37794"/>
                <a:gd name="connsiteY65" fmla="*/ 154958 h 176375"/>
                <a:gd name="connsiteX66" fmla="*/ 22677 w 37794"/>
                <a:gd name="connsiteY66" fmla="*/ 143620 h 176375"/>
                <a:gd name="connsiteX67" fmla="*/ 23937 w 37794"/>
                <a:gd name="connsiteY67" fmla="*/ 133541 h 176375"/>
                <a:gd name="connsiteX68" fmla="*/ 25196 w 37794"/>
                <a:gd name="connsiteY68" fmla="*/ 128502 h 176375"/>
                <a:gd name="connsiteX69" fmla="*/ 25196 w 37794"/>
                <a:gd name="connsiteY69" fmla="*/ 127242 h 176375"/>
                <a:gd name="connsiteX70" fmla="*/ 26456 w 37794"/>
                <a:gd name="connsiteY70" fmla="*/ 122203 h 176375"/>
                <a:gd name="connsiteX71" fmla="*/ 26456 w 37794"/>
                <a:gd name="connsiteY71" fmla="*/ 119683 h 176375"/>
                <a:gd name="connsiteX72" fmla="*/ 26456 w 37794"/>
                <a:gd name="connsiteY72" fmla="*/ 119683 h 176375"/>
                <a:gd name="connsiteX73" fmla="*/ 26456 w 37794"/>
                <a:gd name="connsiteY73" fmla="*/ 119683 h 176375"/>
                <a:gd name="connsiteX74" fmla="*/ 26456 w 37794"/>
                <a:gd name="connsiteY74" fmla="*/ 118424 h 176375"/>
                <a:gd name="connsiteX75" fmla="*/ 26456 w 37794"/>
                <a:gd name="connsiteY75" fmla="*/ 117164 h 176375"/>
                <a:gd name="connsiteX76" fmla="*/ 26456 w 37794"/>
                <a:gd name="connsiteY76" fmla="*/ 117164 h 176375"/>
                <a:gd name="connsiteX77" fmla="*/ 26456 w 37794"/>
                <a:gd name="connsiteY77" fmla="*/ 117164 h 176375"/>
                <a:gd name="connsiteX78" fmla="*/ 27716 w 37794"/>
                <a:gd name="connsiteY78" fmla="*/ 112124 h 176375"/>
                <a:gd name="connsiteX79" fmla="*/ 28976 w 37794"/>
                <a:gd name="connsiteY79" fmla="*/ 102046 h 176375"/>
                <a:gd name="connsiteX80" fmla="*/ 31496 w 37794"/>
                <a:gd name="connsiteY80" fmla="*/ 86928 h 176375"/>
                <a:gd name="connsiteX81" fmla="*/ 31496 w 37794"/>
                <a:gd name="connsiteY81" fmla="*/ 85668 h 176375"/>
                <a:gd name="connsiteX82" fmla="*/ 32755 w 37794"/>
                <a:gd name="connsiteY82" fmla="*/ 79369 h 176375"/>
                <a:gd name="connsiteX83" fmla="*/ 32755 w 37794"/>
                <a:gd name="connsiteY83" fmla="*/ 75589 h 176375"/>
                <a:gd name="connsiteX84" fmla="*/ 32755 w 37794"/>
                <a:gd name="connsiteY84" fmla="*/ 74330 h 176375"/>
                <a:gd name="connsiteX85" fmla="*/ 32755 w 37794"/>
                <a:gd name="connsiteY85" fmla="*/ 73070 h 176375"/>
                <a:gd name="connsiteX86" fmla="*/ 32755 w 37794"/>
                <a:gd name="connsiteY86" fmla="*/ 73070 h 176375"/>
                <a:gd name="connsiteX87" fmla="*/ 34015 w 37794"/>
                <a:gd name="connsiteY87" fmla="*/ 69290 h 176375"/>
                <a:gd name="connsiteX88" fmla="*/ 34015 w 37794"/>
                <a:gd name="connsiteY88" fmla="*/ 68031 h 176375"/>
                <a:gd name="connsiteX89" fmla="*/ 34015 w 37794"/>
                <a:gd name="connsiteY89" fmla="*/ 66771 h 176375"/>
                <a:gd name="connsiteX90" fmla="*/ 35275 w 37794"/>
                <a:gd name="connsiteY90" fmla="*/ 64251 h 176375"/>
                <a:gd name="connsiteX91" fmla="*/ 35275 w 37794"/>
                <a:gd name="connsiteY91" fmla="*/ 61731 h 176375"/>
                <a:gd name="connsiteX92" fmla="*/ 35275 w 37794"/>
                <a:gd name="connsiteY92" fmla="*/ 59212 h 176375"/>
                <a:gd name="connsiteX93" fmla="*/ 36535 w 37794"/>
                <a:gd name="connsiteY93" fmla="*/ 55432 h 176375"/>
                <a:gd name="connsiteX94" fmla="*/ 36535 w 37794"/>
                <a:gd name="connsiteY94" fmla="*/ 54172 h 176375"/>
                <a:gd name="connsiteX95" fmla="*/ 37795 w 37794"/>
                <a:gd name="connsiteY95" fmla="*/ 50393 h 176375"/>
                <a:gd name="connsiteX96" fmla="*/ 40314 w 37794"/>
                <a:gd name="connsiteY96" fmla="*/ 39055 h 176375"/>
                <a:gd name="connsiteX97" fmla="*/ 40314 w 37794"/>
                <a:gd name="connsiteY97" fmla="*/ 36535 h 176375"/>
                <a:gd name="connsiteX98" fmla="*/ 41574 w 37794"/>
                <a:gd name="connsiteY98" fmla="*/ 34015 h 176375"/>
                <a:gd name="connsiteX99" fmla="*/ 41574 w 37794"/>
                <a:gd name="connsiteY99" fmla="*/ 34015 h 176375"/>
                <a:gd name="connsiteX100" fmla="*/ 41574 w 37794"/>
                <a:gd name="connsiteY100" fmla="*/ 32755 h 176375"/>
                <a:gd name="connsiteX101" fmla="*/ 42834 w 37794"/>
                <a:gd name="connsiteY101" fmla="*/ 30236 h 176375"/>
                <a:gd name="connsiteX102" fmla="*/ 42834 w 37794"/>
                <a:gd name="connsiteY102" fmla="*/ 28976 h 176375"/>
                <a:gd name="connsiteX103" fmla="*/ 42834 w 37794"/>
                <a:gd name="connsiteY103" fmla="*/ 27716 h 176375"/>
                <a:gd name="connsiteX104" fmla="*/ 42834 w 37794"/>
                <a:gd name="connsiteY104" fmla="*/ 26456 h 176375"/>
                <a:gd name="connsiteX105" fmla="*/ 42834 w 37794"/>
                <a:gd name="connsiteY105" fmla="*/ 26456 h 176375"/>
                <a:gd name="connsiteX106" fmla="*/ 42834 w 37794"/>
                <a:gd name="connsiteY106" fmla="*/ 25196 h 176375"/>
                <a:gd name="connsiteX107" fmla="*/ 42834 w 37794"/>
                <a:gd name="connsiteY107" fmla="*/ 25196 h 176375"/>
                <a:gd name="connsiteX108" fmla="*/ 42834 w 37794"/>
                <a:gd name="connsiteY108" fmla="*/ 25196 h 176375"/>
                <a:gd name="connsiteX109" fmla="*/ 42834 w 37794"/>
                <a:gd name="connsiteY109" fmla="*/ 22677 h 176375"/>
                <a:gd name="connsiteX110" fmla="*/ 42834 w 37794"/>
                <a:gd name="connsiteY110" fmla="*/ 21417 h 176375"/>
                <a:gd name="connsiteX111" fmla="*/ 44094 w 37794"/>
                <a:gd name="connsiteY111" fmla="*/ 17638 h 176375"/>
                <a:gd name="connsiteX112" fmla="*/ 44094 w 37794"/>
                <a:gd name="connsiteY112" fmla="*/ 16378 h 176375"/>
                <a:gd name="connsiteX113" fmla="*/ 44094 w 37794"/>
                <a:gd name="connsiteY113" fmla="*/ 13858 h 176375"/>
                <a:gd name="connsiteX114" fmla="*/ 44094 w 37794"/>
                <a:gd name="connsiteY114" fmla="*/ 10079 h 176375"/>
                <a:gd name="connsiteX115" fmla="*/ 44094 w 37794"/>
                <a:gd name="connsiteY115" fmla="*/ 8819 h 176375"/>
                <a:gd name="connsiteX116" fmla="*/ 44094 w 37794"/>
                <a:gd name="connsiteY116" fmla="*/ 7559 h 176375"/>
                <a:gd name="connsiteX117" fmla="*/ 44094 w 37794"/>
                <a:gd name="connsiteY117" fmla="*/ 5039 h 176375"/>
                <a:gd name="connsiteX118" fmla="*/ 44094 w 37794"/>
                <a:gd name="connsiteY118" fmla="*/ 2520 h 176375"/>
                <a:gd name="connsiteX119" fmla="*/ 44094 w 37794"/>
                <a:gd name="connsiteY119" fmla="*/ 2520 h 176375"/>
                <a:gd name="connsiteX120" fmla="*/ 44094 w 37794"/>
                <a:gd name="connsiteY120" fmla="*/ 1260 h 176375"/>
                <a:gd name="connsiteX121" fmla="*/ 44094 w 37794"/>
                <a:gd name="connsiteY121" fmla="*/ 1260 h 176375"/>
                <a:gd name="connsiteX122" fmla="*/ 44094 w 37794"/>
                <a:gd name="connsiteY122" fmla="*/ 1260 h 176375"/>
                <a:gd name="connsiteX123" fmla="*/ 44094 w 37794"/>
                <a:gd name="connsiteY123" fmla="*/ 0 h 176375"/>
                <a:gd name="connsiteX124" fmla="*/ 44094 w 37794"/>
                <a:gd name="connsiteY124" fmla="*/ 0 h 176375"/>
                <a:gd name="connsiteX125" fmla="*/ 44094 w 37794"/>
                <a:gd name="connsiteY125" fmla="*/ 0 h 176375"/>
                <a:gd name="connsiteX126" fmla="*/ 44094 w 37794"/>
                <a:gd name="connsiteY126" fmla="*/ 0 h 176375"/>
                <a:gd name="connsiteX127" fmla="*/ 44094 w 37794"/>
                <a:gd name="connsiteY127" fmla="*/ 0 h 176375"/>
                <a:gd name="connsiteX128" fmla="*/ 42834 w 37794"/>
                <a:gd name="connsiteY128" fmla="*/ 0 h 176375"/>
                <a:gd name="connsiteX129" fmla="*/ 42834 w 37794"/>
                <a:gd name="connsiteY129" fmla="*/ 0 h 176375"/>
                <a:gd name="connsiteX130" fmla="*/ 42834 w 37794"/>
                <a:gd name="connsiteY130" fmla="*/ 0 h 176375"/>
                <a:gd name="connsiteX131" fmla="*/ 42834 w 37794"/>
                <a:gd name="connsiteY131" fmla="*/ 0 h 176375"/>
                <a:gd name="connsiteX132" fmla="*/ 41574 w 37794"/>
                <a:gd name="connsiteY132" fmla="*/ 1260 h 176375"/>
                <a:gd name="connsiteX133" fmla="*/ 41574 w 37794"/>
                <a:gd name="connsiteY133" fmla="*/ 1260 h 176375"/>
                <a:gd name="connsiteX134" fmla="*/ 41574 w 37794"/>
                <a:gd name="connsiteY134" fmla="*/ 1260 h 176375"/>
                <a:gd name="connsiteX135" fmla="*/ 39054 w 37794"/>
                <a:gd name="connsiteY135" fmla="*/ 2520 h 176375"/>
                <a:gd name="connsiteX136" fmla="*/ 39054 w 37794"/>
                <a:gd name="connsiteY136" fmla="*/ 2520 h 176375"/>
                <a:gd name="connsiteX137" fmla="*/ 36535 w 37794"/>
                <a:gd name="connsiteY137" fmla="*/ 5039 h 176375"/>
                <a:gd name="connsiteX138" fmla="*/ 36535 w 37794"/>
                <a:gd name="connsiteY138" fmla="*/ 5039 h 176375"/>
                <a:gd name="connsiteX139" fmla="*/ 35275 w 37794"/>
                <a:gd name="connsiteY139" fmla="*/ 6299 h 176375"/>
                <a:gd name="connsiteX140" fmla="*/ 34015 w 37794"/>
                <a:gd name="connsiteY140" fmla="*/ 7559 h 176375"/>
                <a:gd name="connsiteX141" fmla="*/ 34015 w 37794"/>
                <a:gd name="connsiteY141" fmla="*/ 7559 h 176375"/>
                <a:gd name="connsiteX142" fmla="*/ 34015 w 37794"/>
                <a:gd name="connsiteY142" fmla="*/ 7559 h 176375"/>
                <a:gd name="connsiteX143" fmla="*/ 34015 w 37794"/>
                <a:gd name="connsiteY143" fmla="*/ 7559 h 176375"/>
                <a:gd name="connsiteX144" fmla="*/ 34015 w 37794"/>
                <a:gd name="connsiteY144" fmla="*/ 7559 h 176375"/>
                <a:gd name="connsiteX145" fmla="*/ 34015 w 37794"/>
                <a:gd name="connsiteY145" fmla="*/ 7559 h 176375"/>
                <a:gd name="connsiteX146" fmla="*/ 34015 w 37794"/>
                <a:gd name="connsiteY146" fmla="*/ 7559 h 176375"/>
                <a:gd name="connsiteX147" fmla="*/ 34015 w 37794"/>
                <a:gd name="connsiteY147" fmla="*/ 7559 h 176375"/>
                <a:gd name="connsiteX148" fmla="*/ 34015 w 37794"/>
                <a:gd name="connsiteY148" fmla="*/ 7559 h 176375"/>
                <a:gd name="connsiteX149" fmla="*/ 31496 w 37794"/>
                <a:gd name="connsiteY149" fmla="*/ 10079 h 176375"/>
                <a:gd name="connsiteX150" fmla="*/ 28976 w 37794"/>
                <a:gd name="connsiteY150" fmla="*/ 12598 h 176375"/>
                <a:gd name="connsiteX151" fmla="*/ 27716 w 37794"/>
                <a:gd name="connsiteY151" fmla="*/ 13858 h 176375"/>
                <a:gd name="connsiteX152" fmla="*/ 27716 w 37794"/>
                <a:gd name="connsiteY152" fmla="*/ 13858 h 176375"/>
                <a:gd name="connsiteX153" fmla="*/ 25196 w 37794"/>
                <a:gd name="connsiteY153" fmla="*/ 16378 h 176375"/>
                <a:gd name="connsiteX154" fmla="*/ 22677 w 37794"/>
                <a:gd name="connsiteY154" fmla="*/ 17638 h 176375"/>
                <a:gd name="connsiteX155" fmla="*/ 21417 w 37794"/>
                <a:gd name="connsiteY155" fmla="*/ 18897 h 176375"/>
                <a:gd name="connsiteX156" fmla="*/ 21417 w 37794"/>
                <a:gd name="connsiteY156" fmla="*/ 18897 h 176375"/>
                <a:gd name="connsiteX157" fmla="*/ 20157 w 37794"/>
                <a:gd name="connsiteY157" fmla="*/ 20157 h 176375"/>
                <a:gd name="connsiteX158" fmla="*/ 18897 w 37794"/>
                <a:gd name="connsiteY158" fmla="*/ 21417 h 176375"/>
                <a:gd name="connsiteX159" fmla="*/ 16378 w 37794"/>
                <a:gd name="connsiteY159" fmla="*/ 25196 h 176375"/>
                <a:gd name="connsiteX160" fmla="*/ 15118 w 37794"/>
                <a:gd name="connsiteY160" fmla="*/ 26456 h 176375"/>
                <a:gd name="connsiteX161" fmla="*/ 13858 w 37794"/>
                <a:gd name="connsiteY161" fmla="*/ 27716 h 176375"/>
                <a:gd name="connsiteX162" fmla="*/ 13858 w 37794"/>
                <a:gd name="connsiteY162" fmla="*/ 28976 h 176375"/>
                <a:gd name="connsiteX163" fmla="*/ 12598 w 37794"/>
                <a:gd name="connsiteY163" fmla="*/ 31496 h 176375"/>
                <a:gd name="connsiteX164" fmla="*/ 11338 w 37794"/>
                <a:gd name="connsiteY164" fmla="*/ 32755 h 176375"/>
                <a:gd name="connsiteX165" fmla="*/ 10079 w 37794"/>
                <a:gd name="connsiteY165" fmla="*/ 34015 h 176375"/>
                <a:gd name="connsiteX166" fmla="*/ 8819 w 37794"/>
                <a:gd name="connsiteY166" fmla="*/ 35275 h 176375"/>
                <a:gd name="connsiteX167" fmla="*/ 7559 w 37794"/>
                <a:gd name="connsiteY167" fmla="*/ 36535 h 176375"/>
                <a:gd name="connsiteX168" fmla="*/ 7559 w 37794"/>
                <a:gd name="connsiteY168" fmla="*/ 37795 h 176375"/>
                <a:gd name="connsiteX169" fmla="*/ 7559 w 37794"/>
                <a:gd name="connsiteY169" fmla="*/ 37795 h 176375"/>
                <a:gd name="connsiteX170" fmla="*/ 7559 w 37794"/>
                <a:gd name="connsiteY170" fmla="*/ 37795 h 176375"/>
                <a:gd name="connsiteX171" fmla="*/ 5039 w 37794"/>
                <a:gd name="connsiteY171" fmla="*/ 40315 h 176375"/>
                <a:gd name="connsiteX172" fmla="*/ 5039 w 37794"/>
                <a:gd name="connsiteY172" fmla="*/ 40315 h 176375"/>
                <a:gd name="connsiteX173" fmla="*/ 3780 w 37794"/>
                <a:gd name="connsiteY173" fmla="*/ 41574 h 176375"/>
                <a:gd name="connsiteX174" fmla="*/ 3780 w 37794"/>
                <a:gd name="connsiteY174" fmla="*/ 41574 h 176375"/>
                <a:gd name="connsiteX175" fmla="*/ 1260 w 37794"/>
                <a:gd name="connsiteY175" fmla="*/ 44094 h 176375"/>
                <a:gd name="connsiteX176" fmla="*/ 0 w 37794"/>
                <a:gd name="connsiteY176" fmla="*/ 46614 h 176375"/>
                <a:gd name="connsiteX177" fmla="*/ 0 w 37794"/>
                <a:gd name="connsiteY177" fmla="*/ 46614 h 176375"/>
                <a:gd name="connsiteX178" fmla="*/ 0 w 37794"/>
                <a:gd name="connsiteY178" fmla="*/ 46614 h 176375"/>
                <a:gd name="connsiteX179" fmla="*/ 0 w 37794"/>
                <a:gd name="connsiteY179" fmla="*/ 46614 h 176375"/>
                <a:gd name="connsiteX180" fmla="*/ 0 w 37794"/>
                <a:gd name="connsiteY180" fmla="*/ 46614 h 176375"/>
                <a:gd name="connsiteX181" fmla="*/ 0 w 37794"/>
                <a:gd name="connsiteY181" fmla="*/ 47873 h 176375"/>
                <a:gd name="connsiteX182" fmla="*/ 8819 w 37794"/>
                <a:gd name="connsiteY182" fmla="*/ 44094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37794" h="176375">
                  <a:moveTo>
                    <a:pt x="8819" y="44094"/>
                  </a:moveTo>
                  <a:cubicBezTo>
                    <a:pt x="8819" y="44094"/>
                    <a:pt x="8819" y="45354"/>
                    <a:pt x="8819" y="45354"/>
                  </a:cubicBezTo>
                  <a:cubicBezTo>
                    <a:pt x="8819" y="45354"/>
                    <a:pt x="8819" y="46614"/>
                    <a:pt x="8819" y="46614"/>
                  </a:cubicBezTo>
                  <a:cubicBezTo>
                    <a:pt x="8819" y="47873"/>
                    <a:pt x="8819" y="47873"/>
                    <a:pt x="8819" y="49133"/>
                  </a:cubicBezTo>
                  <a:lnTo>
                    <a:pt x="8819" y="50393"/>
                  </a:lnTo>
                  <a:cubicBezTo>
                    <a:pt x="8819" y="51653"/>
                    <a:pt x="8819" y="52913"/>
                    <a:pt x="8819" y="52913"/>
                  </a:cubicBezTo>
                  <a:cubicBezTo>
                    <a:pt x="8819" y="55432"/>
                    <a:pt x="8819" y="57952"/>
                    <a:pt x="8819" y="59212"/>
                  </a:cubicBezTo>
                  <a:cubicBezTo>
                    <a:pt x="8819" y="60472"/>
                    <a:pt x="8819" y="61731"/>
                    <a:pt x="8819" y="62991"/>
                  </a:cubicBezTo>
                  <a:cubicBezTo>
                    <a:pt x="8819" y="6299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lnTo>
                    <a:pt x="8819" y="64251"/>
                  </a:lnTo>
                  <a:lnTo>
                    <a:pt x="8819" y="64251"/>
                  </a:ln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5511"/>
                    <a:pt x="8819" y="65511"/>
                    <a:pt x="8819" y="66771"/>
                  </a:cubicBezTo>
                  <a:cubicBezTo>
                    <a:pt x="8819" y="66771"/>
                    <a:pt x="8819" y="68031"/>
                    <a:pt x="8819" y="68031"/>
                  </a:cubicBezTo>
                  <a:cubicBezTo>
                    <a:pt x="8819" y="69290"/>
                    <a:pt x="8819" y="70550"/>
                    <a:pt x="8819" y="71810"/>
                  </a:cubicBezTo>
                  <a:lnTo>
                    <a:pt x="8819" y="73070"/>
                  </a:lnTo>
                  <a:cubicBezTo>
                    <a:pt x="8819" y="74330"/>
                    <a:pt x="8819" y="75589"/>
                    <a:pt x="8819" y="76849"/>
                  </a:cubicBezTo>
                  <a:cubicBezTo>
                    <a:pt x="8819" y="79369"/>
                    <a:pt x="8819" y="81889"/>
                    <a:pt x="8819" y="84408"/>
                  </a:cubicBezTo>
                  <a:cubicBezTo>
                    <a:pt x="8819" y="85668"/>
                    <a:pt x="8819" y="86928"/>
                    <a:pt x="8819" y="88188"/>
                  </a:cubicBezTo>
                  <a:lnTo>
                    <a:pt x="8819" y="90707"/>
                  </a:lnTo>
                  <a:cubicBezTo>
                    <a:pt x="8819" y="91967"/>
                    <a:pt x="8819" y="91967"/>
                    <a:pt x="8819" y="93227"/>
                  </a:cubicBezTo>
                  <a:cubicBezTo>
                    <a:pt x="8819" y="94487"/>
                    <a:pt x="8819" y="95747"/>
                    <a:pt x="8819" y="95747"/>
                  </a:cubicBezTo>
                  <a:cubicBezTo>
                    <a:pt x="8819" y="99526"/>
                    <a:pt x="8819" y="103306"/>
                    <a:pt x="10079" y="105825"/>
                  </a:cubicBezTo>
                  <a:cubicBezTo>
                    <a:pt x="10079" y="107085"/>
                    <a:pt x="10079" y="107085"/>
                    <a:pt x="10079" y="108345"/>
                  </a:cubicBezTo>
                  <a:cubicBezTo>
                    <a:pt x="10079" y="110864"/>
                    <a:pt x="10079" y="114644"/>
                    <a:pt x="10079" y="118424"/>
                  </a:cubicBezTo>
                  <a:cubicBezTo>
                    <a:pt x="10079" y="119683"/>
                    <a:pt x="10079" y="119683"/>
                    <a:pt x="10079" y="120943"/>
                  </a:cubicBezTo>
                  <a:cubicBezTo>
                    <a:pt x="10079" y="122203"/>
                    <a:pt x="10079" y="122203"/>
                    <a:pt x="10079" y="123463"/>
                  </a:cubicBezTo>
                  <a:cubicBezTo>
                    <a:pt x="10079" y="124723"/>
                    <a:pt x="10079" y="125982"/>
                    <a:pt x="10079" y="127242"/>
                  </a:cubicBezTo>
                  <a:lnTo>
                    <a:pt x="10079" y="128502"/>
                  </a:lnTo>
                  <a:lnTo>
                    <a:pt x="10079" y="129762"/>
                  </a:lnTo>
                  <a:lnTo>
                    <a:pt x="10079" y="131022"/>
                  </a:lnTo>
                  <a:cubicBezTo>
                    <a:pt x="10079" y="131022"/>
                    <a:pt x="10079" y="132281"/>
                    <a:pt x="10079" y="132281"/>
                  </a:cubicBezTo>
                  <a:cubicBezTo>
                    <a:pt x="10079" y="133541"/>
                    <a:pt x="10079" y="134801"/>
                    <a:pt x="10079" y="136061"/>
                  </a:cubicBezTo>
                  <a:cubicBezTo>
                    <a:pt x="10079" y="136061"/>
                    <a:pt x="10079" y="136061"/>
                    <a:pt x="10079" y="136061"/>
                  </a:cubicBezTo>
                  <a:cubicBezTo>
                    <a:pt x="10079" y="139840"/>
                    <a:pt x="10079" y="143620"/>
                    <a:pt x="10079" y="148659"/>
                  </a:cubicBezTo>
                  <a:cubicBezTo>
                    <a:pt x="10079" y="148659"/>
                    <a:pt x="10079" y="149919"/>
                    <a:pt x="10079" y="149919"/>
                  </a:cubicBezTo>
                  <a:cubicBezTo>
                    <a:pt x="11338" y="154958"/>
                    <a:pt x="11338" y="161257"/>
                    <a:pt x="11338" y="166297"/>
                  </a:cubicBezTo>
                  <a:cubicBezTo>
                    <a:pt x="11338" y="168816"/>
                    <a:pt x="11338" y="171336"/>
                    <a:pt x="11338" y="173856"/>
                  </a:cubicBezTo>
                  <a:cubicBezTo>
                    <a:pt x="11338" y="177635"/>
                    <a:pt x="11338" y="180155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lnTo>
                    <a:pt x="11338" y="183934"/>
                  </a:lnTo>
                  <a:lnTo>
                    <a:pt x="11338" y="183934"/>
                  </a:lnTo>
                  <a:cubicBezTo>
                    <a:pt x="11338" y="183934"/>
                    <a:pt x="11338" y="183934"/>
                    <a:pt x="12598" y="185194"/>
                  </a:cubicBezTo>
                  <a:cubicBezTo>
                    <a:pt x="12598" y="185194"/>
                    <a:pt x="12598" y="185194"/>
                    <a:pt x="12598" y="185194"/>
                  </a:cubicBezTo>
                  <a:cubicBezTo>
                    <a:pt x="12598" y="185194"/>
                    <a:pt x="12598" y="185194"/>
                    <a:pt x="13858" y="185194"/>
                  </a:cubicBezTo>
                  <a:cubicBezTo>
                    <a:pt x="13858" y="185194"/>
                    <a:pt x="15118" y="185194"/>
                    <a:pt x="15118" y="185194"/>
                  </a:cubicBezTo>
                  <a:cubicBezTo>
                    <a:pt x="15118" y="185194"/>
                    <a:pt x="16378" y="185194"/>
                    <a:pt x="16378" y="185194"/>
                  </a:cubicBezTo>
                  <a:cubicBezTo>
                    <a:pt x="16378" y="185194"/>
                    <a:pt x="17637" y="185194"/>
                    <a:pt x="17637" y="183934"/>
                  </a:cubicBezTo>
                  <a:cubicBezTo>
                    <a:pt x="17637" y="183934"/>
                    <a:pt x="17637" y="183934"/>
                    <a:pt x="17637" y="183934"/>
                  </a:cubicBezTo>
                  <a:cubicBezTo>
                    <a:pt x="17637" y="182674"/>
                    <a:pt x="18897" y="181415"/>
                    <a:pt x="18897" y="178895"/>
                  </a:cubicBezTo>
                  <a:lnTo>
                    <a:pt x="18897" y="178895"/>
                  </a:lnTo>
                  <a:cubicBezTo>
                    <a:pt x="18897" y="178895"/>
                    <a:pt x="18897" y="177635"/>
                    <a:pt x="18897" y="177635"/>
                  </a:cubicBezTo>
                  <a:cubicBezTo>
                    <a:pt x="18897" y="176375"/>
                    <a:pt x="20157" y="175116"/>
                    <a:pt x="20157" y="173856"/>
                  </a:cubicBezTo>
                  <a:lnTo>
                    <a:pt x="20157" y="173856"/>
                  </a:lnTo>
                  <a:lnTo>
                    <a:pt x="20157" y="173856"/>
                  </a:lnTo>
                  <a:cubicBezTo>
                    <a:pt x="21417" y="171336"/>
                    <a:pt x="21417" y="167557"/>
                    <a:pt x="21417" y="165037"/>
                  </a:cubicBezTo>
                  <a:cubicBezTo>
                    <a:pt x="21417" y="165037"/>
                    <a:pt x="21417" y="163777"/>
                    <a:pt x="21417" y="163777"/>
                  </a:cubicBezTo>
                  <a:cubicBezTo>
                    <a:pt x="21417" y="162517"/>
                    <a:pt x="21417" y="162517"/>
                    <a:pt x="21417" y="161257"/>
                  </a:cubicBezTo>
                  <a:cubicBezTo>
                    <a:pt x="21417" y="159998"/>
                    <a:pt x="21417" y="159998"/>
                    <a:pt x="21417" y="158738"/>
                  </a:cubicBez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4958"/>
                  </a:lnTo>
                  <a:cubicBezTo>
                    <a:pt x="22677" y="151179"/>
                    <a:pt x="22677" y="147399"/>
                    <a:pt x="22677" y="143620"/>
                  </a:cubicBezTo>
                  <a:cubicBezTo>
                    <a:pt x="22677" y="139840"/>
                    <a:pt x="23937" y="137321"/>
                    <a:pt x="23937" y="133541"/>
                  </a:cubicBezTo>
                  <a:cubicBezTo>
                    <a:pt x="23937" y="132281"/>
                    <a:pt x="23937" y="129762"/>
                    <a:pt x="25196" y="128502"/>
                  </a:cubicBezTo>
                  <a:lnTo>
                    <a:pt x="25196" y="127242"/>
                  </a:lnTo>
                  <a:cubicBezTo>
                    <a:pt x="25196" y="125982"/>
                    <a:pt x="25196" y="123463"/>
                    <a:pt x="26456" y="122203"/>
                  </a:cubicBezTo>
                  <a:cubicBezTo>
                    <a:pt x="26456" y="120943"/>
                    <a:pt x="26456" y="120943"/>
                    <a:pt x="26456" y="119683"/>
                  </a:cubicBezTo>
                  <a:cubicBezTo>
                    <a:pt x="26456" y="119683"/>
                    <a:pt x="26456" y="119683"/>
                    <a:pt x="26456" y="119683"/>
                  </a:cubicBezTo>
                  <a:lnTo>
                    <a:pt x="26456" y="119683"/>
                  </a:lnTo>
                  <a:lnTo>
                    <a:pt x="26456" y="118424"/>
                  </a:lnTo>
                  <a:lnTo>
                    <a:pt x="26456" y="117164"/>
                  </a:lnTo>
                  <a:lnTo>
                    <a:pt x="26456" y="117164"/>
                  </a:lnTo>
                  <a:cubicBezTo>
                    <a:pt x="26456" y="117164"/>
                    <a:pt x="26456" y="117164"/>
                    <a:pt x="26456" y="117164"/>
                  </a:cubicBezTo>
                  <a:cubicBezTo>
                    <a:pt x="26456" y="115904"/>
                    <a:pt x="26456" y="113384"/>
                    <a:pt x="27716" y="112124"/>
                  </a:cubicBezTo>
                  <a:cubicBezTo>
                    <a:pt x="27716" y="108345"/>
                    <a:pt x="28976" y="105825"/>
                    <a:pt x="28976" y="102046"/>
                  </a:cubicBezTo>
                  <a:cubicBezTo>
                    <a:pt x="30236" y="97007"/>
                    <a:pt x="31496" y="91967"/>
                    <a:pt x="31496" y="86928"/>
                  </a:cubicBezTo>
                  <a:lnTo>
                    <a:pt x="31496" y="85668"/>
                  </a:lnTo>
                  <a:cubicBezTo>
                    <a:pt x="31496" y="84408"/>
                    <a:pt x="32755" y="81889"/>
                    <a:pt x="32755" y="79369"/>
                  </a:cubicBezTo>
                  <a:cubicBezTo>
                    <a:pt x="32755" y="78109"/>
                    <a:pt x="32755" y="76849"/>
                    <a:pt x="32755" y="75589"/>
                  </a:cubicBezTo>
                  <a:cubicBezTo>
                    <a:pt x="32755" y="75589"/>
                    <a:pt x="32755" y="74330"/>
                    <a:pt x="32755" y="74330"/>
                  </a:cubicBezTo>
                  <a:cubicBezTo>
                    <a:pt x="32755" y="74330"/>
                    <a:pt x="32755" y="73070"/>
                    <a:pt x="32755" y="73070"/>
                  </a:cubicBezTo>
                  <a:cubicBezTo>
                    <a:pt x="32755" y="73070"/>
                    <a:pt x="32755" y="73070"/>
                    <a:pt x="32755" y="73070"/>
                  </a:cubicBezTo>
                  <a:lnTo>
                    <a:pt x="34015" y="69290"/>
                  </a:lnTo>
                  <a:lnTo>
                    <a:pt x="34015" y="68031"/>
                  </a:lnTo>
                  <a:lnTo>
                    <a:pt x="34015" y="66771"/>
                  </a:lnTo>
                  <a:cubicBezTo>
                    <a:pt x="34015" y="65511"/>
                    <a:pt x="34015" y="65511"/>
                    <a:pt x="35275" y="64251"/>
                  </a:cubicBezTo>
                  <a:cubicBezTo>
                    <a:pt x="35275" y="62991"/>
                    <a:pt x="35275" y="62991"/>
                    <a:pt x="35275" y="61731"/>
                  </a:cubicBezTo>
                  <a:cubicBezTo>
                    <a:pt x="35275" y="60472"/>
                    <a:pt x="35275" y="60472"/>
                    <a:pt x="35275" y="59212"/>
                  </a:cubicBezTo>
                  <a:cubicBezTo>
                    <a:pt x="35275" y="57952"/>
                    <a:pt x="36535" y="56692"/>
                    <a:pt x="36535" y="55432"/>
                  </a:cubicBezTo>
                  <a:lnTo>
                    <a:pt x="36535" y="54172"/>
                  </a:lnTo>
                  <a:cubicBezTo>
                    <a:pt x="36535" y="52913"/>
                    <a:pt x="37795" y="51653"/>
                    <a:pt x="37795" y="50393"/>
                  </a:cubicBezTo>
                  <a:cubicBezTo>
                    <a:pt x="39054" y="46614"/>
                    <a:pt x="40314" y="42834"/>
                    <a:pt x="40314" y="39055"/>
                  </a:cubicBezTo>
                  <a:lnTo>
                    <a:pt x="40314" y="36535"/>
                  </a:lnTo>
                  <a:cubicBezTo>
                    <a:pt x="40314" y="35275"/>
                    <a:pt x="40314" y="34015"/>
                    <a:pt x="41574" y="34015"/>
                  </a:cubicBezTo>
                  <a:cubicBezTo>
                    <a:pt x="41574" y="34015"/>
                    <a:pt x="41574" y="34015"/>
                    <a:pt x="41574" y="34015"/>
                  </a:cubicBezTo>
                  <a:lnTo>
                    <a:pt x="41574" y="32755"/>
                  </a:lnTo>
                  <a:cubicBezTo>
                    <a:pt x="41574" y="31496"/>
                    <a:pt x="41574" y="30236"/>
                    <a:pt x="42834" y="30236"/>
                  </a:cubicBezTo>
                  <a:cubicBezTo>
                    <a:pt x="42834" y="30236"/>
                    <a:pt x="42834" y="28976"/>
                    <a:pt x="42834" y="28976"/>
                  </a:cubicBezTo>
                  <a:lnTo>
                    <a:pt x="42834" y="27716"/>
                  </a:lnTo>
                  <a:lnTo>
                    <a:pt x="42834" y="26456"/>
                  </a:lnTo>
                  <a:lnTo>
                    <a:pt x="42834" y="26456"/>
                  </a:lnTo>
                  <a:lnTo>
                    <a:pt x="42834" y="25196"/>
                  </a:lnTo>
                  <a:lnTo>
                    <a:pt x="42834" y="25196"/>
                  </a:lnTo>
                  <a:cubicBezTo>
                    <a:pt x="42834" y="25196"/>
                    <a:pt x="42834" y="25196"/>
                    <a:pt x="42834" y="25196"/>
                  </a:cubicBezTo>
                  <a:cubicBezTo>
                    <a:pt x="42834" y="23937"/>
                    <a:pt x="42834" y="23937"/>
                    <a:pt x="42834" y="22677"/>
                  </a:cubicBezTo>
                  <a:lnTo>
                    <a:pt x="42834" y="21417"/>
                  </a:lnTo>
                  <a:cubicBezTo>
                    <a:pt x="42834" y="20157"/>
                    <a:pt x="42834" y="18897"/>
                    <a:pt x="44094" y="17638"/>
                  </a:cubicBezTo>
                  <a:lnTo>
                    <a:pt x="44094" y="16378"/>
                  </a:lnTo>
                  <a:lnTo>
                    <a:pt x="44094" y="13858"/>
                  </a:lnTo>
                  <a:cubicBezTo>
                    <a:pt x="44094" y="12598"/>
                    <a:pt x="44094" y="11339"/>
                    <a:pt x="44094" y="10079"/>
                  </a:cubicBezTo>
                  <a:lnTo>
                    <a:pt x="44094" y="8819"/>
                  </a:lnTo>
                  <a:lnTo>
                    <a:pt x="44094" y="7559"/>
                  </a:lnTo>
                  <a:cubicBezTo>
                    <a:pt x="44094" y="6299"/>
                    <a:pt x="44094" y="6299"/>
                    <a:pt x="44094" y="5039"/>
                  </a:cubicBezTo>
                  <a:cubicBezTo>
                    <a:pt x="44094" y="3780"/>
                    <a:pt x="44094" y="3780"/>
                    <a:pt x="44094" y="2520"/>
                  </a:cubicBezTo>
                  <a:lnTo>
                    <a:pt x="44094" y="2520"/>
                  </a:lnTo>
                  <a:cubicBezTo>
                    <a:pt x="44094" y="2520"/>
                    <a:pt x="44094" y="1260"/>
                    <a:pt x="44094" y="1260"/>
                  </a:cubicBezTo>
                  <a:cubicBezTo>
                    <a:pt x="44094" y="1260"/>
                    <a:pt x="44094" y="1260"/>
                    <a:pt x="44094" y="1260"/>
                  </a:cubicBezTo>
                  <a:lnTo>
                    <a:pt x="44094" y="1260"/>
                  </a:lnTo>
                  <a:cubicBezTo>
                    <a:pt x="44094" y="1260"/>
                    <a:pt x="44094" y="0"/>
                    <a:pt x="44094" y="0"/>
                  </a:cubicBezTo>
                  <a:cubicBezTo>
                    <a:pt x="44094" y="0"/>
                    <a:pt x="44094" y="0"/>
                    <a:pt x="44094" y="0"/>
                  </a:cubicBezTo>
                  <a:lnTo>
                    <a:pt x="44094" y="0"/>
                  </a:lnTo>
                  <a:lnTo>
                    <a:pt x="44094" y="0"/>
                  </a:lnTo>
                  <a:lnTo>
                    <a:pt x="44094" y="0"/>
                  </a:lnTo>
                  <a:cubicBezTo>
                    <a:pt x="4409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1574" y="0"/>
                    <a:pt x="41574" y="1260"/>
                  </a:cubicBezTo>
                  <a:cubicBezTo>
                    <a:pt x="41574" y="1260"/>
                    <a:pt x="41574" y="1260"/>
                    <a:pt x="41574" y="1260"/>
                  </a:cubicBezTo>
                  <a:lnTo>
                    <a:pt x="41574" y="1260"/>
                  </a:lnTo>
                  <a:cubicBezTo>
                    <a:pt x="40314" y="1260"/>
                    <a:pt x="40314" y="2520"/>
                    <a:pt x="39054" y="2520"/>
                  </a:cubicBezTo>
                  <a:lnTo>
                    <a:pt x="39054" y="2520"/>
                  </a:lnTo>
                  <a:cubicBezTo>
                    <a:pt x="37795" y="2520"/>
                    <a:pt x="36535" y="3780"/>
                    <a:pt x="36535" y="5039"/>
                  </a:cubicBezTo>
                  <a:cubicBezTo>
                    <a:pt x="36535" y="5039"/>
                    <a:pt x="36535" y="5039"/>
                    <a:pt x="36535" y="5039"/>
                  </a:cubicBezTo>
                  <a:cubicBezTo>
                    <a:pt x="36535" y="5039"/>
                    <a:pt x="35275" y="6299"/>
                    <a:pt x="35275" y="6299"/>
                  </a:cubicBezTo>
                  <a:cubicBezTo>
                    <a:pt x="35275" y="6299"/>
                    <a:pt x="34015" y="7559"/>
                    <a:pt x="34015" y="7559"/>
                  </a:cubicBez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cubicBezTo>
                    <a:pt x="32755" y="8819"/>
                    <a:pt x="32755" y="8819"/>
                    <a:pt x="31496" y="10079"/>
                  </a:cubicBezTo>
                  <a:cubicBezTo>
                    <a:pt x="30236" y="11339"/>
                    <a:pt x="30236" y="11339"/>
                    <a:pt x="28976" y="12598"/>
                  </a:cubicBezTo>
                  <a:lnTo>
                    <a:pt x="27716" y="13858"/>
                  </a:lnTo>
                  <a:cubicBezTo>
                    <a:pt x="27716" y="13858"/>
                    <a:pt x="27716" y="13858"/>
                    <a:pt x="27716" y="13858"/>
                  </a:cubicBezTo>
                  <a:cubicBezTo>
                    <a:pt x="26456" y="15118"/>
                    <a:pt x="26456" y="15118"/>
                    <a:pt x="25196" y="16378"/>
                  </a:cubicBezTo>
                  <a:cubicBezTo>
                    <a:pt x="23937" y="16378"/>
                    <a:pt x="23937" y="17638"/>
                    <a:pt x="22677" y="17638"/>
                  </a:cubicBezTo>
                  <a:cubicBezTo>
                    <a:pt x="22677" y="17638"/>
                    <a:pt x="22677" y="17638"/>
                    <a:pt x="21417" y="18897"/>
                  </a:cubicBezTo>
                  <a:lnTo>
                    <a:pt x="21417" y="18897"/>
                  </a:lnTo>
                  <a:lnTo>
                    <a:pt x="20157" y="20157"/>
                  </a:lnTo>
                  <a:cubicBezTo>
                    <a:pt x="20157" y="20157"/>
                    <a:pt x="18897" y="21417"/>
                    <a:pt x="18897" y="21417"/>
                  </a:cubicBezTo>
                  <a:cubicBezTo>
                    <a:pt x="17637" y="22677"/>
                    <a:pt x="16378" y="23937"/>
                    <a:pt x="16378" y="25196"/>
                  </a:cubicBezTo>
                  <a:lnTo>
                    <a:pt x="15118" y="26456"/>
                  </a:lnTo>
                  <a:lnTo>
                    <a:pt x="13858" y="27716"/>
                  </a:lnTo>
                  <a:lnTo>
                    <a:pt x="13858" y="28976"/>
                  </a:lnTo>
                  <a:cubicBezTo>
                    <a:pt x="13858" y="30236"/>
                    <a:pt x="12598" y="30236"/>
                    <a:pt x="12598" y="31496"/>
                  </a:cubicBezTo>
                  <a:cubicBezTo>
                    <a:pt x="12598" y="31496"/>
                    <a:pt x="11338" y="32755"/>
                    <a:pt x="11338" y="32755"/>
                  </a:cubicBezTo>
                  <a:cubicBezTo>
                    <a:pt x="11338" y="32755"/>
                    <a:pt x="10079" y="34015"/>
                    <a:pt x="10079" y="34015"/>
                  </a:cubicBezTo>
                  <a:cubicBezTo>
                    <a:pt x="10079" y="34015"/>
                    <a:pt x="8819" y="35275"/>
                    <a:pt x="8819" y="35275"/>
                  </a:cubicBezTo>
                  <a:lnTo>
                    <a:pt x="7559" y="36535"/>
                  </a:lnTo>
                  <a:lnTo>
                    <a:pt x="7559" y="37795"/>
                  </a:lnTo>
                  <a:lnTo>
                    <a:pt x="7559" y="37795"/>
                  </a:lnTo>
                  <a:lnTo>
                    <a:pt x="7559" y="37795"/>
                  </a:lnTo>
                  <a:cubicBezTo>
                    <a:pt x="6299" y="39055"/>
                    <a:pt x="6299" y="39055"/>
                    <a:pt x="5039" y="40315"/>
                  </a:cubicBezTo>
                  <a:cubicBezTo>
                    <a:pt x="5039" y="40315"/>
                    <a:pt x="5039" y="40315"/>
                    <a:pt x="5039" y="40315"/>
                  </a:cubicBezTo>
                  <a:cubicBezTo>
                    <a:pt x="5039" y="40315"/>
                    <a:pt x="3780" y="41574"/>
                    <a:pt x="3780" y="41574"/>
                  </a:cubicBezTo>
                  <a:cubicBezTo>
                    <a:pt x="3780" y="41574"/>
                    <a:pt x="3780" y="41574"/>
                    <a:pt x="3780" y="41574"/>
                  </a:cubicBezTo>
                  <a:cubicBezTo>
                    <a:pt x="2520" y="42834"/>
                    <a:pt x="2520" y="42834"/>
                    <a:pt x="1260" y="4409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7873"/>
                    <a:pt x="0" y="47873"/>
                  </a:cubicBezTo>
                  <a:cubicBezTo>
                    <a:pt x="8819" y="42834"/>
                    <a:pt x="8819" y="44094"/>
                    <a:pt x="8819" y="44094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/>
            <p:cNvSpPr/>
            <p:nvPr/>
          </p:nvSpPr>
          <p:spPr>
            <a:xfrm>
              <a:off x="8140176" y="4076738"/>
              <a:ext cx="248830" cy="257410"/>
            </a:xfrm>
            <a:custGeom>
              <a:avLst/>
              <a:gdLst>
                <a:gd name="connsiteX0" fmla="*/ 287240 w 365348"/>
                <a:gd name="connsiteY0" fmla="*/ 371648 h 377946"/>
                <a:gd name="connsiteX1" fmla="*/ 289759 w 365348"/>
                <a:gd name="connsiteY1" fmla="*/ 374167 h 377946"/>
                <a:gd name="connsiteX2" fmla="*/ 289759 w 365348"/>
                <a:gd name="connsiteY2" fmla="*/ 374167 h 377946"/>
                <a:gd name="connsiteX3" fmla="*/ 294799 w 365348"/>
                <a:gd name="connsiteY3" fmla="*/ 376687 h 377946"/>
                <a:gd name="connsiteX4" fmla="*/ 299838 w 365348"/>
                <a:gd name="connsiteY4" fmla="*/ 379207 h 377946"/>
                <a:gd name="connsiteX5" fmla="*/ 304877 w 365348"/>
                <a:gd name="connsiteY5" fmla="*/ 380467 h 377946"/>
                <a:gd name="connsiteX6" fmla="*/ 306137 w 365348"/>
                <a:gd name="connsiteY6" fmla="*/ 380467 h 377946"/>
                <a:gd name="connsiteX7" fmla="*/ 311176 w 365348"/>
                <a:gd name="connsiteY7" fmla="*/ 381726 h 377946"/>
                <a:gd name="connsiteX8" fmla="*/ 312436 w 365348"/>
                <a:gd name="connsiteY8" fmla="*/ 381726 h 377946"/>
                <a:gd name="connsiteX9" fmla="*/ 314956 w 365348"/>
                <a:gd name="connsiteY9" fmla="*/ 381726 h 377946"/>
                <a:gd name="connsiteX10" fmla="*/ 314956 w 365348"/>
                <a:gd name="connsiteY10" fmla="*/ 381726 h 377946"/>
                <a:gd name="connsiteX11" fmla="*/ 314956 w 365348"/>
                <a:gd name="connsiteY11" fmla="*/ 381726 h 377946"/>
                <a:gd name="connsiteX12" fmla="*/ 314956 w 365348"/>
                <a:gd name="connsiteY12" fmla="*/ 381726 h 377946"/>
                <a:gd name="connsiteX13" fmla="*/ 314956 w 365348"/>
                <a:gd name="connsiteY13" fmla="*/ 381726 h 377946"/>
                <a:gd name="connsiteX14" fmla="*/ 314956 w 365348"/>
                <a:gd name="connsiteY14" fmla="*/ 381726 h 377946"/>
                <a:gd name="connsiteX15" fmla="*/ 314956 w 365348"/>
                <a:gd name="connsiteY15" fmla="*/ 381726 h 377946"/>
                <a:gd name="connsiteX16" fmla="*/ 314956 w 365348"/>
                <a:gd name="connsiteY16" fmla="*/ 381726 h 377946"/>
                <a:gd name="connsiteX17" fmla="*/ 314956 w 365348"/>
                <a:gd name="connsiteY17" fmla="*/ 381726 h 377946"/>
                <a:gd name="connsiteX18" fmla="*/ 314956 w 365348"/>
                <a:gd name="connsiteY18" fmla="*/ 381726 h 377946"/>
                <a:gd name="connsiteX19" fmla="*/ 322515 w 365348"/>
                <a:gd name="connsiteY19" fmla="*/ 379207 h 377946"/>
                <a:gd name="connsiteX20" fmla="*/ 325034 w 365348"/>
                <a:gd name="connsiteY20" fmla="*/ 377947 h 377946"/>
                <a:gd name="connsiteX21" fmla="*/ 325034 w 365348"/>
                <a:gd name="connsiteY21" fmla="*/ 377947 h 377946"/>
                <a:gd name="connsiteX22" fmla="*/ 325034 w 365348"/>
                <a:gd name="connsiteY22" fmla="*/ 377947 h 377946"/>
                <a:gd name="connsiteX23" fmla="*/ 326294 w 365348"/>
                <a:gd name="connsiteY23" fmla="*/ 377947 h 377946"/>
                <a:gd name="connsiteX24" fmla="*/ 333853 w 365348"/>
                <a:gd name="connsiteY24" fmla="*/ 375427 h 377946"/>
                <a:gd name="connsiteX25" fmla="*/ 335113 w 365348"/>
                <a:gd name="connsiteY25" fmla="*/ 375427 h 377946"/>
                <a:gd name="connsiteX26" fmla="*/ 337633 w 365348"/>
                <a:gd name="connsiteY26" fmla="*/ 374167 h 377946"/>
                <a:gd name="connsiteX27" fmla="*/ 337633 w 365348"/>
                <a:gd name="connsiteY27" fmla="*/ 374167 h 377946"/>
                <a:gd name="connsiteX28" fmla="*/ 338892 w 365348"/>
                <a:gd name="connsiteY28" fmla="*/ 374167 h 377946"/>
                <a:gd name="connsiteX29" fmla="*/ 343932 w 365348"/>
                <a:gd name="connsiteY29" fmla="*/ 371648 h 377946"/>
                <a:gd name="connsiteX30" fmla="*/ 346452 w 365348"/>
                <a:gd name="connsiteY30" fmla="*/ 370388 h 377946"/>
                <a:gd name="connsiteX31" fmla="*/ 347711 w 365348"/>
                <a:gd name="connsiteY31" fmla="*/ 369128 h 377946"/>
                <a:gd name="connsiteX32" fmla="*/ 347711 w 365348"/>
                <a:gd name="connsiteY32" fmla="*/ 369128 h 377946"/>
                <a:gd name="connsiteX33" fmla="*/ 347711 w 365348"/>
                <a:gd name="connsiteY33" fmla="*/ 369128 h 377946"/>
                <a:gd name="connsiteX34" fmla="*/ 348971 w 365348"/>
                <a:gd name="connsiteY34" fmla="*/ 367868 h 377946"/>
                <a:gd name="connsiteX35" fmla="*/ 354010 w 365348"/>
                <a:gd name="connsiteY35" fmla="*/ 362829 h 377946"/>
                <a:gd name="connsiteX36" fmla="*/ 354010 w 365348"/>
                <a:gd name="connsiteY36" fmla="*/ 362829 h 377946"/>
                <a:gd name="connsiteX37" fmla="*/ 354010 w 365348"/>
                <a:gd name="connsiteY37" fmla="*/ 362829 h 377946"/>
                <a:gd name="connsiteX38" fmla="*/ 354010 w 365348"/>
                <a:gd name="connsiteY38" fmla="*/ 362829 h 377946"/>
                <a:gd name="connsiteX39" fmla="*/ 354010 w 365348"/>
                <a:gd name="connsiteY39" fmla="*/ 362829 h 377946"/>
                <a:gd name="connsiteX40" fmla="*/ 355270 w 365348"/>
                <a:gd name="connsiteY40" fmla="*/ 361569 h 377946"/>
                <a:gd name="connsiteX41" fmla="*/ 355270 w 365348"/>
                <a:gd name="connsiteY41" fmla="*/ 361569 h 377946"/>
                <a:gd name="connsiteX42" fmla="*/ 355270 w 365348"/>
                <a:gd name="connsiteY42" fmla="*/ 361569 h 377946"/>
                <a:gd name="connsiteX43" fmla="*/ 355270 w 365348"/>
                <a:gd name="connsiteY43" fmla="*/ 361569 h 377946"/>
                <a:gd name="connsiteX44" fmla="*/ 356530 w 365348"/>
                <a:gd name="connsiteY44" fmla="*/ 359050 h 377946"/>
                <a:gd name="connsiteX45" fmla="*/ 357790 w 365348"/>
                <a:gd name="connsiteY45" fmla="*/ 356530 h 377946"/>
                <a:gd name="connsiteX46" fmla="*/ 360309 w 365348"/>
                <a:gd name="connsiteY46" fmla="*/ 351491 h 377946"/>
                <a:gd name="connsiteX47" fmla="*/ 361569 w 365348"/>
                <a:gd name="connsiteY47" fmla="*/ 348971 h 377946"/>
                <a:gd name="connsiteX48" fmla="*/ 364089 w 365348"/>
                <a:gd name="connsiteY48" fmla="*/ 342672 h 377946"/>
                <a:gd name="connsiteX49" fmla="*/ 365349 w 365348"/>
                <a:gd name="connsiteY49" fmla="*/ 338892 h 377946"/>
                <a:gd name="connsiteX50" fmla="*/ 365349 w 365348"/>
                <a:gd name="connsiteY50" fmla="*/ 338892 h 377946"/>
                <a:gd name="connsiteX51" fmla="*/ 365349 w 365348"/>
                <a:gd name="connsiteY51" fmla="*/ 337633 h 377946"/>
                <a:gd name="connsiteX52" fmla="*/ 365349 w 365348"/>
                <a:gd name="connsiteY52" fmla="*/ 337633 h 377946"/>
                <a:gd name="connsiteX53" fmla="*/ 369128 w 365348"/>
                <a:gd name="connsiteY53" fmla="*/ 322515 h 377946"/>
                <a:gd name="connsiteX54" fmla="*/ 369128 w 365348"/>
                <a:gd name="connsiteY54" fmla="*/ 319995 h 377946"/>
                <a:gd name="connsiteX55" fmla="*/ 369128 w 365348"/>
                <a:gd name="connsiteY55" fmla="*/ 317475 h 377946"/>
                <a:gd name="connsiteX56" fmla="*/ 369128 w 365348"/>
                <a:gd name="connsiteY56" fmla="*/ 311176 h 377946"/>
                <a:gd name="connsiteX57" fmla="*/ 369128 w 365348"/>
                <a:gd name="connsiteY57" fmla="*/ 309916 h 377946"/>
                <a:gd name="connsiteX58" fmla="*/ 369128 w 365348"/>
                <a:gd name="connsiteY58" fmla="*/ 309916 h 377946"/>
                <a:gd name="connsiteX59" fmla="*/ 369128 w 365348"/>
                <a:gd name="connsiteY59" fmla="*/ 309916 h 377946"/>
                <a:gd name="connsiteX60" fmla="*/ 369128 w 365348"/>
                <a:gd name="connsiteY60" fmla="*/ 303617 h 377946"/>
                <a:gd name="connsiteX61" fmla="*/ 369128 w 365348"/>
                <a:gd name="connsiteY61" fmla="*/ 302358 h 377946"/>
                <a:gd name="connsiteX62" fmla="*/ 369128 w 365348"/>
                <a:gd name="connsiteY62" fmla="*/ 302358 h 377946"/>
                <a:gd name="connsiteX63" fmla="*/ 369128 w 365348"/>
                <a:gd name="connsiteY63" fmla="*/ 301098 h 377946"/>
                <a:gd name="connsiteX64" fmla="*/ 369128 w 365348"/>
                <a:gd name="connsiteY64" fmla="*/ 301098 h 377946"/>
                <a:gd name="connsiteX65" fmla="*/ 369128 w 365348"/>
                <a:gd name="connsiteY65" fmla="*/ 301098 h 377946"/>
                <a:gd name="connsiteX66" fmla="*/ 369128 w 365348"/>
                <a:gd name="connsiteY66" fmla="*/ 301098 h 377946"/>
                <a:gd name="connsiteX67" fmla="*/ 369128 w 365348"/>
                <a:gd name="connsiteY67" fmla="*/ 301098 h 377946"/>
                <a:gd name="connsiteX68" fmla="*/ 369128 w 365348"/>
                <a:gd name="connsiteY68" fmla="*/ 296058 h 377946"/>
                <a:gd name="connsiteX69" fmla="*/ 369128 w 365348"/>
                <a:gd name="connsiteY69" fmla="*/ 293539 h 377946"/>
                <a:gd name="connsiteX70" fmla="*/ 369128 w 365348"/>
                <a:gd name="connsiteY70" fmla="*/ 291019 h 377946"/>
                <a:gd name="connsiteX71" fmla="*/ 369128 w 365348"/>
                <a:gd name="connsiteY71" fmla="*/ 288499 h 377946"/>
                <a:gd name="connsiteX72" fmla="*/ 369128 w 365348"/>
                <a:gd name="connsiteY72" fmla="*/ 288499 h 377946"/>
                <a:gd name="connsiteX73" fmla="*/ 369128 w 365348"/>
                <a:gd name="connsiteY73" fmla="*/ 287240 h 377946"/>
                <a:gd name="connsiteX74" fmla="*/ 367868 w 365348"/>
                <a:gd name="connsiteY74" fmla="*/ 280940 h 377946"/>
                <a:gd name="connsiteX75" fmla="*/ 367868 w 365348"/>
                <a:gd name="connsiteY75" fmla="*/ 280940 h 377946"/>
                <a:gd name="connsiteX76" fmla="*/ 367868 w 365348"/>
                <a:gd name="connsiteY76" fmla="*/ 279681 h 377946"/>
                <a:gd name="connsiteX77" fmla="*/ 365349 w 365348"/>
                <a:gd name="connsiteY77" fmla="*/ 274641 h 377946"/>
                <a:gd name="connsiteX78" fmla="*/ 364089 w 365348"/>
                <a:gd name="connsiteY78" fmla="*/ 270862 h 377946"/>
                <a:gd name="connsiteX79" fmla="*/ 364089 w 365348"/>
                <a:gd name="connsiteY79" fmla="*/ 270862 h 377946"/>
                <a:gd name="connsiteX80" fmla="*/ 364089 w 365348"/>
                <a:gd name="connsiteY80" fmla="*/ 270862 h 377946"/>
                <a:gd name="connsiteX81" fmla="*/ 364089 w 365348"/>
                <a:gd name="connsiteY81" fmla="*/ 269602 h 377946"/>
                <a:gd name="connsiteX82" fmla="*/ 357790 w 365348"/>
                <a:gd name="connsiteY82" fmla="*/ 255744 h 377946"/>
                <a:gd name="connsiteX83" fmla="*/ 356530 w 365348"/>
                <a:gd name="connsiteY83" fmla="*/ 253224 h 377946"/>
                <a:gd name="connsiteX84" fmla="*/ 356530 w 365348"/>
                <a:gd name="connsiteY84" fmla="*/ 253224 h 377946"/>
                <a:gd name="connsiteX85" fmla="*/ 356530 w 365348"/>
                <a:gd name="connsiteY85" fmla="*/ 253224 h 377946"/>
                <a:gd name="connsiteX86" fmla="*/ 356530 w 365348"/>
                <a:gd name="connsiteY86" fmla="*/ 253224 h 377946"/>
                <a:gd name="connsiteX87" fmla="*/ 356530 w 365348"/>
                <a:gd name="connsiteY87" fmla="*/ 253224 h 377946"/>
                <a:gd name="connsiteX88" fmla="*/ 355270 w 365348"/>
                <a:gd name="connsiteY88" fmla="*/ 249445 h 377946"/>
                <a:gd name="connsiteX89" fmla="*/ 355270 w 365348"/>
                <a:gd name="connsiteY89" fmla="*/ 248185 h 377946"/>
                <a:gd name="connsiteX90" fmla="*/ 354010 w 365348"/>
                <a:gd name="connsiteY90" fmla="*/ 246925 h 377946"/>
                <a:gd name="connsiteX91" fmla="*/ 354010 w 365348"/>
                <a:gd name="connsiteY91" fmla="*/ 246925 h 377946"/>
                <a:gd name="connsiteX92" fmla="*/ 348971 w 365348"/>
                <a:gd name="connsiteY92" fmla="*/ 238107 h 377946"/>
                <a:gd name="connsiteX93" fmla="*/ 347711 w 365348"/>
                <a:gd name="connsiteY93" fmla="*/ 236847 h 377946"/>
                <a:gd name="connsiteX94" fmla="*/ 345192 w 365348"/>
                <a:gd name="connsiteY94" fmla="*/ 233067 h 377946"/>
                <a:gd name="connsiteX95" fmla="*/ 345192 w 365348"/>
                <a:gd name="connsiteY95" fmla="*/ 233067 h 377946"/>
                <a:gd name="connsiteX96" fmla="*/ 343932 w 365348"/>
                <a:gd name="connsiteY96" fmla="*/ 231807 h 377946"/>
                <a:gd name="connsiteX97" fmla="*/ 340152 w 365348"/>
                <a:gd name="connsiteY97" fmla="*/ 225508 h 377946"/>
                <a:gd name="connsiteX98" fmla="*/ 340152 w 365348"/>
                <a:gd name="connsiteY98" fmla="*/ 225508 h 377946"/>
                <a:gd name="connsiteX99" fmla="*/ 337633 w 365348"/>
                <a:gd name="connsiteY99" fmla="*/ 221729 h 377946"/>
                <a:gd name="connsiteX100" fmla="*/ 330074 w 365348"/>
                <a:gd name="connsiteY100" fmla="*/ 210390 h 377946"/>
                <a:gd name="connsiteX101" fmla="*/ 330074 w 365348"/>
                <a:gd name="connsiteY101" fmla="*/ 210390 h 377946"/>
                <a:gd name="connsiteX102" fmla="*/ 326294 w 365348"/>
                <a:gd name="connsiteY102" fmla="*/ 205351 h 377946"/>
                <a:gd name="connsiteX103" fmla="*/ 323775 w 365348"/>
                <a:gd name="connsiteY103" fmla="*/ 201572 h 377946"/>
                <a:gd name="connsiteX104" fmla="*/ 318735 w 365348"/>
                <a:gd name="connsiteY104" fmla="*/ 195273 h 377946"/>
                <a:gd name="connsiteX105" fmla="*/ 303617 w 365348"/>
                <a:gd name="connsiteY105" fmla="*/ 177635 h 377946"/>
                <a:gd name="connsiteX106" fmla="*/ 301098 w 365348"/>
                <a:gd name="connsiteY106" fmla="*/ 175115 h 377946"/>
                <a:gd name="connsiteX107" fmla="*/ 301098 w 365348"/>
                <a:gd name="connsiteY107" fmla="*/ 175115 h 377946"/>
                <a:gd name="connsiteX108" fmla="*/ 301098 w 365348"/>
                <a:gd name="connsiteY108" fmla="*/ 175115 h 377946"/>
                <a:gd name="connsiteX109" fmla="*/ 299838 w 365348"/>
                <a:gd name="connsiteY109" fmla="*/ 172596 h 377946"/>
                <a:gd name="connsiteX110" fmla="*/ 298578 w 365348"/>
                <a:gd name="connsiteY110" fmla="*/ 171336 h 377946"/>
                <a:gd name="connsiteX111" fmla="*/ 296059 w 365348"/>
                <a:gd name="connsiteY111" fmla="*/ 168816 h 377946"/>
                <a:gd name="connsiteX112" fmla="*/ 277161 w 365348"/>
                <a:gd name="connsiteY112" fmla="*/ 149919 h 377946"/>
                <a:gd name="connsiteX113" fmla="*/ 269602 w 365348"/>
                <a:gd name="connsiteY113" fmla="*/ 143620 h 377946"/>
                <a:gd name="connsiteX114" fmla="*/ 260783 w 365348"/>
                <a:gd name="connsiteY114" fmla="*/ 136061 h 377946"/>
                <a:gd name="connsiteX115" fmla="*/ 260783 w 365348"/>
                <a:gd name="connsiteY115" fmla="*/ 136061 h 377946"/>
                <a:gd name="connsiteX116" fmla="*/ 260783 w 365348"/>
                <a:gd name="connsiteY116" fmla="*/ 136061 h 377946"/>
                <a:gd name="connsiteX117" fmla="*/ 260783 w 365348"/>
                <a:gd name="connsiteY117" fmla="*/ 136061 h 377946"/>
                <a:gd name="connsiteX118" fmla="*/ 260783 w 365348"/>
                <a:gd name="connsiteY118" fmla="*/ 136061 h 377946"/>
                <a:gd name="connsiteX119" fmla="*/ 243146 w 365348"/>
                <a:gd name="connsiteY119" fmla="*/ 119683 h 377946"/>
                <a:gd name="connsiteX120" fmla="*/ 216690 w 365348"/>
                <a:gd name="connsiteY120" fmla="*/ 95746 h 377946"/>
                <a:gd name="connsiteX121" fmla="*/ 201572 w 365348"/>
                <a:gd name="connsiteY121" fmla="*/ 83148 h 377946"/>
                <a:gd name="connsiteX122" fmla="*/ 192753 w 365348"/>
                <a:gd name="connsiteY122" fmla="*/ 76849 h 377946"/>
                <a:gd name="connsiteX123" fmla="*/ 186454 w 365348"/>
                <a:gd name="connsiteY123" fmla="*/ 71810 h 377946"/>
                <a:gd name="connsiteX124" fmla="*/ 182674 w 365348"/>
                <a:gd name="connsiteY124" fmla="*/ 69290 h 377946"/>
                <a:gd name="connsiteX125" fmla="*/ 170076 w 365348"/>
                <a:gd name="connsiteY125" fmla="*/ 59212 h 377946"/>
                <a:gd name="connsiteX126" fmla="*/ 168816 w 365348"/>
                <a:gd name="connsiteY126" fmla="*/ 57952 h 377946"/>
                <a:gd name="connsiteX127" fmla="*/ 166297 w 365348"/>
                <a:gd name="connsiteY127" fmla="*/ 55432 h 377946"/>
                <a:gd name="connsiteX128" fmla="*/ 162517 w 365348"/>
                <a:gd name="connsiteY128" fmla="*/ 51653 h 377946"/>
                <a:gd name="connsiteX129" fmla="*/ 156218 w 365348"/>
                <a:gd name="connsiteY129" fmla="*/ 45354 h 377946"/>
                <a:gd name="connsiteX130" fmla="*/ 156218 w 365348"/>
                <a:gd name="connsiteY130" fmla="*/ 45354 h 377946"/>
                <a:gd name="connsiteX131" fmla="*/ 156218 w 365348"/>
                <a:gd name="connsiteY131" fmla="*/ 45354 h 377946"/>
                <a:gd name="connsiteX132" fmla="*/ 156218 w 365348"/>
                <a:gd name="connsiteY132" fmla="*/ 45354 h 377946"/>
                <a:gd name="connsiteX133" fmla="*/ 156218 w 365348"/>
                <a:gd name="connsiteY133" fmla="*/ 45354 h 377946"/>
                <a:gd name="connsiteX134" fmla="*/ 156218 w 365348"/>
                <a:gd name="connsiteY134" fmla="*/ 45354 h 377946"/>
                <a:gd name="connsiteX135" fmla="*/ 156218 w 365348"/>
                <a:gd name="connsiteY135" fmla="*/ 45354 h 377946"/>
                <a:gd name="connsiteX136" fmla="*/ 156218 w 365348"/>
                <a:gd name="connsiteY136" fmla="*/ 45354 h 377946"/>
                <a:gd name="connsiteX137" fmla="*/ 156218 w 365348"/>
                <a:gd name="connsiteY137" fmla="*/ 45354 h 377946"/>
                <a:gd name="connsiteX138" fmla="*/ 152439 w 365348"/>
                <a:gd name="connsiteY138" fmla="*/ 42834 h 377946"/>
                <a:gd name="connsiteX139" fmla="*/ 151179 w 365348"/>
                <a:gd name="connsiteY139" fmla="*/ 42834 h 377946"/>
                <a:gd name="connsiteX140" fmla="*/ 151179 w 365348"/>
                <a:gd name="connsiteY140" fmla="*/ 42834 h 377946"/>
                <a:gd name="connsiteX141" fmla="*/ 151179 w 365348"/>
                <a:gd name="connsiteY141" fmla="*/ 42834 h 377946"/>
                <a:gd name="connsiteX142" fmla="*/ 151179 w 365348"/>
                <a:gd name="connsiteY142" fmla="*/ 42834 h 377946"/>
                <a:gd name="connsiteX143" fmla="*/ 151179 w 365348"/>
                <a:gd name="connsiteY143" fmla="*/ 42834 h 377946"/>
                <a:gd name="connsiteX144" fmla="*/ 151179 w 365348"/>
                <a:gd name="connsiteY144" fmla="*/ 42834 h 377946"/>
                <a:gd name="connsiteX145" fmla="*/ 151179 w 365348"/>
                <a:gd name="connsiteY145" fmla="*/ 42834 h 377946"/>
                <a:gd name="connsiteX146" fmla="*/ 151179 w 365348"/>
                <a:gd name="connsiteY146" fmla="*/ 42834 h 377946"/>
                <a:gd name="connsiteX147" fmla="*/ 151179 w 365348"/>
                <a:gd name="connsiteY147" fmla="*/ 42834 h 377946"/>
                <a:gd name="connsiteX148" fmla="*/ 151179 w 365348"/>
                <a:gd name="connsiteY148" fmla="*/ 42834 h 377946"/>
                <a:gd name="connsiteX149" fmla="*/ 151179 w 365348"/>
                <a:gd name="connsiteY149" fmla="*/ 42834 h 377946"/>
                <a:gd name="connsiteX150" fmla="*/ 138581 w 365348"/>
                <a:gd name="connsiteY150" fmla="*/ 34015 h 377946"/>
                <a:gd name="connsiteX151" fmla="*/ 133541 w 365348"/>
                <a:gd name="connsiteY151" fmla="*/ 30236 h 377946"/>
                <a:gd name="connsiteX152" fmla="*/ 128502 w 365348"/>
                <a:gd name="connsiteY152" fmla="*/ 26456 h 377946"/>
                <a:gd name="connsiteX153" fmla="*/ 119683 w 365348"/>
                <a:gd name="connsiteY153" fmla="*/ 21417 h 377946"/>
                <a:gd name="connsiteX154" fmla="*/ 119683 w 365348"/>
                <a:gd name="connsiteY154" fmla="*/ 21417 h 377946"/>
                <a:gd name="connsiteX155" fmla="*/ 119683 w 365348"/>
                <a:gd name="connsiteY155" fmla="*/ 21417 h 377946"/>
                <a:gd name="connsiteX156" fmla="*/ 115904 w 365348"/>
                <a:gd name="connsiteY156" fmla="*/ 20157 h 377946"/>
                <a:gd name="connsiteX157" fmla="*/ 109605 w 365348"/>
                <a:gd name="connsiteY157" fmla="*/ 16378 h 377946"/>
                <a:gd name="connsiteX158" fmla="*/ 109605 w 365348"/>
                <a:gd name="connsiteY158" fmla="*/ 16378 h 377946"/>
                <a:gd name="connsiteX159" fmla="*/ 105825 w 365348"/>
                <a:gd name="connsiteY159" fmla="*/ 13858 h 377946"/>
                <a:gd name="connsiteX160" fmla="*/ 91967 w 365348"/>
                <a:gd name="connsiteY160" fmla="*/ 7559 h 377946"/>
                <a:gd name="connsiteX161" fmla="*/ 69290 w 365348"/>
                <a:gd name="connsiteY161" fmla="*/ 1260 h 377946"/>
                <a:gd name="connsiteX162" fmla="*/ 55432 w 365348"/>
                <a:gd name="connsiteY162" fmla="*/ 0 h 377946"/>
                <a:gd name="connsiteX163" fmla="*/ 42834 w 365348"/>
                <a:gd name="connsiteY163" fmla="*/ 0 h 377946"/>
                <a:gd name="connsiteX164" fmla="*/ 41574 w 365348"/>
                <a:gd name="connsiteY164" fmla="*/ 0 h 377946"/>
                <a:gd name="connsiteX165" fmla="*/ 35275 w 365348"/>
                <a:gd name="connsiteY165" fmla="*/ 1260 h 377946"/>
                <a:gd name="connsiteX166" fmla="*/ 26456 w 365348"/>
                <a:gd name="connsiteY166" fmla="*/ 5039 h 377946"/>
                <a:gd name="connsiteX167" fmla="*/ 25196 w 365348"/>
                <a:gd name="connsiteY167" fmla="*/ 6299 h 377946"/>
                <a:gd name="connsiteX168" fmla="*/ 21417 w 365348"/>
                <a:gd name="connsiteY168" fmla="*/ 7559 h 377946"/>
                <a:gd name="connsiteX169" fmla="*/ 20157 w 365348"/>
                <a:gd name="connsiteY169" fmla="*/ 8819 h 377946"/>
                <a:gd name="connsiteX170" fmla="*/ 17638 w 365348"/>
                <a:gd name="connsiteY170" fmla="*/ 10078 h 377946"/>
                <a:gd name="connsiteX171" fmla="*/ 13858 w 365348"/>
                <a:gd name="connsiteY171" fmla="*/ 13858 h 377946"/>
                <a:gd name="connsiteX172" fmla="*/ 7559 w 365348"/>
                <a:gd name="connsiteY172" fmla="*/ 25196 h 377946"/>
                <a:gd name="connsiteX173" fmla="*/ 3780 w 365348"/>
                <a:gd name="connsiteY173" fmla="*/ 35275 h 377946"/>
                <a:gd name="connsiteX174" fmla="*/ 3780 w 365348"/>
                <a:gd name="connsiteY174" fmla="*/ 35275 h 377946"/>
                <a:gd name="connsiteX175" fmla="*/ 1260 w 365348"/>
                <a:gd name="connsiteY175" fmla="*/ 42834 h 377946"/>
                <a:gd name="connsiteX176" fmla="*/ 0 w 365348"/>
                <a:gd name="connsiteY176" fmla="*/ 61731 h 377946"/>
                <a:gd name="connsiteX177" fmla="*/ 1260 w 365348"/>
                <a:gd name="connsiteY177" fmla="*/ 80629 h 377946"/>
                <a:gd name="connsiteX178" fmla="*/ 1260 w 365348"/>
                <a:gd name="connsiteY178" fmla="*/ 80629 h 377946"/>
                <a:gd name="connsiteX179" fmla="*/ 1260 w 365348"/>
                <a:gd name="connsiteY179" fmla="*/ 80629 h 377946"/>
                <a:gd name="connsiteX180" fmla="*/ 1260 w 365348"/>
                <a:gd name="connsiteY180" fmla="*/ 80629 h 377946"/>
                <a:gd name="connsiteX181" fmla="*/ 1260 w 365348"/>
                <a:gd name="connsiteY181" fmla="*/ 80629 h 377946"/>
                <a:gd name="connsiteX182" fmla="*/ 1260 w 365348"/>
                <a:gd name="connsiteY182" fmla="*/ 80629 h 377946"/>
                <a:gd name="connsiteX183" fmla="*/ 2520 w 365348"/>
                <a:gd name="connsiteY183" fmla="*/ 86928 h 377946"/>
                <a:gd name="connsiteX184" fmla="*/ 7559 w 365348"/>
                <a:gd name="connsiteY184" fmla="*/ 102046 h 377946"/>
                <a:gd name="connsiteX185" fmla="*/ 10079 w 365348"/>
                <a:gd name="connsiteY185" fmla="*/ 105825 h 377946"/>
                <a:gd name="connsiteX186" fmla="*/ 21417 w 365348"/>
                <a:gd name="connsiteY186" fmla="*/ 119683 h 377946"/>
                <a:gd name="connsiteX187" fmla="*/ 34015 w 365348"/>
                <a:gd name="connsiteY187" fmla="*/ 132281 h 377946"/>
                <a:gd name="connsiteX188" fmla="*/ 34015 w 365348"/>
                <a:gd name="connsiteY188" fmla="*/ 132281 h 377946"/>
                <a:gd name="connsiteX189" fmla="*/ 46614 w 365348"/>
                <a:gd name="connsiteY189" fmla="*/ 143620 h 377946"/>
                <a:gd name="connsiteX190" fmla="*/ 60472 w 365348"/>
                <a:gd name="connsiteY190" fmla="*/ 156218 h 377946"/>
                <a:gd name="connsiteX191" fmla="*/ 71810 w 365348"/>
                <a:gd name="connsiteY191" fmla="*/ 167556 h 377946"/>
                <a:gd name="connsiteX192" fmla="*/ 73070 w 365348"/>
                <a:gd name="connsiteY192" fmla="*/ 168816 h 377946"/>
                <a:gd name="connsiteX193" fmla="*/ 75589 w 365348"/>
                <a:gd name="connsiteY193" fmla="*/ 171336 h 377946"/>
                <a:gd name="connsiteX194" fmla="*/ 99526 w 365348"/>
                <a:gd name="connsiteY194" fmla="*/ 192753 h 377946"/>
                <a:gd name="connsiteX195" fmla="*/ 113384 w 365348"/>
                <a:gd name="connsiteY195" fmla="*/ 204091 h 377946"/>
                <a:gd name="connsiteX196" fmla="*/ 125982 w 365348"/>
                <a:gd name="connsiteY196" fmla="*/ 214170 h 377946"/>
                <a:gd name="connsiteX197" fmla="*/ 128502 w 365348"/>
                <a:gd name="connsiteY197" fmla="*/ 215430 h 377946"/>
                <a:gd name="connsiteX198" fmla="*/ 133541 w 365348"/>
                <a:gd name="connsiteY198" fmla="*/ 220469 h 377946"/>
                <a:gd name="connsiteX199" fmla="*/ 141100 w 365348"/>
                <a:gd name="connsiteY199" fmla="*/ 226768 h 377946"/>
                <a:gd name="connsiteX200" fmla="*/ 157478 w 365348"/>
                <a:gd name="connsiteY200" fmla="*/ 239366 h 377946"/>
                <a:gd name="connsiteX201" fmla="*/ 171336 w 365348"/>
                <a:gd name="connsiteY201" fmla="*/ 248185 h 377946"/>
                <a:gd name="connsiteX202" fmla="*/ 186454 w 365348"/>
                <a:gd name="connsiteY202" fmla="*/ 258264 h 377946"/>
                <a:gd name="connsiteX203" fmla="*/ 196532 w 365348"/>
                <a:gd name="connsiteY203" fmla="*/ 265823 h 377946"/>
                <a:gd name="connsiteX204" fmla="*/ 199052 w 365348"/>
                <a:gd name="connsiteY204" fmla="*/ 268342 h 377946"/>
                <a:gd name="connsiteX205" fmla="*/ 205351 w 365348"/>
                <a:gd name="connsiteY205" fmla="*/ 273382 h 377946"/>
                <a:gd name="connsiteX206" fmla="*/ 212910 w 365348"/>
                <a:gd name="connsiteY206" fmla="*/ 279681 h 377946"/>
                <a:gd name="connsiteX207" fmla="*/ 214170 w 365348"/>
                <a:gd name="connsiteY207" fmla="*/ 279681 h 377946"/>
                <a:gd name="connsiteX208" fmla="*/ 228028 w 365348"/>
                <a:gd name="connsiteY208" fmla="*/ 291019 h 377946"/>
                <a:gd name="connsiteX209" fmla="*/ 241886 w 365348"/>
                <a:gd name="connsiteY209" fmla="*/ 303617 h 377946"/>
                <a:gd name="connsiteX210" fmla="*/ 246925 w 365348"/>
                <a:gd name="connsiteY210" fmla="*/ 309916 h 377946"/>
                <a:gd name="connsiteX211" fmla="*/ 250705 w 365348"/>
                <a:gd name="connsiteY211" fmla="*/ 316216 h 377946"/>
                <a:gd name="connsiteX212" fmla="*/ 253224 w 365348"/>
                <a:gd name="connsiteY212" fmla="*/ 322515 h 377946"/>
                <a:gd name="connsiteX213" fmla="*/ 253224 w 365348"/>
                <a:gd name="connsiteY213" fmla="*/ 323775 h 377946"/>
                <a:gd name="connsiteX214" fmla="*/ 260783 w 365348"/>
                <a:gd name="connsiteY214" fmla="*/ 338892 h 377946"/>
                <a:gd name="connsiteX215" fmla="*/ 260783 w 365348"/>
                <a:gd name="connsiteY215" fmla="*/ 338892 h 377946"/>
                <a:gd name="connsiteX216" fmla="*/ 264563 w 365348"/>
                <a:gd name="connsiteY216" fmla="*/ 346451 h 377946"/>
                <a:gd name="connsiteX217" fmla="*/ 267083 w 365348"/>
                <a:gd name="connsiteY217" fmla="*/ 351491 h 377946"/>
                <a:gd name="connsiteX218" fmla="*/ 268342 w 365348"/>
                <a:gd name="connsiteY218" fmla="*/ 354010 h 377946"/>
                <a:gd name="connsiteX219" fmla="*/ 270862 w 365348"/>
                <a:gd name="connsiteY219" fmla="*/ 357790 h 377946"/>
                <a:gd name="connsiteX220" fmla="*/ 272122 w 365348"/>
                <a:gd name="connsiteY220" fmla="*/ 360309 h 377946"/>
                <a:gd name="connsiteX221" fmla="*/ 278421 w 365348"/>
                <a:gd name="connsiteY221" fmla="*/ 367868 h 377946"/>
                <a:gd name="connsiteX222" fmla="*/ 279681 w 365348"/>
                <a:gd name="connsiteY222" fmla="*/ 370388 h 377946"/>
                <a:gd name="connsiteX223" fmla="*/ 287240 w 365348"/>
                <a:gd name="connsiteY223" fmla="*/ 371648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65348" h="377946">
                  <a:moveTo>
                    <a:pt x="287240" y="371648"/>
                  </a:moveTo>
                  <a:cubicBezTo>
                    <a:pt x="288500" y="372908"/>
                    <a:pt x="289759" y="372908"/>
                    <a:pt x="289759" y="374167"/>
                  </a:cubicBezTo>
                  <a:lnTo>
                    <a:pt x="289759" y="374167"/>
                  </a:lnTo>
                  <a:cubicBezTo>
                    <a:pt x="291019" y="375427"/>
                    <a:pt x="292279" y="376687"/>
                    <a:pt x="294799" y="376687"/>
                  </a:cubicBezTo>
                  <a:cubicBezTo>
                    <a:pt x="296059" y="377947"/>
                    <a:pt x="298578" y="377947"/>
                    <a:pt x="299838" y="379207"/>
                  </a:cubicBezTo>
                  <a:cubicBezTo>
                    <a:pt x="301098" y="380467"/>
                    <a:pt x="303617" y="380467"/>
                    <a:pt x="304877" y="380467"/>
                  </a:cubicBezTo>
                  <a:cubicBezTo>
                    <a:pt x="304877" y="380467"/>
                    <a:pt x="306137" y="380467"/>
                    <a:pt x="306137" y="380467"/>
                  </a:cubicBezTo>
                  <a:cubicBezTo>
                    <a:pt x="308657" y="380467"/>
                    <a:pt x="309917" y="381726"/>
                    <a:pt x="311176" y="381726"/>
                  </a:cubicBezTo>
                  <a:cubicBezTo>
                    <a:pt x="311176" y="381726"/>
                    <a:pt x="312436" y="381726"/>
                    <a:pt x="312436" y="381726"/>
                  </a:cubicBezTo>
                  <a:cubicBezTo>
                    <a:pt x="313696" y="381726"/>
                    <a:pt x="31369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7476" y="381726"/>
                    <a:pt x="319995" y="380467"/>
                    <a:pt x="322515" y="379207"/>
                  </a:cubicBezTo>
                  <a:cubicBezTo>
                    <a:pt x="323775" y="379207"/>
                    <a:pt x="325034" y="377947"/>
                    <a:pt x="325034" y="377947"/>
                  </a:cubicBezTo>
                  <a:lnTo>
                    <a:pt x="325034" y="377947"/>
                  </a:lnTo>
                  <a:lnTo>
                    <a:pt x="325034" y="377947"/>
                  </a:lnTo>
                  <a:cubicBezTo>
                    <a:pt x="325034" y="377947"/>
                    <a:pt x="325034" y="377947"/>
                    <a:pt x="326294" y="377947"/>
                  </a:cubicBezTo>
                  <a:cubicBezTo>
                    <a:pt x="328814" y="376687"/>
                    <a:pt x="331333" y="375427"/>
                    <a:pt x="333853" y="375427"/>
                  </a:cubicBezTo>
                  <a:cubicBezTo>
                    <a:pt x="333853" y="375427"/>
                    <a:pt x="333853" y="375427"/>
                    <a:pt x="335113" y="375427"/>
                  </a:cubicBezTo>
                  <a:cubicBezTo>
                    <a:pt x="336373" y="375427"/>
                    <a:pt x="336373" y="374167"/>
                    <a:pt x="337633" y="374167"/>
                  </a:cubicBezTo>
                  <a:lnTo>
                    <a:pt x="337633" y="374167"/>
                  </a:lnTo>
                  <a:lnTo>
                    <a:pt x="338892" y="374167"/>
                  </a:lnTo>
                  <a:cubicBezTo>
                    <a:pt x="340152" y="372908"/>
                    <a:pt x="341412" y="372908"/>
                    <a:pt x="343932" y="371648"/>
                  </a:cubicBezTo>
                  <a:cubicBezTo>
                    <a:pt x="345192" y="371648"/>
                    <a:pt x="345192" y="370388"/>
                    <a:pt x="346452" y="370388"/>
                  </a:cubicBezTo>
                  <a:cubicBezTo>
                    <a:pt x="346452" y="370388"/>
                    <a:pt x="346452" y="370388"/>
                    <a:pt x="347711" y="369128"/>
                  </a:cubicBezTo>
                  <a:lnTo>
                    <a:pt x="347711" y="369128"/>
                  </a:lnTo>
                  <a:lnTo>
                    <a:pt x="347711" y="369128"/>
                  </a:lnTo>
                  <a:cubicBezTo>
                    <a:pt x="347711" y="369128"/>
                    <a:pt x="348971" y="367868"/>
                    <a:pt x="348971" y="367868"/>
                  </a:cubicBezTo>
                  <a:cubicBezTo>
                    <a:pt x="350231" y="366608"/>
                    <a:pt x="352751" y="364089"/>
                    <a:pt x="354010" y="362829"/>
                  </a:cubicBezTo>
                  <a:cubicBezTo>
                    <a:pt x="354010" y="362829"/>
                    <a:pt x="354010" y="362829"/>
                    <a:pt x="354010" y="362829"/>
                  </a:cubicBezTo>
                  <a:lnTo>
                    <a:pt x="354010" y="362829"/>
                  </a:lnTo>
                  <a:lnTo>
                    <a:pt x="354010" y="362829"/>
                  </a:lnTo>
                  <a:cubicBezTo>
                    <a:pt x="354010" y="362829"/>
                    <a:pt x="354010" y="362829"/>
                    <a:pt x="354010" y="362829"/>
                  </a:cubicBezTo>
                  <a:cubicBezTo>
                    <a:pt x="354010" y="36282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0309"/>
                    <a:pt x="356530" y="360309"/>
                    <a:pt x="356530" y="359050"/>
                  </a:cubicBezTo>
                  <a:cubicBezTo>
                    <a:pt x="356530" y="357790"/>
                    <a:pt x="357790" y="357790"/>
                    <a:pt x="357790" y="356530"/>
                  </a:cubicBezTo>
                  <a:cubicBezTo>
                    <a:pt x="359050" y="355270"/>
                    <a:pt x="359050" y="354010"/>
                    <a:pt x="360309" y="351491"/>
                  </a:cubicBezTo>
                  <a:cubicBezTo>
                    <a:pt x="360309" y="350231"/>
                    <a:pt x="361569" y="350231"/>
                    <a:pt x="361569" y="348971"/>
                  </a:cubicBezTo>
                  <a:cubicBezTo>
                    <a:pt x="362829" y="346451"/>
                    <a:pt x="362829" y="345192"/>
                    <a:pt x="364089" y="342672"/>
                  </a:cubicBezTo>
                  <a:cubicBezTo>
                    <a:pt x="364089" y="341412"/>
                    <a:pt x="365349" y="340152"/>
                    <a:pt x="365349" y="338892"/>
                  </a:cubicBezTo>
                  <a:cubicBezTo>
                    <a:pt x="365349" y="338892"/>
                    <a:pt x="365349" y="338892"/>
                    <a:pt x="365349" y="338892"/>
                  </a:cubicBezTo>
                  <a:lnTo>
                    <a:pt x="365349" y="337633"/>
                  </a:lnTo>
                  <a:cubicBezTo>
                    <a:pt x="365349" y="337633"/>
                    <a:pt x="365349" y="337633"/>
                    <a:pt x="365349" y="337633"/>
                  </a:cubicBezTo>
                  <a:cubicBezTo>
                    <a:pt x="366609" y="332593"/>
                    <a:pt x="367868" y="328814"/>
                    <a:pt x="369128" y="322515"/>
                  </a:cubicBezTo>
                  <a:cubicBezTo>
                    <a:pt x="369128" y="321255"/>
                    <a:pt x="369128" y="321255"/>
                    <a:pt x="369128" y="319995"/>
                  </a:cubicBezTo>
                  <a:cubicBezTo>
                    <a:pt x="369128" y="318735"/>
                    <a:pt x="369128" y="318735"/>
                    <a:pt x="369128" y="317475"/>
                  </a:cubicBezTo>
                  <a:cubicBezTo>
                    <a:pt x="369128" y="316216"/>
                    <a:pt x="369128" y="313696"/>
                    <a:pt x="369128" y="311176"/>
                  </a:cubicBezTo>
                  <a:lnTo>
                    <a:pt x="369128" y="309916"/>
                  </a:lnTo>
                  <a:lnTo>
                    <a:pt x="369128" y="309916"/>
                  </a:lnTo>
                  <a:cubicBezTo>
                    <a:pt x="369128" y="309916"/>
                    <a:pt x="369128" y="309916"/>
                    <a:pt x="369128" y="309916"/>
                  </a:cubicBezTo>
                  <a:cubicBezTo>
                    <a:pt x="369128" y="307397"/>
                    <a:pt x="369128" y="306137"/>
                    <a:pt x="369128" y="303617"/>
                  </a:cubicBezTo>
                  <a:lnTo>
                    <a:pt x="369128" y="302358"/>
                  </a:lnTo>
                  <a:lnTo>
                    <a:pt x="369128" y="30235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cubicBezTo>
                    <a:pt x="369128" y="301098"/>
                    <a:pt x="369128" y="301098"/>
                    <a:pt x="369128" y="301098"/>
                  </a:cubicBezTo>
                  <a:cubicBezTo>
                    <a:pt x="369128" y="299838"/>
                    <a:pt x="369128" y="297318"/>
                    <a:pt x="369128" y="296058"/>
                  </a:cubicBezTo>
                  <a:lnTo>
                    <a:pt x="369128" y="293539"/>
                  </a:lnTo>
                  <a:lnTo>
                    <a:pt x="369128" y="291019"/>
                  </a:lnTo>
                  <a:cubicBezTo>
                    <a:pt x="369128" y="289759"/>
                    <a:pt x="369128" y="289759"/>
                    <a:pt x="369128" y="288499"/>
                  </a:cubicBezTo>
                  <a:cubicBezTo>
                    <a:pt x="369128" y="288499"/>
                    <a:pt x="369128" y="288499"/>
                    <a:pt x="369128" y="288499"/>
                  </a:cubicBezTo>
                  <a:cubicBezTo>
                    <a:pt x="369128" y="288499"/>
                    <a:pt x="369128" y="287240"/>
                    <a:pt x="369128" y="287240"/>
                  </a:cubicBezTo>
                  <a:cubicBezTo>
                    <a:pt x="369128" y="284720"/>
                    <a:pt x="367868" y="282200"/>
                    <a:pt x="367868" y="280940"/>
                  </a:cubicBezTo>
                  <a:cubicBezTo>
                    <a:pt x="367868" y="280940"/>
                    <a:pt x="367868" y="280940"/>
                    <a:pt x="367868" y="280940"/>
                  </a:cubicBezTo>
                  <a:lnTo>
                    <a:pt x="367868" y="279681"/>
                  </a:lnTo>
                  <a:cubicBezTo>
                    <a:pt x="367868" y="278421"/>
                    <a:pt x="366609" y="275901"/>
                    <a:pt x="365349" y="274641"/>
                  </a:cubicBezTo>
                  <a:cubicBezTo>
                    <a:pt x="365349" y="273382"/>
                    <a:pt x="364089" y="272122"/>
                    <a:pt x="364089" y="270862"/>
                  </a:cubicBezTo>
                  <a:lnTo>
                    <a:pt x="364089" y="270862"/>
                  </a:lnTo>
                  <a:lnTo>
                    <a:pt x="364089" y="270862"/>
                  </a:lnTo>
                  <a:cubicBezTo>
                    <a:pt x="364089" y="270862"/>
                    <a:pt x="364089" y="269602"/>
                    <a:pt x="364089" y="269602"/>
                  </a:cubicBezTo>
                  <a:cubicBezTo>
                    <a:pt x="362829" y="265823"/>
                    <a:pt x="360309" y="260783"/>
                    <a:pt x="357790" y="255744"/>
                  </a:cubicBezTo>
                  <a:cubicBezTo>
                    <a:pt x="357790" y="254484"/>
                    <a:pt x="356530" y="254484"/>
                    <a:pt x="356530" y="253224"/>
                  </a:cubicBez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cubicBezTo>
                    <a:pt x="356530" y="251965"/>
                    <a:pt x="355270" y="250705"/>
                    <a:pt x="355270" y="249445"/>
                  </a:cubicBezTo>
                  <a:cubicBezTo>
                    <a:pt x="355270" y="249445"/>
                    <a:pt x="355270" y="249445"/>
                    <a:pt x="355270" y="248185"/>
                  </a:cubicBezTo>
                  <a:cubicBezTo>
                    <a:pt x="355270" y="248185"/>
                    <a:pt x="355270" y="246925"/>
                    <a:pt x="354010" y="246925"/>
                  </a:cubicBezTo>
                  <a:cubicBezTo>
                    <a:pt x="354010" y="246925"/>
                    <a:pt x="354010" y="246925"/>
                    <a:pt x="354010" y="246925"/>
                  </a:cubicBezTo>
                  <a:cubicBezTo>
                    <a:pt x="352751" y="244406"/>
                    <a:pt x="350231" y="240626"/>
                    <a:pt x="348971" y="238107"/>
                  </a:cubicBezTo>
                  <a:cubicBezTo>
                    <a:pt x="348971" y="238107"/>
                    <a:pt x="347711" y="236847"/>
                    <a:pt x="347711" y="236847"/>
                  </a:cubicBezTo>
                  <a:cubicBezTo>
                    <a:pt x="346452" y="235587"/>
                    <a:pt x="346452" y="234327"/>
                    <a:pt x="345192" y="233067"/>
                  </a:cubicBezTo>
                  <a:cubicBezTo>
                    <a:pt x="345192" y="233067"/>
                    <a:pt x="345192" y="233067"/>
                    <a:pt x="345192" y="233067"/>
                  </a:cubicBezTo>
                  <a:cubicBezTo>
                    <a:pt x="345192" y="233067"/>
                    <a:pt x="345192" y="231807"/>
                    <a:pt x="343932" y="231807"/>
                  </a:cubicBezTo>
                  <a:cubicBezTo>
                    <a:pt x="342672" y="229288"/>
                    <a:pt x="341412" y="228028"/>
                    <a:pt x="340152" y="225508"/>
                  </a:cubicBezTo>
                  <a:cubicBezTo>
                    <a:pt x="340152" y="225508"/>
                    <a:pt x="340152" y="225508"/>
                    <a:pt x="340152" y="225508"/>
                  </a:cubicBezTo>
                  <a:cubicBezTo>
                    <a:pt x="338892" y="224248"/>
                    <a:pt x="338892" y="222989"/>
                    <a:pt x="337633" y="221729"/>
                  </a:cubicBezTo>
                  <a:cubicBezTo>
                    <a:pt x="335113" y="217949"/>
                    <a:pt x="332593" y="214170"/>
                    <a:pt x="330074" y="210390"/>
                  </a:cubicBezTo>
                  <a:cubicBezTo>
                    <a:pt x="330074" y="210390"/>
                    <a:pt x="330074" y="210390"/>
                    <a:pt x="330074" y="210390"/>
                  </a:cubicBezTo>
                  <a:cubicBezTo>
                    <a:pt x="328814" y="209131"/>
                    <a:pt x="327554" y="206611"/>
                    <a:pt x="326294" y="205351"/>
                  </a:cubicBezTo>
                  <a:cubicBezTo>
                    <a:pt x="325034" y="204091"/>
                    <a:pt x="323775" y="202831"/>
                    <a:pt x="323775" y="201572"/>
                  </a:cubicBezTo>
                  <a:cubicBezTo>
                    <a:pt x="322515" y="199052"/>
                    <a:pt x="319995" y="197792"/>
                    <a:pt x="318735" y="195273"/>
                  </a:cubicBezTo>
                  <a:cubicBezTo>
                    <a:pt x="313696" y="188974"/>
                    <a:pt x="308657" y="183934"/>
                    <a:pt x="303617" y="177635"/>
                  </a:cubicBezTo>
                  <a:cubicBezTo>
                    <a:pt x="302358" y="176375"/>
                    <a:pt x="30235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3855"/>
                    <a:pt x="299838" y="173855"/>
                    <a:pt x="299838" y="172596"/>
                  </a:cubicBezTo>
                  <a:cubicBezTo>
                    <a:pt x="299838" y="172596"/>
                    <a:pt x="299838" y="171336"/>
                    <a:pt x="298578" y="171336"/>
                  </a:cubicBezTo>
                  <a:lnTo>
                    <a:pt x="296059" y="168816"/>
                  </a:lnTo>
                  <a:cubicBezTo>
                    <a:pt x="291019" y="162517"/>
                    <a:pt x="284720" y="157478"/>
                    <a:pt x="277161" y="149919"/>
                  </a:cubicBezTo>
                  <a:cubicBezTo>
                    <a:pt x="274641" y="147399"/>
                    <a:pt x="272122" y="144880"/>
                    <a:pt x="269602" y="143620"/>
                  </a:cubicBezTo>
                  <a:cubicBezTo>
                    <a:pt x="267083" y="141100"/>
                    <a:pt x="263303" y="138581"/>
                    <a:pt x="260783" y="136061"/>
                  </a:cubicBez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cubicBezTo>
                    <a:pt x="254484" y="131022"/>
                    <a:pt x="249445" y="125982"/>
                    <a:pt x="243146" y="119683"/>
                  </a:cubicBezTo>
                  <a:cubicBezTo>
                    <a:pt x="234327" y="110864"/>
                    <a:pt x="225508" y="103305"/>
                    <a:pt x="216690" y="95746"/>
                  </a:cubicBezTo>
                  <a:cubicBezTo>
                    <a:pt x="211650" y="91967"/>
                    <a:pt x="207871" y="88188"/>
                    <a:pt x="201572" y="83148"/>
                  </a:cubicBezTo>
                  <a:cubicBezTo>
                    <a:pt x="199052" y="80629"/>
                    <a:pt x="196532" y="78109"/>
                    <a:pt x="192753" y="76849"/>
                  </a:cubicBezTo>
                  <a:cubicBezTo>
                    <a:pt x="190233" y="75589"/>
                    <a:pt x="188973" y="74330"/>
                    <a:pt x="186454" y="71810"/>
                  </a:cubicBezTo>
                  <a:lnTo>
                    <a:pt x="182674" y="69290"/>
                  </a:lnTo>
                  <a:cubicBezTo>
                    <a:pt x="178895" y="65511"/>
                    <a:pt x="173856" y="62991"/>
                    <a:pt x="170076" y="59212"/>
                  </a:cubicBezTo>
                  <a:cubicBezTo>
                    <a:pt x="170076" y="59212"/>
                    <a:pt x="168816" y="57952"/>
                    <a:pt x="168816" y="57952"/>
                  </a:cubicBezTo>
                  <a:lnTo>
                    <a:pt x="166297" y="55432"/>
                  </a:lnTo>
                  <a:cubicBezTo>
                    <a:pt x="165037" y="54172"/>
                    <a:pt x="163777" y="52913"/>
                    <a:pt x="162517" y="51653"/>
                  </a:cubicBezTo>
                  <a:cubicBezTo>
                    <a:pt x="159998" y="49133"/>
                    <a:pt x="158738" y="47873"/>
                    <a:pt x="156218" y="45354"/>
                  </a:cubicBez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cubicBezTo>
                    <a:pt x="154958" y="44094"/>
                    <a:pt x="153699" y="44094"/>
                    <a:pt x="152439" y="42834"/>
                  </a:cubicBez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cubicBezTo>
                    <a:pt x="147399" y="40314"/>
                    <a:pt x="143620" y="37795"/>
                    <a:pt x="138581" y="34015"/>
                  </a:cubicBezTo>
                  <a:cubicBezTo>
                    <a:pt x="137321" y="32755"/>
                    <a:pt x="134801" y="31496"/>
                    <a:pt x="133541" y="30236"/>
                  </a:cubicBezTo>
                  <a:cubicBezTo>
                    <a:pt x="132281" y="28976"/>
                    <a:pt x="129762" y="27716"/>
                    <a:pt x="128502" y="26456"/>
                  </a:cubicBezTo>
                  <a:cubicBezTo>
                    <a:pt x="125982" y="25196"/>
                    <a:pt x="122203" y="2267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8423" y="21417"/>
                    <a:pt x="117164" y="20157"/>
                    <a:pt x="115904" y="20157"/>
                  </a:cubicBezTo>
                  <a:cubicBezTo>
                    <a:pt x="113384" y="18897"/>
                    <a:pt x="112124" y="17637"/>
                    <a:pt x="109605" y="16378"/>
                  </a:cubicBezTo>
                  <a:cubicBezTo>
                    <a:pt x="109605" y="16378"/>
                    <a:pt x="109605" y="16378"/>
                    <a:pt x="109605" y="16378"/>
                  </a:cubicBezTo>
                  <a:cubicBezTo>
                    <a:pt x="108345" y="15118"/>
                    <a:pt x="107085" y="15118"/>
                    <a:pt x="105825" y="13858"/>
                  </a:cubicBezTo>
                  <a:cubicBezTo>
                    <a:pt x="102046" y="11338"/>
                    <a:pt x="97006" y="8819"/>
                    <a:pt x="91967" y="7559"/>
                  </a:cubicBezTo>
                  <a:cubicBezTo>
                    <a:pt x="84408" y="5039"/>
                    <a:pt x="76849" y="2520"/>
                    <a:pt x="69290" y="1260"/>
                  </a:cubicBezTo>
                  <a:cubicBezTo>
                    <a:pt x="64251" y="1260"/>
                    <a:pt x="59212" y="0"/>
                    <a:pt x="55432" y="0"/>
                  </a:cubicBezTo>
                  <a:cubicBezTo>
                    <a:pt x="51653" y="0"/>
                    <a:pt x="46614" y="0"/>
                    <a:pt x="42834" y="0"/>
                  </a:cubicBezTo>
                  <a:cubicBezTo>
                    <a:pt x="42834" y="0"/>
                    <a:pt x="42834" y="0"/>
                    <a:pt x="41574" y="0"/>
                  </a:cubicBezTo>
                  <a:cubicBezTo>
                    <a:pt x="39055" y="0"/>
                    <a:pt x="37795" y="1260"/>
                    <a:pt x="35275" y="1260"/>
                  </a:cubicBezTo>
                  <a:cubicBezTo>
                    <a:pt x="32755" y="2520"/>
                    <a:pt x="28976" y="3779"/>
                    <a:pt x="26456" y="5039"/>
                  </a:cubicBezTo>
                  <a:lnTo>
                    <a:pt x="25196" y="6299"/>
                  </a:lnTo>
                  <a:cubicBezTo>
                    <a:pt x="23937" y="6299"/>
                    <a:pt x="22677" y="7559"/>
                    <a:pt x="21417" y="7559"/>
                  </a:cubicBezTo>
                  <a:cubicBezTo>
                    <a:pt x="21417" y="7559"/>
                    <a:pt x="20157" y="7559"/>
                    <a:pt x="20157" y="8819"/>
                  </a:cubicBezTo>
                  <a:cubicBezTo>
                    <a:pt x="18897" y="8819"/>
                    <a:pt x="17638" y="10078"/>
                    <a:pt x="17638" y="10078"/>
                  </a:cubicBezTo>
                  <a:cubicBezTo>
                    <a:pt x="16378" y="11338"/>
                    <a:pt x="15118" y="12598"/>
                    <a:pt x="13858" y="13858"/>
                  </a:cubicBezTo>
                  <a:cubicBezTo>
                    <a:pt x="11338" y="17637"/>
                    <a:pt x="8819" y="21417"/>
                    <a:pt x="7559" y="25196"/>
                  </a:cubicBezTo>
                  <a:cubicBezTo>
                    <a:pt x="6299" y="28976"/>
                    <a:pt x="5039" y="31496"/>
                    <a:pt x="3780" y="35275"/>
                  </a:cubicBezTo>
                  <a:lnTo>
                    <a:pt x="3780" y="35275"/>
                  </a:lnTo>
                  <a:cubicBezTo>
                    <a:pt x="2520" y="37795"/>
                    <a:pt x="2520" y="40314"/>
                    <a:pt x="1260" y="42834"/>
                  </a:cubicBezTo>
                  <a:cubicBezTo>
                    <a:pt x="0" y="49133"/>
                    <a:pt x="0" y="56692"/>
                    <a:pt x="0" y="61731"/>
                  </a:cubicBezTo>
                  <a:cubicBezTo>
                    <a:pt x="0" y="68030"/>
                    <a:pt x="0" y="74330"/>
                    <a:pt x="1260" y="80629"/>
                  </a:cubicBezTo>
                  <a:cubicBezTo>
                    <a:pt x="1260" y="80629"/>
                    <a:pt x="1260" y="80629"/>
                    <a:pt x="1260" y="80629"/>
                  </a:cubicBezTo>
                  <a:lnTo>
                    <a:pt x="1260" y="80629"/>
                  </a:lnTo>
                  <a:lnTo>
                    <a:pt x="1260" y="80629"/>
                  </a:lnTo>
                  <a:lnTo>
                    <a:pt x="1260" y="80629"/>
                  </a:lnTo>
                  <a:cubicBezTo>
                    <a:pt x="1260" y="80629"/>
                    <a:pt x="1260" y="80629"/>
                    <a:pt x="1260" y="80629"/>
                  </a:cubicBezTo>
                  <a:cubicBezTo>
                    <a:pt x="1260" y="83148"/>
                    <a:pt x="2520" y="84408"/>
                    <a:pt x="2520" y="86928"/>
                  </a:cubicBezTo>
                  <a:cubicBezTo>
                    <a:pt x="3780" y="91967"/>
                    <a:pt x="6299" y="97006"/>
                    <a:pt x="7559" y="102046"/>
                  </a:cubicBezTo>
                  <a:cubicBezTo>
                    <a:pt x="8819" y="103305"/>
                    <a:pt x="8819" y="104565"/>
                    <a:pt x="10079" y="105825"/>
                  </a:cubicBezTo>
                  <a:cubicBezTo>
                    <a:pt x="13858" y="110864"/>
                    <a:pt x="17638" y="115904"/>
                    <a:pt x="21417" y="119683"/>
                  </a:cubicBezTo>
                  <a:cubicBezTo>
                    <a:pt x="25196" y="123463"/>
                    <a:pt x="30236" y="128502"/>
                    <a:pt x="34015" y="132281"/>
                  </a:cubicBezTo>
                  <a:lnTo>
                    <a:pt x="34015" y="132281"/>
                  </a:lnTo>
                  <a:cubicBezTo>
                    <a:pt x="37795" y="136061"/>
                    <a:pt x="42834" y="139840"/>
                    <a:pt x="46614" y="143620"/>
                  </a:cubicBezTo>
                  <a:cubicBezTo>
                    <a:pt x="51653" y="147399"/>
                    <a:pt x="55432" y="152439"/>
                    <a:pt x="60472" y="156218"/>
                  </a:cubicBezTo>
                  <a:cubicBezTo>
                    <a:pt x="64251" y="159998"/>
                    <a:pt x="68030" y="163777"/>
                    <a:pt x="71810" y="167556"/>
                  </a:cubicBezTo>
                  <a:lnTo>
                    <a:pt x="73070" y="168816"/>
                  </a:lnTo>
                  <a:lnTo>
                    <a:pt x="75589" y="171336"/>
                  </a:lnTo>
                  <a:cubicBezTo>
                    <a:pt x="83148" y="178895"/>
                    <a:pt x="91967" y="186454"/>
                    <a:pt x="99526" y="192753"/>
                  </a:cubicBezTo>
                  <a:cubicBezTo>
                    <a:pt x="103306" y="196532"/>
                    <a:pt x="108345" y="200312"/>
                    <a:pt x="113384" y="204091"/>
                  </a:cubicBezTo>
                  <a:cubicBezTo>
                    <a:pt x="117164" y="207871"/>
                    <a:pt x="122203" y="210390"/>
                    <a:pt x="125982" y="214170"/>
                  </a:cubicBezTo>
                  <a:lnTo>
                    <a:pt x="128502" y="215430"/>
                  </a:lnTo>
                  <a:cubicBezTo>
                    <a:pt x="129762" y="216690"/>
                    <a:pt x="132281" y="217949"/>
                    <a:pt x="133541" y="220469"/>
                  </a:cubicBezTo>
                  <a:cubicBezTo>
                    <a:pt x="136061" y="222989"/>
                    <a:pt x="138581" y="224248"/>
                    <a:pt x="141100" y="226768"/>
                  </a:cubicBezTo>
                  <a:cubicBezTo>
                    <a:pt x="146139" y="230548"/>
                    <a:pt x="151179" y="234327"/>
                    <a:pt x="157478" y="239366"/>
                  </a:cubicBezTo>
                  <a:cubicBezTo>
                    <a:pt x="162517" y="243146"/>
                    <a:pt x="166297" y="245666"/>
                    <a:pt x="171336" y="248185"/>
                  </a:cubicBezTo>
                  <a:cubicBezTo>
                    <a:pt x="176375" y="251965"/>
                    <a:pt x="181415" y="255744"/>
                    <a:pt x="186454" y="258264"/>
                  </a:cubicBezTo>
                  <a:cubicBezTo>
                    <a:pt x="190233" y="260783"/>
                    <a:pt x="192753" y="263303"/>
                    <a:pt x="196532" y="265823"/>
                  </a:cubicBezTo>
                  <a:lnTo>
                    <a:pt x="199052" y="268342"/>
                  </a:lnTo>
                  <a:cubicBezTo>
                    <a:pt x="201572" y="269602"/>
                    <a:pt x="202832" y="272122"/>
                    <a:pt x="205351" y="273382"/>
                  </a:cubicBezTo>
                  <a:cubicBezTo>
                    <a:pt x="207871" y="275901"/>
                    <a:pt x="210391" y="277161"/>
                    <a:pt x="212910" y="279681"/>
                  </a:cubicBezTo>
                  <a:lnTo>
                    <a:pt x="214170" y="279681"/>
                  </a:lnTo>
                  <a:cubicBezTo>
                    <a:pt x="219209" y="283460"/>
                    <a:pt x="222989" y="287240"/>
                    <a:pt x="228028" y="291019"/>
                  </a:cubicBezTo>
                  <a:cubicBezTo>
                    <a:pt x="231808" y="294799"/>
                    <a:pt x="236847" y="298578"/>
                    <a:pt x="241886" y="303617"/>
                  </a:cubicBezTo>
                  <a:cubicBezTo>
                    <a:pt x="244406" y="304877"/>
                    <a:pt x="245666" y="307397"/>
                    <a:pt x="246925" y="309916"/>
                  </a:cubicBezTo>
                  <a:cubicBezTo>
                    <a:pt x="248185" y="311176"/>
                    <a:pt x="249445" y="313696"/>
                    <a:pt x="250705" y="316216"/>
                  </a:cubicBezTo>
                  <a:cubicBezTo>
                    <a:pt x="251965" y="318735"/>
                    <a:pt x="253224" y="319995"/>
                    <a:pt x="253224" y="322515"/>
                  </a:cubicBezTo>
                  <a:lnTo>
                    <a:pt x="253224" y="323775"/>
                  </a:lnTo>
                  <a:cubicBezTo>
                    <a:pt x="255744" y="328814"/>
                    <a:pt x="258264" y="333853"/>
                    <a:pt x="260783" y="338892"/>
                  </a:cubicBezTo>
                  <a:lnTo>
                    <a:pt x="260783" y="338892"/>
                  </a:lnTo>
                  <a:cubicBezTo>
                    <a:pt x="262043" y="341412"/>
                    <a:pt x="263303" y="343932"/>
                    <a:pt x="264563" y="346451"/>
                  </a:cubicBezTo>
                  <a:cubicBezTo>
                    <a:pt x="265823" y="347711"/>
                    <a:pt x="267083" y="350231"/>
                    <a:pt x="267083" y="351491"/>
                  </a:cubicBezTo>
                  <a:cubicBezTo>
                    <a:pt x="267083" y="352751"/>
                    <a:pt x="268342" y="352751"/>
                    <a:pt x="268342" y="354010"/>
                  </a:cubicBezTo>
                  <a:cubicBezTo>
                    <a:pt x="269602" y="355270"/>
                    <a:pt x="269602" y="356530"/>
                    <a:pt x="270862" y="357790"/>
                  </a:cubicBezTo>
                  <a:lnTo>
                    <a:pt x="272122" y="360309"/>
                  </a:lnTo>
                  <a:cubicBezTo>
                    <a:pt x="273382" y="362829"/>
                    <a:pt x="275901" y="365349"/>
                    <a:pt x="278421" y="367868"/>
                  </a:cubicBezTo>
                  <a:cubicBezTo>
                    <a:pt x="278421" y="369128"/>
                    <a:pt x="279681" y="369128"/>
                    <a:pt x="279681" y="370388"/>
                  </a:cubicBezTo>
                  <a:cubicBezTo>
                    <a:pt x="283460" y="367868"/>
                    <a:pt x="285980" y="370388"/>
                    <a:pt x="287240" y="371648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/>
            <p:cNvSpPr/>
            <p:nvPr/>
          </p:nvSpPr>
          <p:spPr>
            <a:xfrm>
              <a:off x="8395870" y="3587659"/>
              <a:ext cx="197348" cy="291732"/>
            </a:xfrm>
            <a:custGeom>
              <a:avLst/>
              <a:gdLst>
                <a:gd name="connsiteX0" fmla="*/ 277161 w 289759"/>
                <a:gd name="connsiteY0" fmla="*/ 47873 h 428339"/>
                <a:gd name="connsiteX1" fmla="*/ 277161 w 289759"/>
                <a:gd name="connsiteY1" fmla="*/ 47873 h 428339"/>
                <a:gd name="connsiteX2" fmla="*/ 277161 w 289759"/>
                <a:gd name="connsiteY2" fmla="*/ 47873 h 428339"/>
                <a:gd name="connsiteX3" fmla="*/ 277161 w 289759"/>
                <a:gd name="connsiteY3" fmla="*/ 47873 h 428339"/>
                <a:gd name="connsiteX4" fmla="*/ 260784 w 289759"/>
                <a:gd name="connsiteY4" fmla="*/ 50393 h 428339"/>
                <a:gd name="connsiteX5" fmla="*/ 259524 w 289759"/>
                <a:gd name="connsiteY5" fmla="*/ 50393 h 428339"/>
                <a:gd name="connsiteX6" fmla="*/ 246925 w 289759"/>
                <a:gd name="connsiteY6" fmla="*/ 50393 h 428339"/>
                <a:gd name="connsiteX7" fmla="*/ 245666 w 289759"/>
                <a:gd name="connsiteY7" fmla="*/ 50393 h 428339"/>
                <a:gd name="connsiteX8" fmla="*/ 243146 w 289759"/>
                <a:gd name="connsiteY8" fmla="*/ 50393 h 428339"/>
                <a:gd name="connsiteX9" fmla="*/ 243146 w 289759"/>
                <a:gd name="connsiteY9" fmla="*/ 50393 h 428339"/>
                <a:gd name="connsiteX10" fmla="*/ 241886 w 289759"/>
                <a:gd name="connsiteY10" fmla="*/ 50393 h 428339"/>
                <a:gd name="connsiteX11" fmla="*/ 233067 w 289759"/>
                <a:gd name="connsiteY11" fmla="*/ 50393 h 428339"/>
                <a:gd name="connsiteX12" fmla="*/ 220469 w 289759"/>
                <a:gd name="connsiteY12" fmla="*/ 49133 h 428339"/>
                <a:gd name="connsiteX13" fmla="*/ 219209 w 289759"/>
                <a:gd name="connsiteY13" fmla="*/ 49133 h 428339"/>
                <a:gd name="connsiteX14" fmla="*/ 215430 w 289759"/>
                <a:gd name="connsiteY14" fmla="*/ 49133 h 428339"/>
                <a:gd name="connsiteX15" fmla="*/ 215430 w 289759"/>
                <a:gd name="connsiteY15" fmla="*/ 49133 h 428339"/>
                <a:gd name="connsiteX16" fmla="*/ 212910 w 289759"/>
                <a:gd name="connsiteY16" fmla="*/ 49133 h 428339"/>
                <a:gd name="connsiteX17" fmla="*/ 209131 w 289759"/>
                <a:gd name="connsiteY17" fmla="*/ 49133 h 428339"/>
                <a:gd name="connsiteX18" fmla="*/ 209131 w 289759"/>
                <a:gd name="connsiteY18" fmla="*/ 49133 h 428339"/>
                <a:gd name="connsiteX19" fmla="*/ 207871 w 289759"/>
                <a:gd name="connsiteY19" fmla="*/ 49133 h 428339"/>
                <a:gd name="connsiteX20" fmla="*/ 199052 w 289759"/>
                <a:gd name="connsiteY20" fmla="*/ 47873 h 428339"/>
                <a:gd name="connsiteX21" fmla="*/ 197792 w 289759"/>
                <a:gd name="connsiteY21" fmla="*/ 47873 h 428339"/>
                <a:gd name="connsiteX22" fmla="*/ 195273 w 289759"/>
                <a:gd name="connsiteY22" fmla="*/ 47873 h 428339"/>
                <a:gd name="connsiteX23" fmla="*/ 173856 w 289759"/>
                <a:gd name="connsiteY23" fmla="*/ 41574 h 428339"/>
                <a:gd name="connsiteX24" fmla="*/ 149919 w 289759"/>
                <a:gd name="connsiteY24" fmla="*/ 32755 h 428339"/>
                <a:gd name="connsiteX25" fmla="*/ 138581 w 289759"/>
                <a:gd name="connsiteY25" fmla="*/ 27716 h 428339"/>
                <a:gd name="connsiteX26" fmla="*/ 138581 w 289759"/>
                <a:gd name="connsiteY26" fmla="*/ 27716 h 428339"/>
                <a:gd name="connsiteX27" fmla="*/ 138581 w 289759"/>
                <a:gd name="connsiteY27" fmla="*/ 27716 h 428339"/>
                <a:gd name="connsiteX28" fmla="*/ 138581 w 289759"/>
                <a:gd name="connsiteY28" fmla="*/ 27716 h 428339"/>
                <a:gd name="connsiteX29" fmla="*/ 131022 w 289759"/>
                <a:gd name="connsiteY29" fmla="*/ 22677 h 428339"/>
                <a:gd name="connsiteX30" fmla="*/ 128502 w 289759"/>
                <a:gd name="connsiteY30" fmla="*/ 21417 h 428339"/>
                <a:gd name="connsiteX31" fmla="*/ 127242 w 289759"/>
                <a:gd name="connsiteY31" fmla="*/ 20157 h 428339"/>
                <a:gd name="connsiteX32" fmla="*/ 123463 w 289759"/>
                <a:gd name="connsiteY32" fmla="*/ 16378 h 428339"/>
                <a:gd name="connsiteX33" fmla="*/ 120943 w 289759"/>
                <a:gd name="connsiteY33" fmla="*/ 13858 h 428339"/>
                <a:gd name="connsiteX34" fmla="*/ 115904 w 289759"/>
                <a:gd name="connsiteY34" fmla="*/ 8819 h 428339"/>
                <a:gd name="connsiteX35" fmla="*/ 115904 w 289759"/>
                <a:gd name="connsiteY35" fmla="*/ 8819 h 428339"/>
                <a:gd name="connsiteX36" fmla="*/ 115904 w 289759"/>
                <a:gd name="connsiteY36" fmla="*/ 8819 h 428339"/>
                <a:gd name="connsiteX37" fmla="*/ 115904 w 289759"/>
                <a:gd name="connsiteY37" fmla="*/ 8819 h 428339"/>
                <a:gd name="connsiteX38" fmla="*/ 115904 w 289759"/>
                <a:gd name="connsiteY38" fmla="*/ 8819 h 428339"/>
                <a:gd name="connsiteX39" fmla="*/ 114644 w 289759"/>
                <a:gd name="connsiteY39" fmla="*/ 7559 h 428339"/>
                <a:gd name="connsiteX40" fmla="*/ 112124 w 289759"/>
                <a:gd name="connsiteY40" fmla="*/ 5039 h 428339"/>
                <a:gd name="connsiteX41" fmla="*/ 107085 w 289759"/>
                <a:gd name="connsiteY41" fmla="*/ 0 h 428339"/>
                <a:gd name="connsiteX42" fmla="*/ 107085 w 289759"/>
                <a:gd name="connsiteY42" fmla="*/ 0 h 428339"/>
                <a:gd name="connsiteX43" fmla="*/ 104565 w 289759"/>
                <a:gd name="connsiteY43" fmla="*/ 5039 h 428339"/>
                <a:gd name="connsiteX44" fmla="*/ 103306 w 289759"/>
                <a:gd name="connsiteY44" fmla="*/ 6299 h 428339"/>
                <a:gd name="connsiteX45" fmla="*/ 102046 w 289759"/>
                <a:gd name="connsiteY45" fmla="*/ 8819 h 428339"/>
                <a:gd name="connsiteX46" fmla="*/ 97007 w 289759"/>
                <a:gd name="connsiteY46" fmla="*/ 20157 h 428339"/>
                <a:gd name="connsiteX47" fmla="*/ 94487 w 289759"/>
                <a:gd name="connsiteY47" fmla="*/ 25196 h 428339"/>
                <a:gd name="connsiteX48" fmla="*/ 91967 w 289759"/>
                <a:gd name="connsiteY48" fmla="*/ 28976 h 428339"/>
                <a:gd name="connsiteX49" fmla="*/ 79369 w 289759"/>
                <a:gd name="connsiteY49" fmla="*/ 39054 h 428339"/>
                <a:gd name="connsiteX50" fmla="*/ 60472 w 289759"/>
                <a:gd name="connsiteY50" fmla="*/ 51653 h 428339"/>
                <a:gd name="connsiteX51" fmla="*/ 35275 w 289759"/>
                <a:gd name="connsiteY51" fmla="*/ 60471 h 428339"/>
                <a:gd name="connsiteX52" fmla="*/ 18897 w 289759"/>
                <a:gd name="connsiteY52" fmla="*/ 66770 h 428339"/>
                <a:gd name="connsiteX53" fmla="*/ 11339 w 289759"/>
                <a:gd name="connsiteY53" fmla="*/ 69290 h 428339"/>
                <a:gd name="connsiteX54" fmla="*/ 3780 w 289759"/>
                <a:gd name="connsiteY54" fmla="*/ 71810 h 428339"/>
                <a:gd name="connsiteX55" fmla="*/ 0 w 289759"/>
                <a:gd name="connsiteY55" fmla="*/ 73070 h 428339"/>
                <a:gd name="connsiteX56" fmla="*/ 0 w 289759"/>
                <a:gd name="connsiteY56" fmla="*/ 76849 h 428339"/>
                <a:gd name="connsiteX57" fmla="*/ 0 w 289759"/>
                <a:gd name="connsiteY57" fmla="*/ 84408 h 428339"/>
                <a:gd name="connsiteX58" fmla="*/ 1260 w 289759"/>
                <a:gd name="connsiteY58" fmla="*/ 94487 h 428339"/>
                <a:gd name="connsiteX59" fmla="*/ 1260 w 289759"/>
                <a:gd name="connsiteY59" fmla="*/ 94487 h 428339"/>
                <a:gd name="connsiteX60" fmla="*/ 1260 w 289759"/>
                <a:gd name="connsiteY60" fmla="*/ 94487 h 428339"/>
                <a:gd name="connsiteX61" fmla="*/ 1260 w 289759"/>
                <a:gd name="connsiteY61" fmla="*/ 95746 h 428339"/>
                <a:gd name="connsiteX62" fmla="*/ 1260 w 289759"/>
                <a:gd name="connsiteY62" fmla="*/ 99526 h 428339"/>
                <a:gd name="connsiteX63" fmla="*/ 1260 w 289759"/>
                <a:gd name="connsiteY63" fmla="*/ 115904 h 428339"/>
                <a:gd name="connsiteX64" fmla="*/ 2520 w 289759"/>
                <a:gd name="connsiteY64" fmla="*/ 133541 h 428339"/>
                <a:gd name="connsiteX65" fmla="*/ 6299 w 289759"/>
                <a:gd name="connsiteY65" fmla="*/ 170076 h 428339"/>
                <a:gd name="connsiteX66" fmla="*/ 8819 w 289759"/>
                <a:gd name="connsiteY66" fmla="*/ 187714 h 428339"/>
                <a:gd name="connsiteX67" fmla="*/ 12598 w 289759"/>
                <a:gd name="connsiteY67" fmla="*/ 207871 h 428339"/>
                <a:gd name="connsiteX68" fmla="*/ 13858 w 289759"/>
                <a:gd name="connsiteY68" fmla="*/ 211650 h 428339"/>
                <a:gd name="connsiteX69" fmla="*/ 15118 w 289759"/>
                <a:gd name="connsiteY69" fmla="*/ 216690 h 428339"/>
                <a:gd name="connsiteX70" fmla="*/ 17638 w 289759"/>
                <a:gd name="connsiteY70" fmla="*/ 225508 h 428339"/>
                <a:gd name="connsiteX71" fmla="*/ 23937 w 289759"/>
                <a:gd name="connsiteY71" fmla="*/ 243146 h 428339"/>
                <a:gd name="connsiteX72" fmla="*/ 25196 w 289759"/>
                <a:gd name="connsiteY72" fmla="*/ 245666 h 428339"/>
                <a:gd name="connsiteX73" fmla="*/ 25196 w 289759"/>
                <a:gd name="connsiteY73" fmla="*/ 246925 h 428339"/>
                <a:gd name="connsiteX74" fmla="*/ 27716 w 289759"/>
                <a:gd name="connsiteY74" fmla="*/ 254484 h 428339"/>
                <a:gd name="connsiteX75" fmla="*/ 31496 w 289759"/>
                <a:gd name="connsiteY75" fmla="*/ 262043 h 428339"/>
                <a:gd name="connsiteX76" fmla="*/ 36535 w 289759"/>
                <a:gd name="connsiteY76" fmla="*/ 269602 h 428339"/>
                <a:gd name="connsiteX77" fmla="*/ 41574 w 289759"/>
                <a:gd name="connsiteY77" fmla="*/ 277161 h 428339"/>
                <a:gd name="connsiteX78" fmla="*/ 47873 w 289759"/>
                <a:gd name="connsiteY78" fmla="*/ 284720 h 428339"/>
                <a:gd name="connsiteX79" fmla="*/ 52913 w 289759"/>
                <a:gd name="connsiteY79" fmla="*/ 289759 h 428339"/>
                <a:gd name="connsiteX80" fmla="*/ 52913 w 289759"/>
                <a:gd name="connsiteY80" fmla="*/ 289759 h 428339"/>
                <a:gd name="connsiteX81" fmla="*/ 51653 w 289759"/>
                <a:gd name="connsiteY81" fmla="*/ 294799 h 428339"/>
                <a:gd name="connsiteX82" fmla="*/ 51653 w 289759"/>
                <a:gd name="connsiteY82" fmla="*/ 294799 h 428339"/>
                <a:gd name="connsiteX83" fmla="*/ 51653 w 289759"/>
                <a:gd name="connsiteY83" fmla="*/ 294799 h 428339"/>
                <a:gd name="connsiteX84" fmla="*/ 49133 w 289759"/>
                <a:gd name="connsiteY84" fmla="*/ 301098 h 428339"/>
                <a:gd name="connsiteX85" fmla="*/ 46614 w 289759"/>
                <a:gd name="connsiteY85" fmla="*/ 307397 h 428339"/>
                <a:gd name="connsiteX86" fmla="*/ 42834 w 289759"/>
                <a:gd name="connsiteY86" fmla="*/ 319995 h 428339"/>
                <a:gd name="connsiteX87" fmla="*/ 39055 w 289759"/>
                <a:gd name="connsiteY87" fmla="*/ 332593 h 428339"/>
                <a:gd name="connsiteX88" fmla="*/ 34015 w 289759"/>
                <a:gd name="connsiteY88" fmla="*/ 345192 h 428339"/>
                <a:gd name="connsiteX89" fmla="*/ 31496 w 289759"/>
                <a:gd name="connsiteY89" fmla="*/ 351491 h 428339"/>
                <a:gd name="connsiteX90" fmla="*/ 28976 w 289759"/>
                <a:gd name="connsiteY90" fmla="*/ 359050 h 428339"/>
                <a:gd name="connsiteX91" fmla="*/ 28976 w 289759"/>
                <a:gd name="connsiteY91" fmla="*/ 360309 h 428339"/>
                <a:gd name="connsiteX92" fmla="*/ 28976 w 289759"/>
                <a:gd name="connsiteY92" fmla="*/ 360309 h 428339"/>
                <a:gd name="connsiteX93" fmla="*/ 26456 w 289759"/>
                <a:gd name="connsiteY93" fmla="*/ 365349 h 428339"/>
                <a:gd name="connsiteX94" fmla="*/ 25196 w 289759"/>
                <a:gd name="connsiteY94" fmla="*/ 370388 h 428339"/>
                <a:gd name="connsiteX95" fmla="*/ 25196 w 289759"/>
                <a:gd name="connsiteY95" fmla="*/ 371648 h 428339"/>
                <a:gd name="connsiteX96" fmla="*/ 25196 w 289759"/>
                <a:gd name="connsiteY96" fmla="*/ 371648 h 428339"/>
                <a:gd name="connsiteX97" fmla="*/ 25196 w 289759"/>
                <a:gd name="connsiteY97" fmla="*/ 371648 h 428339"/>
                <a:gd name="connsiteX98" fmla="*/ 25196 w 289759"/>
                <a:gd name="connsiteY98" fmla="*/ 375427 h 428339"/>
                <a:gd name="connsiteX99" fmla="*/ 25196 w 289759"/>
                <a:gd name="connsiteY99" fmla="*/ 379207 h 428339"/>
                <a:gd name="connsiteX100" fmla="*/ 25196 w 289759"/>
                <a:gd name="connsiteY100" fmla="*/ 380467 h 428339"/>
                <a:gd name="connsiteX101" fmla="*/ 26456 w 289759"/>
                <a:gd name="connsiteY101" fmla="*/ 384246 h 428339"/>
                <a:gd name="connsiteX102" fmla="*/ 30236 w 289759"/>
                <a:gd name="connsiteY102" fmla="*/ 393065 h 428339"/>
                <a:gd name="connsiteX103" fmla="*/ 35275 w 289759"/>
                <a:gd name="connsiteY103" fmla="*/ 399364 h 428339"/>
                <a:gd name="connsiteX104" fmla="*/ 49133 w 289759"/>
                <a:gd name="connsiteY104" fmla="*/ 411962 h 428339"/>
                <a:gd name="connsiteX105" fmla="*/ 57952 w 289759"/>
                <a:gd name="connsiteY105" fmla="*/ 417001 h 428339"/>
                <a:gd name="connsiteX106" fmla="*/ 59212 w 289759"/>
                <a:gd name="connsiteY106" fmla="*/ 418261 h 428339"/>
                <a:gd name="connsiteX107" fmla="*/ 65511 w 289759"/>
                <a:gd name="connsiteY107" fmla="*/ 422041 h 428339"/>
                <a:gd name="connsiteX108" fmla="*/ 84408 w 289759"/>
                <a:gd name="connsiteY108" fmla="*/ 427080 h 428339"/>
                <a:gd name="connsiteX109" fmla="*/ 94487 w 289759"/>
                <a:gd name="connsiteY109" fmla="*/ 428340 h 428339"/>
                <a:gd name="connsiteX110" fmla="*/ 104565 w 289759"/>
                <a:gd name="connsiteY110" fmla="*/ 428340 h 428339"/>
                <a:gd name="connsiteX111" fmla="*/ 105825 w 289759"/>
                <a:gd name="connsiteY111" fmla="*/ 428340 h 428339"/>
                <a:gd name="connsiteX112" fmla="*/ 114644 w 289759"/>
                <a:gd name="connsiteY112" fmla="*/ 427080 h 428339"/>
                <a:gd name="connsiteX113" fmla="*/ 123463 w 289759"/>
                <a:gd name="connsiteY113" fmla="*/ 424560 h 428339"/>
                <a:gd name="connsiteX114" fmla="*/ 137321 w 289759"/>
                <a:gd name="connsiteY114" fmla="*/ 418261 h 428339"/>
                <a:gd name="connsiteX115" fmla="*/ 144880 w 289759"/>
                <a:gd name="connsiteY115" fmla="*/ 413222 h 428339"/>
                <a:gd name="connsiteX116" fmla="*/ 149919 w 289759"/>
                <a:gd name="connsiteY116" fmla="*/ 406923 h 428339"/>
                <a:gd name="connsiteX117" fmla="*/ 153699 w 289759"/>
                <a:gd name="connsiteY117" fmla="*/ 400624 h 428339"/>
                <a:gd name="connsiteX118" fmla="*/ 154958 w 289759"/>
                <a:gd name="connsiteY118" fmla="*/ 395584 h 428339"/>
                <a:gd name="connsiteX119" fmla="*/ 154958 w 289759"/>
                <a:gd name="connsiteY119" fmla="*/ 393065 h 428339"/>
                <a:gd name="connsiteX120" fmla="*/ 154958 w 289759"/>
                <a:gd name="connsiteY120" fmla="*/ 391805 h 428339"/>
                <a:gd name="connsiteX121" fmla="*/ 156218 w 289759"/>
                <a:gd name="connsiteY121" fmla="*/ 385506 h 428339"/>
                <a:gd name="connsiteX122" fmla="*/ 156218 w 289759"/>
                <a:gd name="connsiteY122" fmla="*/ 385506 h 428339"/>
                <a:gd name="connsiteX123" fmla="*/ 156218 w 289759"/>
                <a:gd name="connsiteY123" fmla="*/ 385506 h 428339"/>
                <a:gd name="connsiteX124" fmla="*/ 156218 w 289759"/>
                <a:gd name="connsiteY124" fmla="*/ 382986 h 428339"/>
                <a:gd name="connsiteX125" fmla="*/ 156218 w 289759"/>
                <a:gd name="connsiteY125" fmla="*/ 382986 h 428339"/>
                <a:gd name="connsiteX126" fmla="*/ 156218 w 289759"/>
                <a:gd name="connsiteY126" fmla="*/ 381726 h 428339"/>
                <a:gd name="connsiteX127" fmla="*/ 153699 w 289759"/>
                <a:gd name="connsiteY127" fmla="*/ 376687 h 428339"/>
                <a:gd name="connsiteX128" fmla="*/ 153699 w 289759"/>
                <a:gd name="connsiteY128" fmla="*/ 376687 h 428339"/>
                <a:gd name="connsiteX129" fmla="*/ 151179 w 289759"/>
                <a:gd name="connsiteY129" fmla="*/ 370388 h 428339"/>
                <a:gd name="connsiteX130" fmla="*/ 151179 w 289759"/>
                <a:gd name="connsiteY130" fmla="*/ 369128 h 428339"/>
                <a:gd name="connsiteX131" fmla="*/ 148659 w 289759"/>
                <a:gd name="connsiteY131" fmla="*/ 362829 h 428339"/>
                <a:gd name="connsiteX132" fmla="*/ 144880 w 289759"/>
                <a:gd name="connsiteY132" fmla="*/ 346451 h 428339"/>
                <a:gd name="connsiteX133" fmla="*/ 144880 w 289759"/>
                <a:gd name="connsiteY133" fmla="*/ 346451 h 428339"/>
                <a:gd name="connsiteX134" fmla="*/ 144880 w 289759"/>
                <a:gd name="connsiteY134" fmla="*/ 346451 h 428339"/>
                <a:gd name="connsiteX135" fmla="*/ 144880 w 289759"/>
                <a:gd name="connsiteY135" fmla="*/ 346451 h 428339"/>
                <a:gd name="connsiteX136" fmla="*/ 143620 w 289759"/>
                <a:gd name="connsiteY136" fmla="*/ 327554 h 428339"/>
                <a:gd name="connsiteX137" fmla="*/ 143620 w 289759"/>
                <a:gd name="connsiteY137" fmla="*/ 322515 h 428339"/>
                <a:gd name="connsiteX138" fmla="*/ 143620 w 289759"/>
                <a:gd name="connsiteY138" fmla="*/ 322515 h 428339"/>
                <a:gd name="connsiteX139" fmla="*/ 147399 w 289759"/>
                <a:gd name="connsiteY139" fmla="*/ 322515 h 428339"/>
                <a:gd name="connsiteX140" fmla="*/ 152439 w 289759"/>
                <a:gd name="connsiteY140" fmla="*/ 322515 h 428339"/>
                <a:gd name="connsiteX141" fmla="*/ 168816 w 289759"/>
                <a:gd name="connsiteY141" fmla="*/ 319995 h 428339"/>
                <a:gd name="connsiteX142" fmla="*/ 173856 w 289759"/>
                <a:gd name="connsiteY142" fmla="*/ 318735 h 428339"/>
                <a:gd name="connsiteX143" fmla="*/ 173856 w 289759"/>
                <a:gd name="connsiteY143" fmla="*/ 318735 h 428339"/>
                <a:gd name="connsiteX144" fmla="*/ 188973 w 289759"/>
                <a:gd name="connsiteY144" fmla="*/ 316216 h 428339"/>
                <a:gd name="connsiteX145" fmla="*/ 209131 w 289759"/>
                <a:gd name="connsiteY145" fmla="*/ 309916 h 428339"/>
                <a:gd name="connsiteX146" fmla="*/ 228028 w 289759"/>
                <a:gd name="connsiteY146" fmla="*/ 301098 h 428339"/>
                <a:gd name="connsiteX147" fmla="*/ 235587 w 289759"/>
                <a:gd name="connsiteY147" fmla="*/ 296058 h 428339"/>
                <a:gd name="connsiteX148" fmla="*/ 244406 w 289759"/>
                <a:gd name="connsiteY148" fmla="*/ 289759 h 428339"/>
                <a:gd name="connsiteX149" fmla="*/ 257004 w 289759"/>
                <a:gd name="connsiteY149" fmla="*/ 274641 h 428339"/>
                <a:gd name="connsiteX150" fmla="*/ 267083 w 289759"/>
                <a:gd name="connsiteY150" fmla="*/ 258264 h 428339"/>
                <a:gd name="connsiteX151" fmla="*/ 274642 w 289759"/>
                <a:gd name="connsiteY151" fmla="*/ 239366 h 428339"/>
                <a:gd name="connsiteX152" fmla="*/ 278421 w 289759"/>
                <a:gd name="connsiteY152" fmla="*/ 228028 h 428339"/>
                <a:gd name="connsiteX153" fmla="*/ 278421 w 289759"/>
                <a:gd name="connsiteY153" fmla="*/ 228028 h 428339"/>
                <a:gd name="connsiteX154" fmla="*/ 278421 w 289759"/>
                <a:gd name="connsiteY154" fmla="*/ 228028 h 428339"/>
                <a:gd name="connsiteX155" fmla="*/ 279681 w 289759"/>
                <a:gd name="connsiteY155" fmla="*/ 221729 h 428339"/>
                <a:gd name="connsiteX156" fmla="*/ 283460 w 289759"/>
                <a:gd name="connsiteY156" fmla="*/ 204091 h 428339"/>
                <a:gd name="connsiteX157" fmla="*/ 283460 w 289759"/>
                <a:gd name="connsiteY157" fmla="*/ 202831 h 428339"/>
                <a:gd name="connsiteX158" fmla="*/ 287240 w 289759"/>
                <a:gd name="connsiteY158" fmla="*/ 183934 h 428339"/>
                <a:gd name="connsiteX159" fmla="*/ 291019 w 289759"/>
                <a:gd name="connsiteY159" fmla="*/ 144880 h 428339"/>
                <a:gd name="connsiteX160" fmla="*/ 291019 w 289759"/>
                <a:gd name="connsiteY160" fmla="*/ 109605 h 428339"/>
                <a:gd name="connsiteX161" fmla="*/ 291019 w 289759"/>
                <a:gd name="connsiteY161" fmla="*/ 105825 h 428339"/>
                <a:gd name="connsiteX162" fmla="*/ 289759 w 289759"/>
                <a:gd name="connsiteY162" fmla="*/ 88188 h 428339"/>
                <a:gd name="connsiteX163" fmla="*/ 288500 w 289759"/>
                <a:gd name="connsiteY163" fmla="*/ 69290 h 428339"/>
                <a:gd name="connsiteX164" fmla="*/ 288500 w 289759"/>
                <a:gd name="connsiteY164" fmla="*/ 65511 h 428339"/>
                <a:gd name="connsiteX165" fmla="*/ 287240 w 289759"/>
                <a:gd name="connsiteY165" fmla="*/ 51653 h 428339"/>
                <a:gd name="connsiteX166" fmla="*/ 287240 w 289759"/>
                <a:gd name="connsiteY166" fmla="*/ 51653 h 428339"/>
                <a:gd name="connsiteX167" fmla="*/ 287240 w 289759"/>
                <a:gd name="connsiteY167" fmla="*/ 51653 h 428339"/>
                <a:gd name="connsiteX168" fmla="*/ 277161 w 289759"/>
                <a:gd name="connsiteY168" fmla="*/ 47873 h 42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89759" h="428339">
                  <a:moveTo>
                    <a:pt x="277161" y="47873"/>
                  </a:moveTo>
                  <a:lnTo>
                    <a:pt x="277161" y="47873"/>
                  </a:lnTo>
                  <a:lnTo>
                    <a:pt x="277161" y="47873"/>
                  </a:lnTo>
                  <a:cubicBezTo>
                    <a:pt x="277161" y="47873"/>
                    <a:pt x="277161" y="47873"/>
                    <a:pt x="277161" y="47873"/>
                  </a:cubicBezTo>
                  <a:cubicBezTo>
                    <a:pt x="270862" y="49133"/>
                    <a:pt x="265823" y="50393"/>
                    <a:pt x="260784" y="50393"/>
                  </a:cubicBezTo>
                  <a:lnTo>
                    <a:pt x="259524" y="50393"/>
                  </a:lnTo>
                  <a:cubicBezTo>
                    <a:pt x="255744" y="50393"/>
                    <a:pt x="250705" y="50393"/>
                    <a:pt x="246925" y="50393"/>
                  </a:cubicBezTo>
                  <a:cubicBezTo>
                    <a:pt x="246925" y="50393"/>
                    <a:pt x="245666" y="50393"/>
                    <a:pt x="245666" y="50393"/>
                  </a:cubicBezTo>
                  <a:cubicBezTo>
                    <a:pt x="244406" y="50393"/>
                    <a:pt x="244406" y="50393"/>
                    <a:pt x="243146" y="50393"/>
                  </a:cubicBezTo>
                  <a:cubicBezTo>
                    <a:pt x="243146" y="50393"/>
                    <a:pt x="243146" y="50393"/>
                    <a:pt x="243146" y="50393"/>
                  </a:cubicBezTo>
                  <a:lnTo>
                    <a:pt x="241886" y="50393"/>
                  </a:lnTo>
                  <a:cubicBezTo>
                    <a:pt x="239366" y="50393"/>
                    <a:pt x="235587" y="50393"/>
                    <a:pt x="233067" y="50393"/>
                  </a:cubicBezTo>
                  <a:cubicBezTo>
                    <a:pt x="228028" y="50393"/>
                    <a:pt x="224249" y="49133"/>
                    <a:pt x="220469" y="49133"/>
                  </a:cubicBezTo>
                  <a:cubicBezTo>
                    <a:pt x="220469" y="49133"/>
                    <a:pt x="219209" y="49133"/>
                    <a:pt x="219209" y="49133"/>
                  </a:cubicBezTo>
                  <a:lnTo>
                    <a:pt x="215430" y="49133"/>
                  </a:lnTo>
                  <a:lnTo>
                    <a:pt x="215430" y="49133"/>
                  </a:lnTo>
                  <a:lnTo>
                    <a:pt x="212910" y="49133"/>
                  </a:lnTo>
                  <a:cubicBezTo>
                    <a:pt x="211650" y="49133"/>
                    <a:pt x="210391" y="49133"/>
                    <a:pt x="209131" y="49133"/>
                  </a:cubicBezTo>
                  <a:lnTo>
                    <a:pt x="209131" y="49133"/>
                  </a:lnTo>
                  <a:cubicBezTo>
                    <a:pt x="209131" y="49133"/>
                    <a:pt x="207871" y="49133"/>
                    <a:pt x="207871" y="49133"/>
                  </a:cubicBezTo>
                  <a:cubicBezTo>
                    <a:pt x="205351" y="49133"/>
                    <a:pt x="201572" y="47873"/>
                    <a:pt x="199052" y="47873"/>
                  </a:cubicBezTo>
                  <a:lnTo>
                    <a:pt x="197792" y="47873"/>
                  </a:lnTo>
                  <a:lnTo>
                    <a:pt x="195273" y="47873"/>
                  </a:lnTo>
                  <a:cubicBezTo>
                    <a:pt x="187714" y="46613"/>
                    <a:pt x="181415" y="44094"/>
                    <a:pt x="173856" y="41574"/>
                  </a:cubicBezTo>
                  <a:cubicBezTo>
                    <a:pt x="165037" y="39054"/>
                    <a:pt x="157478" y="35275"/>
                    <a:pt x="149919" y="32755"/>
                  </a:cubicBezTo>
                  <a:cubicBezTo>
                    <a:pt x="146140" y="31496"/>
                    <a:pt x="142360" y="28976"/>
                    <a:pt x="138581" y="27716"/>
                  </a:cubicBezTo>
                  <a:cubicBezTo>
                    <a:pt x="138581" y="27716"/>
                    <a:pt x="138581" y="27716"/>
                    <a:pt x="138581" y="27716"/>
                  </a:cubicBezTo>
                  <a:lnTo>
                    <a:pt x="138581" y="27716"/>
                  </a:lnTo>
                  <a:cubicBezTo>
                    <a:pt x="138581" y="27716"/>
                    <a:pt x="138581" y="27716"/>
                    <a:pt x="138581" y="27716"/>
                  </a:cubicBezTo>
                  <a:cubicBezTo>
                    <a:pt x="136061" y="26456"/>
                    <a:pt x="133541" y="25196"/>
                    <a:pt x="131022" y="22677"/>
                  </a:cubicBezTo>
                  <a:cubicBezTo>
                    <a:pt x="129762" y="22677"/>
                    <a:pt x="129762" y="21417"/>
                    <a:pt x="128502" y="21417"/>
                  </a:cubicBezTo>
                  <a:cubicBezTo>
                    <a:pt x="128502" y="21417"/>
                    <a:pt x="127242" y="20157"/>
                    <a:pt x="127242" y="20157"/>
                  </a:cubicBezTo>
                  <a:cubicBezTo>
                    <a:pt x="125982" y="18897"/>
                    <a:pt x="124723" y="17637"/>
                    <a:pt x="123463" y="16378"/>
                  </a:cubicBezTo>
                  <a:cubicBezTo>
                    <a:pt x="122203" y="15118"/>
                    <a:pt x="120943" y="15118"/>
                    <a:pt x="120943" y="13858"/>
                  </a:cubicBezTo>
                  <a:cubicBezTo>
                    <a:pt x="119683" y="12598"/>
                    <a:pt x="117164" y="10078"/>
                    <a:pt x="115904" y="8819"/>
                  </a:cubicBezTo>
                  <a:lnTo>
                    <a:pt x="115904" y="8819"/>
                  </a:lnTo>
                  <a:lnTo>
                    <a:pt x="115904" y="8819"/>
                  </a:lnTo>
                  <a:lnTo>
                    <a:pt x="115904" y="8819"/>
                  </a:lnTo>
                  <a:cubicBezTo>
                    <a:pt x="115904" y="8819"/>
                    <a:pt x="115904" y="8819"/>
                    <a:pt x="115904" y="8819"/>
                  </a:cubicBezTo>
                  <a:cubicBezTo>
                    <a:pt x="115904" y="8819"/>
                    <a:pt x="114644" y="7559"/>
                    <a:pt x="114644" y="7559"/>
                  </a:cubicBezTo>
                  <a:cubicBezTo>
                    <a:pt x="113384" y="6299"/>
                    <a:pt x="112124" y="5039"/>
                    <a:pt x="112124" y="5039"/>
                  </a:cubicBezTo>
                  <a:cubicBezTo>
                    <a:pt x="110864" y="3779"/>
                    <a:pt x="108345" y="1260"/>
                    <a:pt x="107085" y="0"/>
                  </a:cubicBezTo>
                  <a:cubicBezTo>
                    <a:pt x="107085" y="0"/>
                    <a:pt x="107085" y="0"/>
                    <a:pt x="107085" y="0"/>
                  </a:cubicBezTo>
                  <a:cubicBezTo>
                    <a:pt x="105825" y="1260"/>
                    <a:pt x="104565" y="3779"/>
                    <a:pt x="104565" y="5039"/>
                  </a:cubicBezTo>
                  <a:cubicBezTo>
                    <a:pt x="104565" y="5039"/>
                    <a:pt x="103306" y="6299"/>
                    <a:pt x="103306" y="6299"/>
                  </a:cubicBezTo>
                  <a:cubicBezTo>
                    <a:pt x="103306" y="7559"/>
                    <a:pt x="103306" y="7559"/>
                    <a:pt x="102046" y="8819"/>
                  </a:cubicBezTo>
                  <a:cubicBezTo>
                    <a:pt x="100786" y="12598"/>
                    <a:pt x="98266" y="16378"/>
                    <a:pt x="97007" y="20157"/>
                  </a:cubicBezTo>
                  <a:cubicBezTo>
                    <a:pt x="95747" y="21417"/>
                    <a:pt x="95747" y="23937"/>
                    <a:pt x="94487" y="25196"/>
                  </a:cubicBezTo>
                  <a:cubicBezTo>
                    <a:pt x="93227" y="26456"/>
                    <a:pt x="91967" y="27716"/>
                    <a:pt x="91967" y="28976"/>
                  </a:cubicBezTo>
                  <a:cubicBezTo>
                    <a:pt x="88188" y="32755"/>
                    <a:pt x="84408" y="36535"/>
                    <a:pt x="79369" y="39054"/>
                  </a:cubicBezTo>
                  <a:cubicBezTo>
                    <a:pt x="73070" y="42834"/>
                    <a:pt x="66771" y="47873"/>
                    <a:pt x="60472" y="51653"/>
                  </a:cubicBezTo>
                  <a:cubicBezTo>
                    <a:pt x="52913" y="55432"/>
                    <a:pt x="44094" y="57952"/>
                    <a:pt x="35275" y="60471"/>
                  </a:cubicBezTo>
                  <a:cubicBezTo>
                    <a:pt x="30236" y="62991"/>
                    <a:pt x="25196" y="65511"/>
                    <a:pt x="18897" y="66770"/>
                  </a:cubicBezTo>
                  <a:cubicBezTo>
                    <a:pt x="16378" y="68030"/>
                    <a:pt x="13858" y="68030"/>
                    <a:pt x="11339" y="69290"/>
                  </a:cubicBezTo>
                  <a:cubicBezTo>
                    <a:pt x="8819" y="70550"/>
                    <a:pt x="6299" y="70550"/>
                    <a:pt x="3780" y="71810"/>
                  </a:cubicBezTo>
                  <a:cubicBezTo>
                    <a:pt x="2520" y="71810"/>
                    <a:pt x="1260" y="71810"/>
                    <a:pt x="0" y="73070"/>
                  </a:cubicBezTo>
                  <a:cubicBezTo>
                    <a:pt x="0" y="74330"/>
                    <a:pt x="0" y="75589"/>
                    <a:pt x="0" y="76849"/>
                  </a:cubicBezTo>
                  <a:cubicBezTo>
                    <a:pt x="0" y="79369"/>
                    <a:pt x="0" y="81889"/>
                    <a:pt x="0" y="84408"/>
                  </a:cubicBezTo>
                  <a:cubicBezTo>
                    <a:pt x="0" y="88188"/>
                    <a:pt x="0" y="9070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5746"/>
                    <a:pt x="1260" y="95746"/>
                  </a:cubicBezTo>
                  <a:cubicBezTo>
                    <a:pt x="1260" y="97006"/>
                    <a:pt x="1260" y="98266"/>
                    <a:pt x="1260" y="99526"/>
                  </a:cubicBezTo>
                  <a:cubicBezTo>
                    <a:pt x="1260" y="104565"/>
                    <a:pt x="1260" y="110864"/>
                    <a:pt x="1260" y="115904"/>
                  </a:cubicBezTo>
                  <a:cubicBezTo>
                    <a:pt x="1260" y="122203"/>
                    <a:pt x="2520" y="127242"/>
                    <a:pt x="2520" y="133541"/>
                  </a:cubicBezTo>
                  <a:cubicBezTo>
                    <a:pt x="3780" y="146139"/>
                    <a:pt x="5039" y="157478"/>
                    <a:pt x="6299" y="170076"/>
                  </a:cubicBezTo>
                  <a:cubicBezTo>
                    <a:pt x="6299" y="176375"/>
                    <a:pt x="7559" y="181414"/>
                    <a:pt x="8819" y="187714"/>
                  </a:cubicBezTo>
                  <a:cubicBezTo>
                    <a:pt x="10079" y="194013"/>
                    <a:pt x="10079" y="201572"/>
                    <a:pt x="12598" y="207871"/>
                  </a:cubicBezTo>
                  <a:cubicBezTo>
                    <a:pt x="12598" y="209131"/>
                    <a:pt x="12598" y="210390"/>
                    <a:pt x="13858" y="211650"/>
                  </a:cubicBezTo>
                  <a:cubicBezTo>
                    <a:pt x="13858" y="212910"/>
                    <a:pt x="15118" y="215430"/>
                    <a:pt x="15118" y="216690"/>
                  </a:cubicBezTo>
                  <a:cubicBezTo>
                    <a:pt x="16378" y="219209"/>
                    <a:pt x="16378" y="222989"/>
                    <a:pt x="17638" y="225508"/>
                  </a:cubicBezTo>
                  <a:cubicBezTo>
                    <a:pt x="18897" y="231807"/>
                    <a:pt x="21417" y="236847"/>
                    <a:pt x="23937" y="243146"/>
                  </a:cubicBezTo>
                  <a:cubicBezTo>
                    <a:pt x="23937" y="244406"/>
                    <a:pt x="25196" y="244406"/>
                    <a:pt x="25196" y="245666"/>
                  </a:cubicBezTo>
                  <a:cubicBezTo>
                    <a:pt x="25196" y="245666"/>
                    <a:pt x="25196" y="246925"/>
                    <a:pt x="25196" y="246925"/>
                  </a:cubicBezTo>
                  <a:cubicBezTo>
                    <a:pt x="26456" y="249445"/>
                    <a:pt x="26456" y="251965"/>
                    <a:pt x="27716" y="254484"/>
                  </a:cubicBezTo>
                  <a:cubicBezTo>
                    <a:pt x="28976" y="257004"/>
                    <a:pt x="30236" y="259523"/>
                    <a:pt x="31496" y="262043"/>
                  </a:cubicBezTo>
                  <a:cubicBezTo>
                    <a:pt x="32755" y="264563"/>
                    <a:pt x="34015" y="267083"/>
                    <a:pt x="36535" y="269602"/>
                  </a:cubicBezTo>
                  <a:cubicBezTo>
                    <a:pt x="37795" y="272122"/>
                    <a:pt x="39055" y="274641"/>
                    <a:pt x="41574" y="277161"/>
                  </a:cubicBezTo>
                  <a:cubicBezTo>
                    <a:pt x="42834" y="279681"/>
                    <a:pt x="45354" y="282200"/>
                    <a:pt x="47873" y="284720"/>
                  </a:cubicBezTo>
                  <a:cubicBezTo>
                    <a:pt x="49133" y="285980"/>
                    <a:pt x="50393" y="288499"/>
                    <a:pt x="52913" y="289759"/>
                  </a:cubicBezTo>
                  <a:cubicBezTo>
                    <a:pt x="52913" y="289759"/>
                    <a:pt x="52913" y="289759"/>
                    <a:pt x="52913" y="289759"/>
                  </a:cubicBezTo>
                  <a:cubicBezTo>
                    <a:pt x="52913" y="291019"/>
                    <a:pt x="51653" y="29353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0393" y="297318"/>
                    <a:pt x="49133" y="298578"/>
                    <a:pt x="49133" y="301098"/>
                  </a:cubicBezTo>
                  <a:cubicBezTo>
                    <a:pt x="47873" y="303617"/>
                    <a:pt x="47873" y="304877"/>
                    <a:pt x="46614" y="307397"/>
                  </a:cubicBezTo>
                  <a:cubicBezTo>
                    <a:pt x="45354" y="311176"/>
                    <a:pt x="44094" y="316216"/>
                    <a:pt x="42834" y="319995"/>
                  </a:cubicBezTo>
                  <a:cubicBezTo>
                    <a:pt x="41574" y="323775"/>
                    <a:pt x="40314" y="328814"/>
                    <a:pt x="39055" y="332593"/>
                  </a:cubicBezTo>
                  <a:cubicBezTo>
                    <a:pt x="37795" y="336373"/>
                    <a:pt x="36535" y="341412"/>
                    <a:pt x="34015" y="345192"/>
                  </a:cubicBezTo>
                  <a:cubicBezTo>
                    <a:pt x="32755" y="347711"/>
                    <a:pt x="31496" y="350231"/>
                    <a:pt x="31496" y="351491"/>
                  </a:cubicBezTo>
                  <a:cubicBezTo>
                    <a:pt x="30236" y="354010"/>
                    <a:pt x="30236" y="356530"/>
                    <a:pt x="28976" y="359050"/>
                  </a:cubicBezTo>
                  <a:cubicBezTo>
                    <a:pt x="28976" y="359050"/>
                    <a:pt x="28976" y="360309"/>
                    <a:pt x="28976" y="360309"/>
                  </a:cubicBezTo>
                  <a:lnTo>
                    <a:pt x="28976" y="360309"/>
                  </a:lnTo>
                  <a:cubicBezTo>
                    <a:pt x="27716" y="361569"/>
                    <a:pt x="27716" y="364089"/>
                    <a:pt x="26456" y="365349"/>
                  </a:cubicBezTo>
                  <a:cubicBezTo>
                    <a:pt x="25196" y="366608"/>
                    <a:pt x="25196" y="367868"/>
                    <a:pt x="25196" y="370388"/>
                  </a:cubicBezTo>
                  <a:cubicBezTo>
                    <a:pt x="25196" y="370388"/>
                    <a:pt x="25196" y="370388"/>
                    <a:pt x="25196" y="371648"/>
                  </a:cubicBezTo>
                  <a:lnTo>
                    <a:pt x="25196" y="371648"/>
                  </a:lnTo>
                  <a:lnTo>
                    <a:pt x="25196" y="371648"/>
                  </a:lnTo>
                  <a:cubicBezTo>
                    <a:pt x="25196" y="372908"/>
                    <a:pt x="25196" y="374167"/>
                    <a:pt x="25196" y="375427"/>
                  </a:cubicBezTo>
                  <a:cubicBezTo>
                    <a:pt x="25196" y="376687"/>
                    <a:pt x="25196" y="377947"/>
                    <a:pt x="25196" y="379207"/>
                  </a:cubicBezTo>
                  <a:lnTo>
                    <a:pt x="25196" y="380467"/>
                  </a:lnTo>
                  <a:cubicBezTo>
                    <a:pt x="25196" y="381726"/>
                    <a:pt x="25196" y="382986"/>
                    <a:pt x="26456" y="384246"/>
                  </a:cubicBezTo>
                  <a:cubicBezTo>
                    <a:pt x="27716" y="386766"/>
                    <a:pt x="28976" y="390545"/>
                    <a:pt x="30236" y="393065"/>
                  </a:cubicBezTo>
                  <a:cubicBezTo>
                    <a:pt x="31496" y="395584"/>
                    <a:pt x="32755" y="396844"/>
                    <a:pt x="35275" y="399364"/>
                  </a:cubicBezTo>
                  <a:cubicBezTo>
                    <a:pt x="39055" y="403143"/>
                    <a:pt x="42834" y="408183"/>
                    <a:pt x="49133" y="411962"/>
                  </a:cubicBezTo>
                  <a:cubicBezTo>
                    <a:pt x="51653" y="413222"/>
                    <a:pt x="54172" y="415742"/>
                    <a:pt x="57952" y="417001"/>
                  </a:cubicBezTo>
                  <a:lnTo>
                    <a:pt x="59212" y="418261"/>
                  </a:lnTo>
                  <a:cubicBezTo>
                    <a:pt x="61731" y="419521"/>
                    <a:pt x="64251" y="420781"/>
                    <a:pt x="65511" y="422041"/>
                  </a:cubicBezTo>
                  <a:cubicBezTo>
                    <a:pt x="70550" y="424560"/>
                    <a:pt x="76849" y="425820"/>
                    <a:pt x="84408" y="427080"/>
                  </a:cubicBezTo>
                  <a:cubicBezTo>
                    <a:pt x="88188" y="427080"/>
                    <a:pt x="91967" y="427080"/>
                    <a:pt x="94487" y="428340"/>
                  </a:cubicBezTo>
                  <a:cubicBezTo>
                    <a:pt x="97007" y="428340"/>
                    <a:pt x="100786" y="428340"/>
                    <a:pt x="104565" y="428340"/>
                  </a:cubicBezTo>
                  <a:cubicBezTo>
                    <a:pt x="104565" y="428340"/>
                    <a:pt x="105825" y="428340"/>
                    <a:pt x="105825" y="428340"/>
                  </a:cubicBezTo>
                  <a:cubicBezTo>
                    <a:pt x="108345" y="428340"/>
                    <a:pt x="110864" y="428340"/>
                    <a:pt x="114644" y="427080"/>
                  </a:cubicBezTo>
                  <a:cubicBezTo>
                    <a:pt x="117164" y="427080"/>
                    <a:pt x="119683" y="425820"/>
                    <a:pt x="123463" y="424560"/>
                  </a:cubicBezTo>
                  <a:cubicBezTo>
                    <a:pt x="127242" y="423301"/>
                    <a:pt x="132281" y="420781"/>
                    <a:pt x="137321" y="418261"/>
                  </a:cubicBezTo>
                  <a:cubicBezTo>
                    <a:pt x="139840" y="417001"/>
                    <a:pt x="142360" y="415742"/>
                    <a:pt x="144880" y="413222"/>
                  </a:cubicBezTo>
                  <a:cubicBezTo>
                    <a:pt x="147399" y="411962"/>
                    <a:pt x="148659" y="409443"/>
                    <a:pt x="149919" y="406923"/>
                  </a:cubicBezTo>
                  <a:cubicBezTo>
                    <a:pt x="151179" y="404403"/>
                    <a:pt x="152439" y="401884"/>
                    <a:pt x="153699" y="400624"/>
                  </a:cubicBezTo>
                  <a:cubicBezTo>
                    <a:pt x="154958" y="399364"/>
                    <a:pt x="154958" y="396844"/>
                    <a:pt x="154958" y="395584"/>
                  </a:cubicBezTo>
                  <a:cubicBezTo>
                    <a:pt x="154958" y="394325"/>
                    <a:pt x="154958" y="394325"/>
                    <a:pt x="154958" y="393065"/>
                  </a:cubicBezTo>
                  <a:cubicBezTo>
                    <a:pt x="154958" y="393065"/>
                    <a:pt x="154958" y="391805"/>
                    <a:pt x="154958" y="391805"/>
                  </a:cubicBezTo>
                  <a:cubicBezTo>
                    <a:pt x="154958" y="389285"/>
                    <a:pt x="156218" y="388025"/>
                    <a:pt x="156218" y="385506"/>
                  </a:cubicBezTo>
                  <a:lnTo>
                    <a:pt x="156218" y="385506"/>
                  </a:lnTo>
                  <a:cubicBezTo>
                    <a:pt x="156218" y="385506"/>
                    <a:pt x="156218" y="385506"/>
                    <a:pt x="156218" y="385506"/>
                  </a:cubicBezTo>
                  <a:cubicBezTo>
                    <a:pt x="156218" y="384246"/>
                    <a:pt x="156218" y="384246"/>
                    <a:pt x="156218" y="382986"/>
                  </a:cubicBezTo>
                  <a:cubicBezTo>
                    <a:pt x="156218" y="382986"/>
                    <a:pt x="156218" y="382986"/>
                    <a:pt x="156218" y="382986"/>
                  </a:cubicBezTo>
                  <a:cubicBezTo>
                    <a:pt x="156218" y="382986"/>
                    <a:pt x="156218" y="381726"/>
                    <a:pt x="156218" y="381726"/>
                  </a:cubicBezTo>
                  <a:cubicBezTo>
                    <a:pt x="156218" y="380467"/>
                    <a:pt x="154958" y="379207"/>
                    <a:pt x="153699" y="376687"/>
                  </a:cubicBezTo>
                  <a:lnTo>
                    <a:pt x="153699" y="376687"/>
                  </a:lnTo>
                  <a:cubicBezTo>
                    <a:pt x="152439" y="374167"/>
                    <a:pt x="152439" y="372908"/>
                    <a:pt x="151179" y="370388"/>
                  </a:cubicBezTo>
                  <a:lnTo>
                    <a:pt x="151179" y="369128"/>
                  </a:lnTo>
                  <a:cubicBezTo>
                    <a:pt x="149919" y="366608"/>
                    <a:pt x="148659" y="364089"/>
                    <a:pt x="148659" y="362829"/>
                  </a:cubicBezTo>
                  <a:cubicBezTo>
                    <a:pt x="147399" y="357790"/>
                    <a:pt x="146140" y="3527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lnTo>
                    <a:pt x="144880" y="346451"/>
                  </a:lnTo>
                  <a:cubicBezTo>
                    <a:pt x="143620" y="341412"/>
                    <a:pt x="143620" y="335113"/>
                    <a:pt x="143620" y="327554"/>
                  </a:cubicBezTo>
                  <a:cubicBezTo>
                    <a:pt x="143620" y="326294"/>
                    <a:pt x="143620" y="325034"/>
                    <a:pt x="143620" y="322515"/>
                  </a:cubicBezTo>
                  <a:lnTo>
                    <a:pt x="143620" y="322515"/>
                  </a:lnTo>
                  <a:cubicBezTo>
                    <a:pt x="144880" y="322515"/>
                    <a:pt x="146140" y="322515"/>
                    <a:pt x="147399" y="322515"/>
                  </a:cubicBezTo>
                  <a:cubicBezTo>
                    <a:pt x="148659" y="322515"/>
                    <a:pt x="151179" y="322515"/>
                    <a:pt x="152439" y="322515"/>
                  </a:cubicBezTo>
                  <a:cubicBezTo>
                    <a:pt x="158738" y="322515"/>
                    <a:pt x="165037" y="321255"/>
                    <a:pt x="168816" y="319995"/>
                  </a:cubicBezTo>
                  <a:cubicBezTo>
                    <a:pt x="170076" y="319995"/>
                    <a:pt x="172596" y="319995"/>
                    <a:pt x="173856" y="318735"/>
                  </a:cubicBezTo>
                  <a:lnTo>
                    <a:pt x="173856" y="318735"/>
                  </a:lnTo>
                  <a:cubicBezTo>
                    <a:pt x="178895" y="317475"/>
                    <a:pt x="183934" y="317475"/>
                    <a:pt x="188973" y="316216"/>
                  </a:cubicBezTo>
                  <a:cubicBezTo>
                    <a:pt x="196533" y="314956"/>
                    <a:pt x="202832" y="312436"/>
                    <a:pt x="209131" y="309916"/>
                  </a:cubicBezTo>
                  <a:cubicBezTo>
                    <a:pt x="216690" y="307397"/>
                    <a:pt x="222989" y="303617"/>
                    <a:pt x="228028" y="301098"/>
                  </a:cubicBezTo>
                  <a:cubicBezTo>
                    <a:pt x="230548" y="299838"/>
                    <a:pt x="233067" y="297318"/>
                    <a:pt x="235587" y="296058"/>
                  </a:cubicBezTo>
                  <a:cubicBezTo>
                    <a:pt x="238107" y="293539"/>
                    <a:pt x="241886" y="292279"/>
                    <a:pt x="244406" y="289759"/>
                  </a:cubicBezTo>
                  <a:cubicBezTo>
                    <a:pt x="249445" y="285980"/>
                    <a:pt x="253225" y="280940"/>
                    <a:pt x="257004" y="274641"/>
                  </a:cubicBezTo>
                  <a:cubicBezTo>
                    <a:pt x="260784" y="269602"/>
                    <a:pt x="264563" y="263303"/>
                    <a:pt x="267083" y="258264"/>
                  </a:cubicBezTo>
                  <a:cubicBezTo>
                    <a:pt x="270862" y="251965"/>
                    <a:pt x="273382" y="244406"/>
                    <a:pt x="274642" y="239366"/>
                  </a:cubicBezTo>
                  <a:cubicBezTo>
                    <a:pt x="275901" y="235587"/>
                    <a:pt x="277161" y="233067"/>
                    <a:pt x="278421" y="228028"/>
                  </a:cubicBezTo>
                  <a:cubicBezTo>
                    <a:pt x="278421" y="228028"/>
                    <a:pt x="278421" y="228028"/>
                    <a:pt x="278421" y="228028"/>
                  </a:cubicBezTo>
                  <a:lnTo>
                    <a:pt x="278421" y="228028"/>
                  </a:lnTo>
                  <a:cubicBezTo>
                    <a:pt x="279681" y="225508"/>
                    <a:pt x="279681" y="224248"/>
                    <a:pt x="279681" y="221729"/>
                  </a:cubicBezTo>
                  <a:cubicBezTo>
                    <a:pt x="280941" y="215430"/>
                    <a:pt x="282201" y="210390"/>
                    <a:pt x="283460" y="204091"/>
                  </a:cubicBezTo>
                  <a:lnTo>
                    <a:pt x="283460" y="202831"/>
                  </a:lnTo>
                  <a:cubicBezTo>
                    <a:pt x="284720" y="196532"/>
                    <a:pt x="285980" y="190233"/>
                    <a:pt x="287240" y="183934"/>
                  </a:cubicBezTo>
                  <a:cubicBezTo>
                    <a:pt x="288500" y="172596"/>
                    <a:pt x="289759" y="158738"/>
                    <a:pt x="291019" y="144880"/>
                  </a:cubicBezTo>
                  <a:cubicBezTo>
                    <a:pt x="292279" y="133541"/>
                    <a:pt x="291019" y="120943"/>
                    <a:pt x="291019" y="109605"/>
                  </a:cubicBezTo>
                  <a:lnTo>
                    <a:pt x="291019" y="105825"/>
                  </a:lnTo>
                  <a:cubicBezTo>
                    <a:pt x="291019" y="99526"/>
                    <a:pt x="291019" y="94487"/>
                    <a:pt x="289759" y="88188"/>
                  </a:cubicBezTo>
                  <a:cubicBezTo>
                    <a:pt x="289759" y="81889"/>
                    <a:pt x="288500" y="75589"/>
                    <a:pt x="288500" y="69290"/>
                  </a:cubicBezTo>
                  <a:lnTo>
                    <a:pt x="288500" y="65511"/>
                  </a:lnTo>
                  <a:cubicBezTo>
                    <a:pt x="288500" y="61731"/>
                    <a:pt x="287240" y="56692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79681" y="47873"/>
                    <a:pt x="278421" y="47873"/>
                    <a:pt x="277161" y="47873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/>
            <p:cNvSpPr/>
            <p:nvPr/>
          </p:nvSpPr>
          <p:spPr>
            <a:xfrm>
              <a:off x="8653281" y="4063010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/>
            <p:cNvSpPr/>
            <p:nvPr/>
          </p:nvSpPr>
          <p:spPr>
            <a:xfrm>
              <a:off x="8132453" y="3836489"/>
              <a:ext cx="523401" cy="489080"/>
            </a:xfrm>
            <a:custGeom>
              <a:avLst/>
              <a:gdLst>
                <a:gd name="connsiteX0" fmla="*/ 537945 w 768492"/>
                <a:gd name="connsiteY0" fmla="*/ 16378 h 718099"/>
                <a:gd name="connsiteX1" fmla="*/ 537945 w 768492"/>
                <a:gd name="connsiteY1" fmla="*/ 16378 h 718099"/>
                <a:gd name="connsiteX2" fmla="*/ 537945 w 768492"/>
                <a:gd name="connsiteY2" fmla="*/ 16378 h 718099"/>
                <a:gd name="connsiteX3" fmla="*/ 536685 w 768492"/>
                <a:gd name="connsiteY3" fmla="*/ 22677 h 718099"/>
                <a:gd name="connsiteX4" fmla="*/ 537945 w 768492"/>
                <a:gd name="connsiteY4" fmla="*/ 16378 h 718099"/>
                <a:gd name="connsiteX5" fmla="*/ 537945 w 768492"/>
                <a:gd name="connsiteY5" fmla="*/ 16378 h 718099"/>
                <a:gd name="connsiteX6" fmla="*/ 537945 w 768492"/>
                <a:gd name="connsiteY6" fmla="*/ 16378 h 718099"/>
                <a:gd name="connsiteX7" fmla="*/ 536685 w 768492"/>
                <a:gd name="connsiteY7" fmla="*/ 23937 h 718099"/>
                <a:gd name="connsiteX8" fmla="*/ 536685 w 768492"/>
                <a:gd name="connsiteY8" fmla="*/ 26456 h 718099"/>
                <a:gd name="connsiteX9" fmla="*/ 535425 w 768492"/>
                <a:gd name="connsiteY9" fmla="*/ 31496 h 718099"/>
                <a:gd name="connsiteX10" fmla="*/ 531645 w 768492"/>
                <a:gd name="connsiteY10" fmla="*/ 37795 h 718099"/>
                <a:gd name="connsiteX11" fmla="*/ 526606 w 768492"/>
                <a:gd name="connsiteY11" fmla="*/ 44094 h 718099"/>
                <a:gd name="connsiteX12" fmla="*/ 519047 w 768492"/>
                <a:gd name="connsiteY12" fmla="*/ 49133 h 718099"/>
                <a:gd name="connsiteX13" fmla="*/ 505189 w 768492"/>
                <a:gd name="connsiteY13" fmla="*/ 55432 h 718099"/>
                <a:gd name="connsiteX14" fmla="*/ 496370 w 768492"/>
                <a:gd name="connsiteY14" fmla="*/ 57952 h 718099"/>
                <a:gd name="connsiteX15" fmla="*/ 487552 w 768492"/>
                <a:gd name="connsiteY15" fmla="*/ 59212 h 718099"/>
                <a:gd name="connsiteX16" fmla="*/ 486292 w 768492"/>
                <a:gd name="connsiteY16" fmla="*/ 59212 h 718099"/>
                <a:gd name="connsiteX17" fmla="*/ 476213 w 768492"/>
                <a:gd name="connsiteY17" fmla="*/ 59212 h 718099"/>
                <a:gd name="connsiteX18" fmla="*/ 466135 w 768492"/>
                <a:gd name="connsiteY18" fmla="*/ 57952 h 718099"/>
                <a:gd name="connsiteX19" fmla="*/ 447237 w 768492"/>
                <a:gd name="connsiteY19" fmla="*/ 52913 h 718099"/>
                <a:gd name="connsiteX20" fmla="*/ 440938 w 768492"/>
                <a:gd name="connsiteY20" fmla="*/ 49133 h 718099"/>
                <a:gd name="connsiteX21" fmla="*/ 439678 w 768492"/>
                <a:gd name="connsiteY21" fmla="*/ 47873 h 718099"/>
                <a:gd name="connsiteX22" fmla="*/ 430860 w 768492"/>
                <a:gd name="connsiteY22" fmla="*/ 42834 h 718099"/>
                <a:gd name="connsiteX23" fmla="*/ 417002 w 768492"/>
                <a:gd name="connsiteY23" fmla="*/ 30236 h 718099"/>
                <a:gd name="connsiteX24" fmla="*/ 411962 w 768492"/>
                <a:gd name="connsiteY24" fmla="*/ 23937 h 718099"/>
                <a:gd name="connsiteX25" fmla="*/ 408183 w 768492"/>
                <a:gd name="connsiteY25" fmla="*/ 15118 h 718099"/>
                <a:gd name="connsiteX26" fmla="*/ 406923 w 768492"/>
                <a:gd name="connsiteY26" fmla="*/ 11338 h 718099"/>
                <a:gd name="connsiteX27" fmla="*/ 406923 w 768492"/>
                <a:gd name="connsiteY27" fmla="*/ 10078 h 718099"/>
                <a:gd name="connsiteX28" fmla="*/ 406923 w 768492"/>
                <a:gd name="connsiteY28" fmla="*/ 6299 h 718099"/>
                <a:gd name="connsiteX29" fmla="*/ 406923 w 768492"/>
                <a:gd name="connsiteY29" fmla="*/ 2520 h 718099"/>
                <a:gd name="connsiteX30" fmla="*/ 406923 w 768492"/>
                <a:gd name="connsiteY30" fmla="*/ 2520 h 718099"/>
                <a:gd name="connsiteX31" fmla="*/ 406923 w 768492"/>
                <a:gd name="connsiteY31" fmla="*/ 2520 h 718099"/>
                <a:gd name="connsiteX32" fmla="*/ 406923 w 768492"/>
                <a:gd name="connsiteY32" fmla="*/ 2520 h 718099"/>
                <a:gd name="connsiteX33" fmla="*/ 406923 w 768492"/>
                <a:gd name="connsiteY33" fmla="*/ 2520 h 718099"/>
                <a:gd name="connsiteX34" fmla="*/ 406923 w 768492"/>
                <a:gd name="connsiteY34" fmla="*/ 2520 h 718099"/>
                <a:gd name="connsiteX35" fmla="*/ 406923 w 768492"/>
                <a:gd name="connsiteY35" fmla="*/ 2520 h 718099"/>
                <a:gd name="connsiteX36" fmla="*/ 406923 w 768492"/>
                <a:gd name="connsiteY36" fmla="*/ 2520 h 718099"/>
                <a:gd name="connsiteX37" fmla="*/ 403143 w 768492"/>
                <a:gd name="connsiteY37" fmla="*/ 3779 h 718099"/>
                <a:gd name="connsiteX38" fmla="*/ 403143 w 768492"/>
                <a:gd name="connsiteY38" fmla="*/ 3779 h 718099"/>
                <a:gd name="connsiteX39" fmla="*/ 401884 w 768492"/>
                <a:gd name="connsiteY39" fmla="*/ 3779 h 718099"/>
                <a:gd name="connsiteX40" fmla="*/ 399364 w 768492"/>
                <a:gd name="connsiteY40" fmla="*/ 3779 h 718099"/>
                <a:gd name="connsiteX41" fmla="*/ 388026 w 768492"/>
                <a:gd name="connsiteY41" fmla="*/ 6299 h 718099"/>
                <a:gd name="connsiteX42" fmla="*/ 382986 w 768492"/>
                <a:gd name="connsiteY42" fmla="*/ 7559 h 718099"/>
                <a:gd name="connsiteX43" fmla="*/ 381726 w 768492"/>
                <a:gd name="connsiteY43" fmla="*/ 7559 h 718099"/>
                <a:gd name="connsiteX44" fmla="*/ 380467 w 768492"/>
                <a:gd name="connsiteY44" fmla="*/ 7559 h 718099"/>
                <a:gd name="connsiteX45" fmla="*/ 379207 w 768492"/>
                <a:gd name="connsiteY45" fmla="*/ 7559 h 718099"/>
                <a:gd name="connsiteX46" fmla="*/ 371648 w 768492"/>
                <a:gd name="connsiteY46" fmla="*/ 8819 h 718099"/>
                <a:gd name="connsiteX47" fmla="*/ 367868 w 768492"/>
                <a:gd name="connsiteY47" fmla="*/ 8819 h 718099"/>
                <a:gd name="connsiteX48" fmla="*/ 354010 w 768492"/>
                <a:gd name="connsiteY48" fmla="*/ 11338 h 718099"/>
                <a:gd name="connsiteX49" fmla="*/ 340152 w 768492"/>
                <a:gd name="connsiteY49" fmla="*/ 15118 h 718099"/>
                <a:gd name="connsiteX50" fmla="*/ 337633 w 768492"/>
                <a:gd name="connsiteY50" fmla="*/ 15118 h 718099"/>
                <a:gd name="connsiteX51" fmla="*/ 326294 w 768492"/>
                <a:gd name="connsiteY51" fmla="*/ 17637 h 718099"/>
                <a:gd name="connsiteX52" fmla="*/ 302358 w 768492"/>
                <a:gd name="connsiteY52" fmla="*/ 26456 h 718099"/>
                <a:gd name="connsiteX53" fmla="*/ 289759 w 768492"/>
                <a:gd name="connsiteY53" fmla="*/ 32755 h 718099"/>
                <a:gd name="connsiteX54" fmla="*/ 289759 w 768492"/>
                <a:gd name="connsiteY54" fmla="*/ 32755 h 718099"/>
                <a:gd name="connsiteX55" fmla="*/ 282201 w 768492"/>
                <a:gd name="connsiteY55" fmla="*/ 36535 h 718099"/>
                <a:gd name="connsiteX56" fmla="*/ 262043 w 768492"/>
                <a:gd name="connsiteY56" fmla="*/ 46613 h 718099"/>
                <a:gd name="connsiteX57" fmla="*/ 250705 w 768492"/>
                <a:gd name="connsiteY57" fmla="*/ 54172 h 718099"/>
                <a:gd name="connsiteX58" fmla="*/ 241886 w 768492"/>
                <a:gd name="connsiteY58" fmla="*/ 61731 h 718099"/>
                <a:gd name="connsiteX59" fmla="*/ 225508 w 768492"/>
                <a:gd name="connsiteY59" fmla="*/ 76849 h 718099"/>
                <a:gd name="connsiteX60" fmla="*/ 220469 w 768492"/>
                <a:gd name="connsiteY60" fmla="*/ 83148 h 718099"/>
                <a:gd name="connsiteX61" fmla="*/ 212910 w 768492"/>
                <a:gd name="connsiteY61" fmla="*/ 88188 h 718099"/>
                <a:gd name="connsiteX62" fmla="*/ 204091 w 768492"/>
                <a:gd name="connsiteY62" fmla="*/ 95746 h 718099"/>
                <a:gd name="connsiteX63" fmla="*/ 197792 w 768492"/>
                <a:gd name="connsiteY63" fmla="*/ 103305 h 718099"/>
                <a:gd name="connsiteX64" fmla="*/ 183934 w 768492"/>
                <a:gd name="connsiteY64" fmla="*/ 117163 h 718099"/>
                <a:gd name="connsiteX65" fmla="*/ 178895 w 768492"/>
                <a:gd name="connsiteY65" fmla="*/ 122203 h 718099"/>
                <a:gd name="connsiteX66" fmla="*/ 177635 w 768492"/>
                <a:gd name="connsiteY66" fmla="*/ 123463 h 718099"/>
                <a:gd name="connsiteX67" fmla="*/ 176375 w 768492"/>
                <a:gd name="connsiteY67" fmla="*/ 124722 h 718099"/>
                <a:gd name="connsiteX68" fmla="*/ 167557 w 768492"/>
                <a:gd name="connsiteY68" fmla="*/ 133541 h 718099"/>
                <a:gd name="connsiteX69" fmla="*/ 154958 w 768492"/>
                <a:gd name="connsiteY69" fmla="*/ 146139 h 718099"/>
                <a:gd name="connsiteX70" fmla="*/ 151179 w 768492"/>
                <a:gd name="connsiteY70" fmla="*/ 149919 h 718099"/>
                <a:gd name="connsiteX71" fmla="*/ 141100 w 768492"/>
                <a:gd name="connsiteY71" fmla="*/ 159998 h 718099"/>
                <a:gd name="connsiteX72" fmla="*/ 136061 w 768492"/>
                <a:gd name="connsiteY72" fmla="*/ 165037 h 718099"/>
                <a:gd name="connsiteX73" fmla="*/ 124723 w 768492"/>
                <a:gd name="connsiteY73" fmla="*/ 177635 h 718099"/>
                <a:gd name="connsiteX74" fmla="*/ 120943 w 768492"/>
                <a:gd name="connsiteY74" fmla="*/ 181414 h 718099"/>
                <a:gd name="connsiteX75" fmla="*/ 115904 w 768492"/>
                <a:gd name="connsiteY75" fmla="*/ 186454 h 718099"/>
                <a:gd name="connsiteX76" fmla="*/ 115904 w 768492"/>
                <a:gd name="connsiteY76" fmla="*/ 186454 h 718099"/>
                <a:gd name="connsiteX77" fmla="*/ 105825 w 768492"/>
                <a:gd name="connsiteY77" fmla="*/ 197792 h 718099"/>
                <a:gd name="connsiteX78" fmla="*/ 94487 w 768492"/>
                <a:gd name="connsiteY78" fmla="*/ 212910 h 718099"/>
                <a:gd name="connsiteX79" fmla="*/ 93227 w 768492"/>
                <a:gd name="connsiteY79" fmla="*/ 214170 h 718099"/>
                <a:gd name="connsiteX80" fmla="*/ 90707 w 768492"/>
                <a:gd name="connsiteY80" fmla="*/ 216690 h 718099"/>
                <a:gd name="connsiteX81" fmla="*/ 78109 w 768492"/>
                <a:gd name="connsiteY81" fmla="*/ 234327 h 718099"/>
                <a:gd name="connsiteX82" fmla="*/ 76849 w 768492"/>
                <a:gd name="connsiteY82" fmla="*/ 235587 h 718099"/>
                <a:gd name="connsiteX83" fmla="*/ 70550 w 768492"/>
                <a:gd name="connsiteY83" fmla="*/ 244406 h 718099"/>
                <a:gd name="connsiteX84" fmla="*/ 66771 w 768492"/>
                <a:gd name="connsiteY84" fmla="*/ 249445 h 718099"/>
                <a:gd name="connsiteX85" fmla="*/ 66771 w 768492"/>
                <a:gd name="connsiteY85" fmla="*/ 249445 h 718099"/>
                <a:gd name="connsiteX86" fmla="*/ 64251 w 768492"/>
                <a:gd name="connsiteY86" fmla="*/ 253224 h 718099"/>
                <a:gd name="connsiteX87" fmla="*/ 51653 w 768492"/>
                <a:gd name="connsiteY87" fmla="*/ 270862 h 718099"/>
                <a:gd name="connsiteX88" fmla="*/ 31496 w 768492"/>
                <a:gd name="connsiteY88" fmla="*/ 301098 h 718099"/>
                <a:gd name="connsiteX89" fmla="*/ 27716 w 768492"/>
                <a:gd name="connsiteY89" fmla="*/ 307397 h 718099"/>
                <a:gd name="connsiteX90" fmla="*/ 25196 w 768492"/>
                <a:gd name="connsiteY90" fmla="*/ 311176 h 718099"/>
                <a:gd name="connsiteX91" fmla="*/ 17638 w 768492"/>
                <a:gd name="connsiteY91" fmla="*/ 325034 h 718099"/>
                <a:gd name="connsiteX92" fmla="*/ 16378 w 768492"/>
                <a:gd name="connsiteY92" fmla="*/ 327554 h 718099"/>
                <a:gd name="connsiteX93" fmla="*/ 16378 w 768492"/>
                <a:gd name="connsiteY93" fmla="*/ 327554 h 718099"/>
                <a:gd name="connsiteX94" fmla="*/ 13858 w 768492"/>
                <a:gd name="connsiteY94" fmla="*/ 332593 h 718099"/>
                <a:gd name="connsiteX95" fmla="*/ 10079 w 768492"/>
                <a:gd name="connsiteY95" fmla="*/ 342672 h 718099"/>
                <a:gd name="connsiteX96" fmla="*/ 10079 w 768492"/>
                <a:gd name="connsiteY96" fmla="*/ 342672 h 718099"/>
                <a:gd name="connsiteX97" fmla="*/ 6299 w 768492"/>
                <a:gd name="connsiteY97" fmla="*/ 351491 h 718099"/>
                <a:gd name="connsiteX98" fmla="*/ 3780 w 768492"/>
                <a:gd name="connsiteY98" fmla="*/ 360309 h 718099"/>
                <a:gd name="connsiteX99" fmla="*/ 0 w 768492"/>
                <a:gd name="connsiteY99" fmla="*/ 381726 h 718099"/>
                <a:gd name="connsiteX100" fmla="*/ 1260 w 768492"/>
                <a:gd name="connsiteY100" fmla="*/ 401884 h 718099"/>
                <a:gd name="connsiteX101" fmla="*/ 3780 w 768492"/>
                <a:gd name="connsiteY101" fmla="*/ 413222 h 718099"/>
                <a:gd name="connsiteX102" fmla="*/ 8819 w 768492"/>
                <a:gd name="connsiteY102" fmla="*/ 423301 h 718099"/>
                <a:gd name="connsiteX103" fmla="*/ 11338 w 768492"/>
                <a:gd name="connsiteY103" fmla="*/ 425820 h 718099"/>
                <a:gd name="connsiteX104" fmla="*/ 11338 w 768492"/>
                <a:gd name="connsiteY104" fmla="*/ 425820 h 718099"/>
                <a:gd name="connsiteX105" fmla="*/ 11338 w 768492"/>
                <a:gd name="connsiteY105" fmla="*/ 425820 h 718099"/>
                <a:gd name="connsiteX106" fmla="*/ 11338 w 768492"/>
                <a:gd name="connsiteY106" fmla="*/ 425820 h 718099"/>
                <a:gd name="connsiteX107" fmla="*/ 11338 w 768492"/>
                <a:gd name="connsiteY107" fmla="*/ 425820 h 718099"/>
                <a:gd name="connsiteX108" fmla="*/ 11338 w 768492"/>
                <a:gd name="connsiteY108" fmla="*/ 425820 h 718099"/>
                <a:gd name="connsiteX109" fmla="*/ 11338 w 768492"/>
                <a:gd name="connsiteY109" fmla="*/ 425820 h 718099"/>
                <a:gd name="connsiteX110" fmla="*/ 10079 w 768492"/>
                <a:gd name="connsiteY110" fmla="*/ 406923 h 718099"/>
                <a:gd name="connsiteX111" fmla="*/ 11338 w 768492"/>
                <a:gd name="connsiteY111" fmla="*/ 388025 h 718099"/>
                <a:gd name="connsiteX112" fmla="*/ 13858 w 768492"/>
                <a:gd name="connsiteY112" fmla="*/ 380467 h 718099"/>
                <a:gd name="connsiteX113" fmla="*/ 13858 w 768492"/>
                <a:gd name="connsiteY113" fmla="*/ 380467 h 718099"/>
                <a:gd name="connsiteX114" fmla="*/ 17638 w 768492"/>
                <a:gd name="connsiteY114" fmla="*/ 370388 h 718099"/>
                <a:gd name="connsiteX115" fmla="*/ 23937 w 768492"/>
                <a:gd name="connsiteY115" fmla="*/ 359050 h 718099"/>
                <a:gd name="connsiteX116" fmla="*/ 27716 w 768492"/>
                <a:gd name="connsiteY116" fmla="*/ 355270 h 718099"/>
                <a:gd name="connsiteX117" fmla="*/ 30236 w 768492"/>
                <a:gd name="connsiteY117" fmla="*/ 354010 h 718099"/>
                <a:gd name="connsiteX118" fmla="*/ 31496 w 768492"/>
                <a:gd name="connsiteY118" fmla="*/ 352751 h 718099"/>
                <a:gd name="connsiteX119" fmla="*/ 35275 w 768492"/>
                <a:gd name="connsiteY119" fmla="*/ 351491 h 718099"/>
                <a:gd name="connsiteX120" fmla="*/ 36535 w 768492"/>
                <a:gd name="connsiteY120" fmla="*/ 350231 h 718099"/>
                <a:gd name="connsiteX121" fmla="*/ 45354 w 768492"/>
                <a:gd name="connsiteY121" fmla="*/ 346451 h 718099"/>
                <a:gd name="connsiteX122" fmla="*/ 51653 w 768492"/>
                <a:gd name="connsiteY122" fmla="*/ 345192 h 718099"/>
                <a:gd name="connsiteX123" fmla="*/ 52913 w 768492"/>
                <a:gd name="connsiteY123" fmla="*/ 345192 h 718099"/>
                <a:gd name="connsiteX124" fmla="*/ 65511 w 768492"/>
                <a:gd name="connsiteY124" fmla="*/ 345192 h 718099"/>
                <a:gd name="connsiteX125" fmla="*/ 79369 w 768492"/>
                <a:gd name="connsiteY125" fmla="*/ 346451 h 718099"/>
                <a:gd name="connsiteX126" fmla="*/ 102046 w 768492"/>
                <a:gd name="connsiteY126" fmla="*/ 352751 h 718099"/>
                <a:gd name="connsiteX127" fmla="*/ 115904 w 768492"/>
                <a:gd name="connsiteY127" fmla="*/ 359050 h 718099"/>
                <a:gd name="connsiteX128" fmla="*/ 119683 w 768492"/>
                <a:gd name="connsiteY128" fmla="*/ 361569 h 718099"/>
                <a:gd name="connsiteX129" fmla="*/ 119683 w 768492"/>
                <a:gd name="connsiteY129" fmla="*/ 361569 h 718099"/>
                <a:gd name="connsiteX130" fmla="*/ 125982 w 768492"/>
                <a:gd name="connsiteY130" fmla="*/ 365349 h 718099"/>
                <a:gd name="connsiteX131" fmla="*/ 129762 w 768492"/>
                <a:gd name="connsiteY131" fmla="*/ 366608 h 718099"/>
                <a:gd name="connsiteX132" fmla="*/ 129762 w 768492"/>
                <a:gd name="connsiteY132" fmla="*/ 366608 h 718099"/>
                <a:gd name="connsiteX133" fmla="*/ 129762 w 768492"/>
                <a:gd name="connsiteY133" fmla="*/ 366608 h 718099"/>
                <a:gd name="connsiteX134" fmla="*/ 138581 w 768492"/>
                <a:gd name="connsiteY134" fmla="*/ 371648 h 718099"/>
                <a:gd name="connsiteX135" fmla="*/ 143620 w 768492"/>
                <a:gd name="connsiteY135" fmla="*/ 375427 h 718099"/>
                <a:gd name="connsiteX136" fmla="*/ 148659 w 768492"/>
                <a:gd name="connsiteY136" fmla="*/ 379207 h 718099"/>
                <a:gd name="connsiteX137" fmla="*/ 161257 w 768492"/>
                <a:gd name="connsiteY137" fmla="*/ 388025 h 718099"/>
                <a:gd name="connsiteX138" fmla="*/ 161257 w 768492"/>
                <a:gd name="connsiteY138" fmla="*/ 388025 h 718099"/>
                <a:gd name="connsiteX139" fmla="*/ 161257 w 768492"/>
                <a:gd name="connsiteY139" fmla="*/ 388025 h 718099"/>
                <a:gd name="connsiteX140" fmla="*/ 161257 w 768492"/>
                <a:gd name="connsiteY140" fmla="*/ 388025 h 718099"/>
                <a:gd name="connsiteX141" fmla="*/ 161257 w 768492"/>
                <a:gd name="connsiteY141" fmla="*/ 388025 h 718099"/>
                <a:gd name="connsiteX142" fmla="*/ 161257 w 768492"/>
                <a:gd name="connsiteY142" fmla="*/ 388025 h 718099"/>
                <a:gd name="connsiteX143" fmla="*/ 161257 w 768492"/>
                <a:gd name="connsiteY143" fmla="*/ 388025 h 718099"/>
                <a:gd name="connsiteX144" fmla="*/ 161257 w 768492"/>
                <a:gd name="connsiteY144" fmla="*/ 388025 h 718099"/>
                <a:gd name="connsiteX145" fmla="*/ 161257 w 768492"/>
                <a:gd name="connsiteY145" fmla="*/ 388025 h 718099"/>
                <a:gd name="connsiteX146" fmla="*/ 161257 w 768492"/>
                <a:gd name="connsiteY146" fmla="*/ 388025 h 718099"/>
                <a:gd name="connsiteX147" fmla="*/ 161257 w 768492"/>
                <a:gd name="connsiteY147" fmla="*/ 388025 h 718099"/>
                <a:gd name="connsiteX148" fmla="*/ 162517 w 768492"/>
                <a:gd name="connsiteY148" fmla="*/ 388025 h 718099"/>
                <a:gd name="connsiteX149" fmla="*/ 166297 w 768492"/>
                <a:gd name="connsiteY149" fmla="*/ 390545 h 718099"/>
                <a:gd name="connsiteX150" fmla="*/ 162517 w 768492"/>
                <a:gd name="connsiteY150" fmla="*/ 388025 h 718099"/>
                <a:gd name="connsiteX151" fmla="*/ 166297 w 768492"/>
                <a:gd name="connsiteY151" fmla="*/ 390545 h 718099"/>
                <a:gd name="connsiteX152" fmla="*/ 166297 w 768492"/>
                <a:gd name="connsiteY152" fmla="*/ 390545 h 718099"/>
                <a:gd name="connsiteX153" fmla="*/ 166297 w 768492"/>
                <a:gd name="connsiteY153" fmla="*/ 390545 h 718099"/>
                <a:gd name="connsiteX154" fmla="*/ 166297 w 768492"/>
                <a:gd name="connsiteY154" fmla="*/ 390545 h 718099"/>
                <a:gd name="connsiteX155" fmla="*/ 166297 w 768492"/>
                <a:gd name="connsiteY155" fmla="*/ 390545 h 718099"/>
                <a:gd name="connsiteX156" fmla="*/ 166297 w 768492"/>
                <a:gd name="connsiteY156" fmla="*/ 390545 h 718099"/>
                <a:gd name="connsiteX157" fmla="*/ 166297 w 768492"/>
                <a:gd name="connsiteY157" fmla="*/ 390545 h 718099"/>
                <a:gd name="connsiteX158" fmla="*/ 166297 w 768492"/>
                <a:gd name="connsiteY158" fmla="*/ 390545 h 718099"/>
                <a:gd name="connsiteX159" fmla="*/ 166297 w 768492"/>
                <a:gd name="connsiteY159" fmla="*/ 390545 h 718099"/>
                <a:gd name="connsiteX160" fmla="*/ 166297 w 768492"/>
                <a:gd name="connsiteY160" fmla="*/ 390545 h 718099"/>
                <a:gd name="connsiteX161" fmla="*/ 167557 w 768492"/>
                <a:gd name="connsiteY161" fmla="*/ 388025 h 718099"/>
                <a:gd name="connsiteX162" fmla="*/ 168816 w 768492"/>
                <a:gd name="connsiteY162" fmla="*/ 386766 h 718099"/>
                <a:gd name="connsiteX163" fmla="*/ 173856 w 768492"/>
                <a:gd name="connsiteY163" fmla="*/ 380467 h 718099"/>
                <a:gd name="connsiteX164" fmla="*/ 186454 w 768492"/>
                <a:gd name="connsiteY164" fmla="*/ 362829 h 718099"/>
                <a:gd name="connsiteX165" fmla="*/ 196533 w 768492"/>
                <a:gd name="connsiteY165" fmla="*/ 347711 h 718099"/>
                <a:gd name="connsiteX166" fmla="*/ 196533 w 768492"/>
                <a:gd name="connsiteY166" fmla="*/ 346451 h 718099"/>
                <a:gd name="connsiteX167" fmla="*/ 210391 w 768492"/>
                <a:gd name="connsiteY167" fmla="*/ 326294 h 718099"/>
                <a:gd name="connsiteX168" fmla="*/ 219209 w 768492"/>
                <a:gd name="connsiteY168" fmla="*/ 313696 h 718099"/>
                <a:gd name="connsiteX169" fmla="*/ 219209 w 768492"/>
                <a:gd name="connsiteY169" fmla="*/ 313696 h 718099"/>
                <a:gd name="connsiteX170" fmla="*/ 220469 w 768492"/>
                <a:gd name="connsiteY170" fmla="*/ 312436 h 718099"/>
                <a:gd name="connsiteX171" fmla="*/ 222989 w 768492"/>
                <a:gd name="connsiteY171" fmla="*/ 308657 h 718099"/>
                <a:gd name="connsiteX172" fmla="*/ 222989 w 768492"/>
                <a:gd name="connsiteY172" fmla="*/ 307397 h 718099"/>
                <a:gd name="connsiteX173" fmla="*/ 228028 w 768492"/>
                <a:gd name="connsiteY173" fmla="*/ 299838 h 718099"/>
                <a:gd name="connsiteX174" fmla="*/ 235587 w 768492"/>
                <a:gd name="connsiteY174" fmla="*/ 291019 h 718099"/>
                <a:gd name="connsiteX175" fmla="*/ 240626 w 768492"/>
                <a:gd name="connsiteY175" fmla="*/ 284720 h 718099"/>
                <a:gd name="connsiteX176" fmla="*/ 248185 w 768492"/>
                <a:gd name="connsiteY176" fmla="*/ 275901 h 718099"/>
                <a:gd name="connsiteX177" fmla="*/ 255744 w 768492"/>
                <a:gd name="connsiteY177" fmla="*/ 265823 h 718099"/>
                <a:gd name="connsiteX178" fmla="*/ 257004 w 768492"/>
                <a:gd name="connsiteY178" fmla="*/ 264563 h 718099"/>
                <a:gd name="connsiteX179" fmla="*/ 257004 w 768492"/>
                <a:gd name="connsiteY179" fmla="*/ 264563 h 718099"/>
                <a:gd name="connsiteX180" fmla="*/ 257004 w 768492"/>
                <a:gd name="connsiteY180" fmla="*/ 264563 h 718099"/>
                <a:gd name="connsiteX181" fmla="*/ 257004 w 768492"/>
                <a:gd name="connsiteY181" fmla="*/ 264563 h 718099"/>
                <a:gd name="connsiteX182" fmla="*/ 257004 w 768492"/>
                <a:gd name="connsiteY182" fmla="*/ 264563 h 718099"/>
                <a:gd name="connsiteX183" fmla="*/ 258264 w 768492"/>
                <a:gd name="connsiteY183" fmla="*/ 262043 h 718099"/>
                <a:gd name="connsiteX184" fmla="*/ 260783 w 768492"/>
                <a:gd name="connsiteY184" fmla="*/ 259523 h 718099"/>
                <a:gd name="connsiteX185" fmla="*/ 260783 w 768492"/>
                <a:gd name="connsiteY185" fmla="*/ 259523 h 718099"/>
                <a:gd name="connsiteX186" fmla="*/ 262043 w 768492"/>
                <a:gd name="connsiteY186" fmla="*/ 258264 h 718099"/>
                <a:gd name="connsiteX187" fmla="*/ 262043 w 768492"/>
                <a:gd name="connsiteY187" fmla="*/ 258264 h 718099"/>
                <a:gd name="connsiteX188" fmla="*/ 264563 w 768492"/>
                <a:gd name="connsiteY188" fmla="*/ 255744 h 718099"/>
                <a:gd name="connsiteX189" fmla="*/ 264563 w 768492"/>
                <a:gd name="connsiteY189" fmla="*/ 255744 h 718099"/>
                <a:gd name="connsiteX190" fmla="*/ 264563 w 768492"/>
                <a:gd name="connsiteY190" fmla="*/ 255744 h 718099"/>
                <a:gd name="connsiteX191" fmla="*/ 264563 w 768492"/>
                <a:gd name="connsiteY191" fmla="*/ 254484 h 718099"/>
                <a:gd name="connsiteX192" fmla="*/ 265823 w 768492"/>
                <a:gd name="connsiteY192" fmla="*/ 253224 h 718099"/>
                <a:gd name="connsiteX193" fmla="*/ 267083 w 768492"/>
                <a:gd name="connsiteY193" fmla="*/ 251965 h 718099"/>
                <a:gd name="connsiteX194" fmla="*/ 268342 w 768492"/>
                <a:gd name="connsiteY194" fmla="*/ 250705 h 718099"/>
                <a:gd name="connsiteX195" fmla="*/ 269602 w 768492"/>
                <a:gd name="connsiteY195" fmla="*/ 249445 h 718099"/>
                <a:gd name="connsiteX196" fmla="*/ 270862 w 768492"/>
                <a:gd name="connsiteY196" fmla="*/ 246925 h 718099"/>
                <a:gd name="connsiteX197" fmla="*/ 270862 w 768492"/>
                <a:gd name="connsiteY197" fmla="*/ 245666 h 718099"/>
                <a:gd name="connsiteX198" fmla="*/ 272122 w 768492"/>
                <a:gd name="connsiteY198" fmla="*/ 244406 h 718099"/>
                <a:gd name="connsiteX199" fmla="*/ 273382 w 768492"/>
                <a:gd name="connsiteY199" fmla="*/ 243146 h 718099"/>
                <a:gd name="connsiteX200" fmla="*/ 275901 w 768492"/>
                <a:gd name="connsiteY200" fmla="*/ 239366 h 718099"/>
                <a:gd name="connsiteX201" fmla="*/ 277161 w 768492"/>
                <a:gd name="connsiteY201" fmla="*/ 238107 h 718099"/>
                <a:gd name="connsiteX202" fmla="*/ 278421 w 768492"/>
                <a:gd name="connsiteY202" fmla="*/ 236847 h 718099"/>
                <a:gd name="connsiteX203" fmla="*/ 278421 w 768492"/>
                <a:gd name="connsiteY203" fmla="*/ 236847 h 718099"/>
                <a:gd name="connsiteX204" fmla="*/ 279681 w 768492"/>
                <a:gd name="connsiteY204" fmla="*/ 235587 h 718099"/>
                <a:gd name="connsiteX205" fmla="*/ 282201 w 768492"/>
                <a:gd name="connsiteY205" fmla="*/ 234327 h 718099"/>
                <a:gd name="connsiteX206" fmla="*/ 284720 w 768492"/>
                <a:gd name="connsiteY206" fmla="*/ 231807 h 718099"/>
                <a:gd name="connsiteX207" fmla="*/ 284720 w 768492"/>
                <a:gd name="connsiteY207" fmla="*/ 231807 h 718099"/>
                <a:gd name="connsiteX208" fmla="*/ 285980 w 768492"/>
                <a:gd name="connsiteY208" fmla="*/ 230548 h 718099"/>
                <a:gd name="connsiteX209" fmla="*/ 288500 w 768492"/>
                <a:gd name="connsiteY209" fmla="*/ 228028 h 718099"/>
                <a:gd name="connsiteX210" fmla="*/ 291019 w 768492"/>
                <a:gd name="connsiteY210" fmla="*/ 225508 h 718099"/>
                <a:gd name="connsiteX211" fmla="*/ 291019 w 768492"/>
                <a:gd name="connsiteY211" fmla="*/ 225508 h 718099"/>
                <a:gd name="connsiteX212" fmla="*/ 291019 w 768492"/>
                <a:gd name="connsiteY212" fmla="*/ 225508 h 718099"/>
                <a:gd name="connsiteX213" fmla="*/ 291019 w 768492"/>
                <a:gd name="connsiteY213" fmla="*/ 225508 h 718099"/>
                <a:gd name="connsiteX214" fmla="*/ 291019 w 768492"/>
                <a:gd name="connsiteY214" fmla="*/ 225508 h 718099"/>
                <a:gd name="connsiteX215" fmla="*/ 291019 w 768492"/>
                <a:gd name="connsiteY215" fmla="*/ 225508 h 718099"/>
                <a:gd name="connsiteX216" fmla="*/ 292279 w 768492"/>
                <a:gd name="connsiteY216" fmla="*/ 224248 h 718099"/>
                <a:gd name="connsiteX217" fmla="*/ 293539 w 768492"/>
                <a:gd name="connsiteY217" fmla="*/ 222989 h 718099"/>
                <a:gd name="connsiteX218" fmla="*/ 293539 w 768492"/>
                <a:gd name="connsiteY218" fmla="*/ 222989 h 718099"/>
                <a:gd name="connsiteX219" fmla="*/ 296058 w 768492"/>
                <a:gd name="connsiteY219" fmla="*/ 220469 h 718099"/>
                <a:gd name="connsiteX220" fmla="*/ 296058 w 768492"/>
                <a:gd name="connsiteY220" fmla="*/ 220469 h 718099"/>
                <a:gd name="connsiteX221" fmla="*/ 298578 w 768492"/>
                <a:gd name="connsiteY221" fmla="*/ 219209 h 718099"/>
                <a:gd name="connsiteX222" fmla="*/ 298578 w 768492"/>
                <a:gd name="connsiteY222" fmla="*/ 219209 h 718099"/>
                <a:gd name="connsiteX223" fmla="*/ 298578 w 768492"/>
                <a:gd name="connsiteY223" fmla="*/ 219209 h 718099"/>
                <a:gd name="connsiteX224" fmla="*/ 299838 w 768492"/>
                <a:gd name="connsiteY224" fmla="*/ 217949 h 718099"/>
                <a:gd name="connsiteX225" fmla="*/ 299838 w 768492"/>
                <a:gd name="connsiteY225" fmla="*/ 217949 h 718099"/>
                <a:gd name="connsiteX226" fmla="*/ 299838 w 768492"/>
                <a:gd name="connsiteY226" fmla="*/ 217949 h 718099"/>
                <a:gd name="connsiteX227" fmla="*/ 299838 w 768492"/>
                <a:gd name="connsiteY227" fmla="*/ 217949 h 718099"/>
                <a:gd name="connsiteX228" fmla="*/ 299838 w 768492"/>
                <a:gd name="connsiteY228" fmla="*/ 217949 h 718099"/>
                <a:gd name="connsiteX229" fmla="*/ 301098 w 768492"/>
                <a:gd name="connsiteY229" fmla="*/ 217949 h 718099"/>
                <a:gd name="connsiteX230" fmla="*/ 301098 w 768492"/>
                <a:gd name="connsiteY230" fmla="*/ 217949 h 718099"/>
                <a:gd name="connsiteX231" fmla="*/ 301098 w 768492"/>
                <a:gd name="connsiteY231" fmla="*/ 217949 h 718099"/>
                <a:gd name="connsiteX232" fmla="*/ 301098 w 768492"/>
                <a:gd name="connsiteY232" fmla="*/ 217949 h 718099"/>
                <a:gd name="connsiteX233" fmla="*/ 301098 w 768492"/>
                <a:gd name="connsiteY233" fmla="*/ 217949 h 718099"/>
                <a:gd name="connsiteX234" fmla="*/ 301098 w 768492"/>
                <a:gd name="connsiteY234" fmla="*/ 219209 h 718099"/>
                <a:gd name="connsiteX235" fmla="*/ 301098 w 768492"/>
                <a:gd name="connsiteY235" fmla="*/ 219209 h 718099"/>
                <a:gd name="connsiteX236" fmla="*/ 301098 w 768492"/>
                <a:gd name="connsiteY236" fmla="*/ 219209 h 718099"/>
                <a:gd name="connsiteX237" fmla="*/ 301098 w 768492"/>
                <a:gd name="connsiteY237" fmla="*/ 220469 h 718099"/>
                <a:gd name="connsiteX238" fmla="*/ 301098 w 768492"/>
                <a:gd name="connsiteY238" fmla="*/ 220469 h 718099"/>
                <a:gd name="connsiteX239" fmla="*/ 301098 w 768492"/>
                <a:gd name="connsiteY239" fmla="*/ 222989 h 718099"/>
                <a:gd name="connsiteX240" fmla="*/ 301098 w 768492"/>
                <a:gd name="connsiteY240" fmla="*/ 225508 h 718099"/>
                <a:gd name="connsiteX241" fmla="*/ 301098 w 768492"/>
                <a:gd name="connsiteY241" fmla="*/ 226768 h 718099"/>
                <a:gd name="connsiteX242" fmla="*/ 301098 w 768492"/>
                <a:gd name="connsiteY242" fmla="*/ 228028 h 718099"/>
                <a:gd name="connsiteX243" fmla="*/ 301098 w 768492"/>
                <a:gd name="connsiteY243" fmla="*/ 231807 h 718099"/>
                <a:gd name="connsiteX244" fmla="*/ 301098 w 768492"/>
                <a:gd name="connsiteY244" fmla="*/ 234327 h 718099"/>
                <a:gd name="connsiteX245" fmla="*/ 301098 w 768492"/>
                <a:gd name="connsiteY245" fmla="*/ 235587 h 718099"/>
                <a:gd name="connsiteX246" fmla="*/ 299838 w 768492"/>
                <a:gd name="connsiteY246" fmla="*/ 239366 h 718099"/>
                <a:gd name="connsiteX247" fmla="*/ 299838 w 768492"/>
                <a:gd name="connsiteY247" fmla="*/ 240626 h 718099"/>
                <a:gd name="connsiteX248" fmla="*/ 299838 w 768492"/>
                <a:gd name="connsiteY248" fmla="*/ 243146 h 718099"/>
                <a:gd name="connsiteX249" fmla="*/ 299838 w 768492"/>
                <a:gd name="connsiteY249" fmla="*/ 243146 h 718099"/>
                <a:gd name="connsiteX250" fmla="*/ 299838 w 768492"/>
                <a:gd name="connsiteY250" fmla="*/ 243146 h 718099"/>
                <a:gd name="connsiteX251" fmla="*/ 299838 w 768492"/>
                <a:gd name="connsiteY251" fmla="*/ 244406 h 718099"/>
                <a:gd name="connsiteX252" fmla="*/ 299838 w 768492"/>
                <a:gd name="connsiteY252" fmla="*/ 244406 h 718099"/>
                <a:gd name="connsiteX253" fmla="*/ 299838 w 768492"/>
                <a:gd name="connsiteY253" fmla="*/ 245666 h 718099"/>
                <a:gd name="connsiteX254" fmla="*/ 299838 w 768492"/>
                <a:gd name="connsiteY254" fmla="*/ 246925 h 718099"/>
                <a:gd name="connsiteX255" fmla="*/ 299838 w 768492"/>
                <a:gd name="connsiteY255" fmla="*/ 248185 h 718099"/>
                <a:gd name="connsiteX256" fmla="*/ 298578 w 768492"/>
                <a:gd name="connsiteY256" fmla="*/ 250705 h 718099"/>
                <a:gd name="connsiteX257" fmla="*/ 298578 w 768492"/>
                <a:gd name="connsiteY257" fmla="*/ 251965 h 718099"/>
                <a:gd name="connsiteX258" fmla="*/ 298578 w 768492"/>
                <a:gd name="connsiteY258" fmla="*/ 251965 h 718099"/>
                <a:gd name="connsiteX259" fmla="*/ 297318 w 768492"/>
                <a:gd name="connsiteY259" fmla="*/ 254484 h 718099"/>
                <a:gd name="connsiteX260" fmla="*/ 297318 w 768492"/>
                <a:gd name="connsiteY260" fmla="*/ 257004 h 718099"/>
                <a:gd name="connsiteX261" fmla="*/ 294799 w 768492"/>
                <a:gd name="connsiteY261" fmla="*/ 268342 h 718099"/>
                <a:gd name="connsiteX262" fmla="*/ 293539 w 768492"/>
                <a:gd name="connsiteY262" fmla="*/ 272122 h 718099"/>
                <a:gd name="connsiteX263" fmla="*/ 293539 w 768492"/>
                <a:gd name="connsiteY263" fmla="*/ 273382 h 718099"/>
                <a:gd name="connsiteX264" fmla="*/ 292279 w 768492"/>
                <a:gd name="connsiteY264" fmla="*/ 277161 h 718099"/>
                <a:gd name="connsiteX265" fmla="*/ 292279 w 768492"/>
                <a:gd name="connsiteY265" fmla="*/ 279681 h 718099"/>
                <a:gd name="connsiteX266" fmla="*/ 292279 w 768492"/>
                <a:gd name="connsiteY266" fmla="*/ 282200 h 718099"/>
                <a:gd name="connsiteX267" fmla="*/ 291019 w 768492"/>
                <a:gd name="connsiteY267" fmla="*/ 284720 h 718099"/>
                <a:gd name="connsiteX268" fmla="*/ 291019 w 768492"/>
                <a:gd name="connsiteY268" fmla="*/ 285980 h 718099"/>
                <a:gd name="connsiteX269" fmla="*/ 291019 w 768492"/>
                <a:gd name="connsiteY269" fmla="*/ 287240 h 718099"/>
                <a:gd name="connsiteX270" fmla="*/ 289759 w 768492"/>
                <a:gd name="connsiteY270" fmla="*/ 291019 h 718099"/>
                <a:gd name="connsiteX271" fmla="*/ 289759 w 768492"/>
                <a:gd name="connsiteY271" fmla="*/ 291019 h 718099"/>
                <a:gd name="connsiteX272" fmla="*/ 289759 w 768492"/>
                <a:gd name="connsiteY272" fmla="*/ 292279 h 718099"/>
                <a:gd name="connsiteX273" fmla="*/ 289759 w 768492"/>
                <a:gd name="connsiteY273" fmla="*/ 293539 h 718099"/>
                <a:gd name="connsiteX274" fmla="*/ 289759 w 768492"/>
                <a:gd name="connsiteY274" fmla="*/ 297318 h 718099"/>
                <a:gd name="connsiteX275" fmla="*/ 288500 w 768492"/>
                <a:gd name="connsiteY275" fmla="*/ 303617 h 718099"/>
                <a:gd name="connsiteX276" fmla="*/ 288500 w 768492"/>
                <a:gd name="connsiteY276" fmla="*/ 304877 h 718099"/>
                <a:gd name="connsiteX277" fmla="*/ 285980 w 768492"/>
                <a:gd name="connsiteY277" fmla="*/ 319995 h 718099"/>
                <a:gd name="connsiteX278" fmla="*/ 284720 w 768492"/>
                <a:gd name="connsiteY278" fmla="*/ 330074 h 718099"/>
                <a:gd name="connsiteX279" fmla="*/ 283460 w 768492"/>
                <a:gd name="connsiteY279" fmla="*/ 335113 h 718099"/>
                <a:gd name="connsiteX280" fmla="*/ 283460 w 768492"/>
                <a:gd name="connsiteY280" fmla="*/ 335113 h 718099"/>
                <a:gd name="connsiteX281" fmla="*/ 283460 w 768492"/>
                <a:gd name="connsiteY281" fmla="*/ 335113 h 718099"/>
                <a:gd name="connsiteX282" fmla="*/ 283460 w 768492"/>
                <a:gd name="connsiteY282" fmla="*/ 336373 h 718099"/>
                <a:gd name="connsiteX283" fmla="*/ 283460 w 768492"/>
                <a:gd name="connsiteY283" fmla="*/ 337633 h 718099"/>
                <a:gd name="connsiteX284" fmla="*/ 283460 w 768492"/>
                <a:gd name="connsiteY284" fmla="*/ 337633 h 718099"/>
                <a:gd name="connsiteX285" fmla="*/ 283460 w 768492"/>
                <a:gd name="connsiteY285" fmla="*/ 337633 h 718099"/>
                <a:gd name="connsiteX286" fmla="*/ 283460 w 768492"/>
                <a:gd name="connsiteY286" fmla="*/ 340152 h 718099"/>
                <a:gd name="connsiteX287" fmla="*/ 282201 w 768492"/>
                <a:gd name="connsiteY287" fmla="*/ 345192 h 718099"/>
                <a:gd name="connsiteX288" fmla="*/ 282201 w 768492"/>
                <a:gd name="connsiteY288" fmla="*/ 346451 h 718099"/>
                <a:gd name="connsiteX289" fmla="*/ 280941 w 768492"/>
                <a:gd name="connsiteY289" fmla="*/ 351491 h 718099"/>
                <a:gd name="connsiteX290" fmla="*/ 279681 w 768492"/>
                <a:gd name="connsiteY290" fmla="*/ 361569 h 718099"/>
                <a:gd name="connsiteX291" fmla="*/ 278421 w 768492"/>
                <a:gd name="connsiteY291" fmla="*/ 372908 h 718099"/>
                <a:gd name="connsiteX292" fmla="*/ 277161 w 768492"/>
                <a:gd name="connsiteY292" fmla="*/ 376687 h 718099"/>
                <a:gd name="connsiteX293" fmla="*/ 277161 w 768492"/>
                <a:gd name="connsiteY293" fmla="*/ 376687 h 718099"/>
                <a:gd name="connsiteX294" fmla="*/ 277161 w 768492"/>
                <a:gd name="connsiteY294" fmla="*/ 376687 h 718099"/>
                <a:gd name="connsiteX295" fmla="*/ 277161 w 768492"/>
                <a:gd name="connsiteY295" fmla="*/ 376687 h 718099"/>
                <a:gd name="connsiteX296" fmla="*/ 277161 w 768492"/>
                <a:gd name="connsiteY296" fmla="*/ 379207 h 718099"/>
                <a:gd name="connsiteX297" fmla="*/ 277161 w 768492"/>
                <a:gd name="connsiteY297" fmla="*/ 381726 h 718099"/>
                <a:gd name="connsiteX298" fmla="*/ 277161 w 768492"/>
                <a:gd name="connsiteY298" fmla="*/ 382986 h 718099"/>
                <a:gd name="connsiteX299" fmla="*/ 275901 w 768492"/>
                <a:gd name="connsiteY299" fmla="*/ 391805 h 718099"/>
                <a:gd name="connsiteX300" fmla="*/ 275901 w 768492"/>
                <a:gd name="connsiteY300" fmla="*/ 391805 h 718099"/>
                <a:gd name="connsiteX301" fmla="*/ 275901 w 768492"/>
                <a:gd name="connsiteY301" fmla="*/ 391805 h 718099"/>
                <a:gd name="connsiteX302" fmla="*/ 274642 w 768492"/>
                <a:gd name="connsiteY302" fmla="*/ 395584 h 718099"/>
                <a:gd name="connsiteX303" fmla="*/ 274642 w 768492"/>
                <a:gd name="connsiteY303" fmla="*/ 396844 h 718099"/>
                <a:gd name="connsiteX304" fmla="*/ 274642 w 768492"/>
                <a:gd name="connsiteY304" fmla="*/ 396844 h 718099"/>
                <a:gd name="connsiteX305" fmla="*/ 273382 w 768492"/>
                <a:gd name="connsiteY305" fmla="*/ 401884 h 718099"/>
                <a:gd name="connsiteX306" fmla="*/ 273382 w 768492"/>
                <a:gd name="connsiteY306" fmla="*/ 401884 h 718099"/>
                <a:gd name="connsiteX307" fmla="*/ 272122 w 768492"/>
                <a:gd name="connsiteY307" fmla="*/ 403143 h 718099"/>
                <a:gd name="connsiteX308" fmla="*/ 270862 w 768492"/>
                <a:gd name="connsiteY308" fmla="*/ 403143 h 718099"/>
                <a:gd name="connsiteX309" fmla="*/ 269602 w 768492"/>
                <a:gd name="connsiteY309" fmla="*/ 403143 h 718099"/>
                <a:gd name="connsiteX310" fmla="*/ 268342 w 768492"/>
                <a:gd name="connsiteY310" fmla="*/ 403143 h 718099"/>
                <a:gd name="connsiteX311" fmla="*/ 268342 w 768492"/>
                <a:gd name="connsiteY311" fmla="*/ 403143 h 718099"/>
                <a:gd name="connsiteX312" fmla="*/ 267083 w 768492"/>
                <a:gd name="connsiteY312" fmla="*/ 401884 h 718099"/>
                <a:gd name="connsiteX313" fmla="*/ 267083 w 768492"/>
                <a:gd name="connsiteY313" fmla="*/ 401884 h 718099"/>
                <a:gd name="connsiteX314" fmla="*/ 267083 w 768492"/>
                <a:gd name="connsiteY314" fmla="*/ 410702 h 718099"/>
                <a:gd name="connsiteX315" fmla="*/ 267083 w 768492"/>
                <a:gd name="connsiteY315" fmla="*/ 415742 h 718099"/>
                <a:gd name="connsiteX316" fmla="*/ 267083 w 768492"/>
                <a:gd name="connsiteY316" fmla="*/ 417001 h 718099"/>
                <a:gd name="connsiteX317" fmla="*/ 267083 w 768492"/>
                <a:gd name="connsiteY317" fmla="*/ 418261 h 718099"/>
                <a:gd name="connsiteX318" fmla="*/ 267083 w 768492"/>
                <a:gd name="connsiteY318" fmla="*/ 419521 h 718099"/>
                <a:gd name="connsiteX319" fmla="*/ 267083 w 768492"/>
                <a:gd name="connsiteY319" fmla="*/ 420781 h 718099"/>
                <a:gd name="connsiteX320" fmla="*/ 267083 w 768492"/>
                <a:gd name="connsiteY320" fmla="*/ 427080 h 718099"/>
                <a:gd name="connsiteX321" fmla="*/ 267083 w 768492"/>
                <a:gd name="connsiteY321" fmla="*/ 429600 h 718099"/>
                <a:gd name="connsiteX322" fmla="*/ 267083 w 768492"/>
                <a:gd name="connsiteY322" fmla="*/ 432119 h 718099"/>
                <a:gd name="connsiteX323" fmla="*/ 267083 w 768492"/>
                <a:gd name="connsiteY323" fmla="*/ 434639 h 718099"/>
                <a:gd name="connsiteX324" fmla="*/ 268342 w 768492"/>
                <a:gd name="connsiteY324" fmla="*/ 452277 h 718099"/>
                <a:gd name="connsiteX325" fmla="*/ 269602 w 768492"/>
                <a:gd name="connsiteY325" fmla="*/ 476213 h 718099"/>
                <a:gd name="connsiteX326" fmla="*/ 269602 w 768492"/>
                <a:gd name="connsiteY326" fmla="*/ 476213 h 718099"/>
                <a:gd name="connsiteX327" fmla="*/ 269602 w 768492"/>
                <a:gd name="connsiteY327" fmla="*/ 476213 h 718099"/>
                <a:gd name="connsiteX328" fmla="*/ 269602 w 768492"/>
                <a:gd name="connsiteY328" fmla="*/ 476213 h 718099"/>
                <a:gd name="connsiteX329" fmla="*/ 278421 w 768492"/>
                <a:gd name="connsiteY329" fmla="*/ 483772 h 718099"/>
                <a:gd name="connsiteX330" fmla="*/ 285980 w 768492"/>
                <a:gd name="connsiteY330" fmla="*/ 490071 h 718099"/>
                <a:gd name="connsiteX331" fmla="*/ 304877 w 768492"/>
                <a:gd name="connsiteY331" fmla="*/ 508969 h 718099"/>
                <a:gd name="connsiteX332" fmla="*/ 307397 w 768492"/>
                <a:gd name="connsiteY332" fmla="*/ 511488 h 718099"/>
                <a:gd name="connsiteX333" fmla="*/ 308657 w 768492"/>
                <a:gd name="connsiteY333" fmla="*/ 512748 h 718099"/>
                <a:gd name="connsiteX334" fmla="*/ 309917 w 768492"/>
                <a:gd name="connsiteY334" fmla="*/ 515268 h 718099"/>
                <a:gd name="connsiteX335" fmla="*/ 309917 w 768492"/>
                <a:gd name="connsiteY335" fmla="*/ 515268 h 718099"/>
                <a:gd name="connsiteX336" fmla="*/ 309917 w 768492"/>
                <a:gd name="connsiteY336" fmla="*/ 515268 h 718099"/>
                <a:gd name="connsiteX337" fmla="*/ 318735 w 768492"/>
                <a:gd name="connsiteY337" fmla="*/ 524086 h 718099"/>
                <a:gd name="connsiteX338" fmla="*/ 319995 w 768492"/>
                <a:gd name="connsiteY338" fmla="*/ 525346 h 718099"/>
                <a:gd name="connsiteX339" fmla="*/ 322515 w 768492"/>
                <a:gd name="connsiteY339" fmla="*/ 527866 h 718099"/>
                <a:gd name="connsiteX340" fmla="*/ 319995 w 768492"/>
                <a:gd name="connsiteY340" fmla="*/ 525346 h 718099"/>
                <a:gd name="connsiteX341" fmla="*/ 318735 w 768492"/>
                <a:gd name="connsiteY341" fmla="*/ 524086 h 718099"/>
                <a:gd name="connsiteX342" fmla="*/ 313696 w 768492"/>
                <a:gd name="connsiteY342" fmla="*/ 517787 h 718099"/>
                <a:gd name="connsiteX343" fmla="*/ 328814 w 768492"/>
                <a:gd name="connsiteY343" fmla="*/ 535425 h 718099"/>
                <a:gd name="connsiteX344" fmla="*/ 333853 w 768492"/>
                <a:gd name="connsiteY344" fmla="*/ 541724 h 718099"/>
                <a:gd name="connsiteX345" fmla="*/ 332593 w 768492"/>
                <a:gd name="connsiteY345" fmla="*/ 539204 h 718099"/>
                <a:gd name="connsiteX346" fmla="*/ 330074 w 768492"/>
                <a:gd name="connsiteY346" fmla="*/ 536685 h 718099"/>
                <a:gd name="connsiteX347" fmla="*/ 340152 w 768492"/>
                <a:gd name="connsiteY347" fmla="*/ 550543 h 718099"/>
                <a:gd name="connsiteX348" fmla="*/ 340152 w 768492"/>
                <a:gd name="connsiteY348" fmla="*/ 550543 h 718099"/>
                <a:gd name="connsiteX349" fmla="*/ 347711 w 768492"/>
                <a:gd name="connsiteY349" fmla="*/ 561881 h 718099"/>
                <a:gd name="connsiteX350" fmla="*/ 350231 w 768492"/>
                <a:gd name="connsiteY350" fmla="*/ 565661 h 718099"/>
                <a:gd name="connsiteX351" fmla="*/ 350231 w 768492"/>
                <a:gd name="connsiteY351" fmla="*/ 565661 h 718099"/>
                <a:gd name="connsiteX352" fmla="*/ 354010 w 768492"/>
                <a:gd name="connsiteY352" fmla="*/ 571960 h 718099"/>
                <a:gd name="connsiteX353" fmla="*/ 351491 w 768492"/>
                <a:gd name="connsiteY353" fmla="*/ 568180 h 718099"/>
                <a:gd name="connsiteX354" fmla="*/ 356530 w 768492"/>
                <a:gd name="connsiteY354" fmla="*/ 575739 h 718099"/>
                <a:gd name="connsiteX355" fmla="*/ 356530 w 768492"/>
                <a:gd name="connsiteY355" fmla="*/ 575739 h 718099"/>
                <a:gd name="connsiteX356" fmla="*/ 355270 w 768492"/>
                <a:gd name="connsiteY356" fmla="*/ 573220 h 718099"/>
                <a:gd name="connsiteX357" fmla="*/ 357790 w 768492"/>
                <a:gd name="connsiteY357" fmla="*/ 576999 h 718099"/>
                <a:gd name="connsiteX358" fmla="*/ 359050 w 768492"/>
                <a:gd name="connsiteY358" fmla="*/ 578259 h 718099"/>
                <a:gd name="connsiteX359" fmla="*/ 364089 w 768492"/>
                <a:gd name="connsiteY359" fmla="*/ 587078 h 718099"/>
                <a:gd name="connsiteX360" fmla="*/ 364089 w 768492"/>
                <a:gd name="connsiteY360" fmla="*/ 587078 h 718099"/>
                <a:gd name="connsiteX361" fmla="*/ 366609 w 768492"/>
                <a:gd name="connsiteY361" fmla="*/ 592117 h 718099"/>
                <a:gd name="connsiteX362" fmla="*/ 366609 w 768492"/>
                <a:gd name="connsiteY362" fmla="*/ 592117 h 718099"/>
                <a:gd name="connsiteX363" fmla="*/ 366609 w 768492"/>
                <a:gd name="connsiteY363" fmla="*/ 592117 h 718099"/>
                <a:gd name="connsiteX364" fmla="*/ 367868 w 768492"/>
                <a:gd name="connsiteY364" fmla="*/ 594637 h 718099"/>
                <a:gd name="connsiteX365" fmla="*/ 374167 w 768492"/>
                <a:gd name="connsiteY365" fmla="*/ 608495 h 718099"/>
                <a:gd name="connsiteX366" fmla="*/ 374167 w 768492"/>
                <a:gd name="connsiteY366" fmla="*/ 609754 h 718099"/>
                <a:gd name="connsiteX367" fmla="*/ 374167 w 768492"/>
                <a:gd name="connsiteY367" fmla="*/ 609754 h 718099"/>
                <a:gd name="connsiteX368" fmla="*/ 374167 w 768492"/>
                <a:gd name="connsiteY368" fmla="*/ 609754 h 718099"/>
                <a:gd name="connsiteX369" fmla="*/ 376687 w 768492"/>
                <a:gd name="connsiteY369" fmla="*/ 618573 h 718099"/>
                <a:gd name="connsiteX370" fmla="*/ 376687 w 768492"/>
                <a:gd name="connsiteY370" fmla="*/ 619833 h 718099"/>
                <a:gd name="connsiteX371" fmla="*/ 379207 w 768492"/>
                <a:gd name="connsiteY371" fmla="*/ 627392 h 718099"/>
                <a:gd name="connsiteX372" fmla="*/ 379207 w 768492"/>
                <a:gd name="connsiteY372" fmla="*/ 632431 h 718099"/>
                <a:gd name="connsiteX373" fmla="*/ 379207 w 768492"/>
                <a:gd name="connsiteY373" fmla="*/ 634951 h 718099"/>
                <a:gd name="connsiteX374" fmla="*/ 379207 w 768492"/>
                <a:gd name="connsiteY374" fmla="*/ 637471 h 718099"/>
                <a:gd name="connsiteX375" fmla="*/ 379207 w 768492"/>
                <a:gd name="connsiteY375" fmla="*/ 642510 h 718099"/>
                <a:gd name="connsiteX376" fmla="*/ 379207 w 768492"/>
                <a:gd name="connsiteY376" fmla="*/ 642510 h 718099"/>
                <a:gd name="connsiteX377" fmla="*/ 379207 w 768492"/>
                <a:gd name="connsiteY377" fmla="*/ 642510 h 718099"/>
                <a:gd name="connsiteX378" fmla="*/ 379207 w 768492"/>
                <a:gd name="connsiteY378" fmla="*/ 642510 h 718099"/>
                <a:gd name="connsiteX379" fmla="*/ 379207 w 768492"/>
                <a:gd name="connsiteY379" fmla="*/ 645030 h 718099"/>
                <a:gd name="connsiteX380" fmla="*/ 379207 w 768492"/>
                <a:gd name="connsiteY380" fmla="*/ 651329 h 718099"/>
                <a:gd name="connsiteX381" fmla="*/ 379207 w 768492"/>
                <a:gd name="connsiteY381" fmla="*/ 652588 h 718099"/>
                <a:gd name="connsiteX382" fmla="*/ 377947 w 768492"/>
                <a:gd name="connsiteY382" fmla="*/ 660147 h 718099"/>
                <a:gd name="connsiteX383" fmla="*/ 374167 w 768492"/>
                <a:gd name="connsiteY383" fmla="*/ 677785 h 718099"/>
                <a:gd name="connsiteX384" fmla="*/ 374167 w 768492"/>
                <a:gd name="connsiteY384" fmla="*/ 677785 h 718099"/>
                <a:gd name="connsiteX385" fmla="*/ 374167 w 768492"/>
                <a:gd name="connsiteY385" fmla="*/ 679045 h 718099"/>
                <a:gd name="connsiteX386" fmla="*/ 374167 w 768492"/>
                <a:gd name="connsiteY386" fmla="*/ 679045 h 718099"/>
                <a:gd name="connsiteX387" fmla="*/ 371648 w 768492"/>
                <a:gd name="connsiteY387" fmla="*/ 687863 h 718099"/>
                <a:gd name="connsiteX388" fmla="*/ 372908 w 768492"/>
                <a:gd name="connsiteY388" fmla="*/ 682824 h 718099"/>
                <a:gd name="connsiteX389" fmla="*/ 370388 w 768492"/>
                <a:gd name="connsiteY389" fmla="*/ 689123 h 718099"/>
                <a:gd name="connsiteX390" fmla="*/ 369128 w 768492"/>
                <a:gd name="connsiteY390" fmla="*/ 691643 h 718099"/>
                <a:gd name="connsiteX391" fmla="*/ 366609 w 768492"/>
                <a:gd name="connsiteY391" fmla="*/ 696682 h 718099"/>
                <a:gd name="connsiteX392" fmla="*/ 365349 w 768492"/>
                <a:gd name="connsiteY392" fmla="*/ 699202 h 718099"/>
                <a:gd name="connsiteX393" fmla="*/ 364089 w 768492"/>
                <a:gd name="connsiteY393" fmla="*/ 701722 h 718099"/>
                <a:gd name="connsiteX394" fmla="*/ 365349 w 768492"/>
                <a:gd name="connsiteY394" fmla="*/ 699202 h 718099"/>
                <a:gd name="connsiteX395" fmla="*/ 364089 w 768492"/>
                <a:gd name="connsiteY395" fmla="*/ 701722 h 718099"/>
                <a:gd name="connsiteX396" fmla="*/ 364089 w 768492"/>
                <a:gd name="connsiteY396" fmla="*/ 701722 h 718099"/>
                <a:gd name="connsiteX397" fmla="*/ 364089 w 768492"/>
                <a:gd name="connsiteY397" fmla="*/ 701722 h 718099"/>
                <a:gd name="connsiteX398" fmla="*/ 362829 w 768492"/>
                <a:gd name="connsiteY398" fmla="*/ 702981 h 718099"/>
                <a:gd name="connsiteX399" fmla="*/ 362829 w 768492"/>
                <a:gd name="connsiteY399" fmla="*/ 704241 h 718099"/>
                <a:gd name="connsiteX400" fmla="*/ 356530 w 768492"/>
                <a:gd name="connsiteY400" fmla="*/ 710540 h 718099"/>
                <a:gd name="connsiteX401" fmla="*/ 356530 w 768492"/>
                <a:gd name="connsiteY401" fmla="*/ 710540 h 718099"/>
                <a:gd name="connsiteX402" fmla="*/ 355270 w 768492"/>
                <a:gd name="connsiteY402" fmla="*/ 711800 h 718099"/>
                <a:gd name="connsiteX403" fmla="*/ 355270 w 768492"/>
                <a:gd name="connsiteY403" fmla="*/ 711800 h 718099"/>
                <a:gd name="connsiteX404" fmla="*/ 355270 w 768492"/>
                <a:gd name="connsiteY404" fmla="*/ 711800 h 718099"/>
                <a:gd name="connsiteX405" fmla="*/ 352751 w 768492"/>
                <a:gd name="connsiteY405" fmla="*/ 713060 h 718099"/>
                <a:gd name="connsiteX406" fmla="*/ 347711 w 768492"/>
                <a:gd name="connsiteY406" fmla="*/ 715580 h 718099"/>
                <a:gd name="connsiteX407" fmla="*/ 346451 w 768492"/>
                <a:gd name="connsiteY407" fmla="*/ 715580 h 718099"/>
                <a:gd name="connsiteX408" fmla="*/ 346451 w 768492"/>
                <a:gd name="connsiteY408" fmla="*/ 715580 h 718099"/>
                <a:gd name="connsiteX409" fmla="*/ 346451 w 768492"/>
                <a:gd name="connsiteY409" fmla="*/ 715580 h 718099"/>
                <a:gd name="connsiteX410" fmla="*/ 346451 w 768492"/>
                <a:gd name="connsiteY410" fmla="*/ 715580 h 718099"/>
                <a:gd name="connsiteX411" fmla="*/ 342672 w 768492"/>
                <a:gd name="connsiteY411" fmla="*/ 716839 h 718099"/>
                <a:gd name="connsiteX412" fmla="*/ 335113 w 768492"/>
                <a:gd name="connsiteY412" fmla="*/ 720619 h 718099"/>
                <a:gd name="connsiteX413" fmla="*/ 335113 w 768492"/>
                <a:gd name="connsiteY413" fmla="*/ 720619 h 718099"/>
                <a:gd name="connsiteX414" fmla="*/ 325034 w 768492"/>
                <a:gd name="connsiteY414" fmla="*/ 723139 h 718099"/>
                <a:gd name="connsiteX415" fmla="*/ 325034 w 768492"/>
                <a:gd name="connsiteY415" fmla="*/ 723139 h 718099"/>
                <a:gd name="connsiteX416" fmla="*/ 325034 w 768492"/>
                <a:gd name="connsiteY416" fmla="*/ 723139 h 718099"/>
                <a:gd name="connsiteX417" fmla="*/ 325034 w 768492"/>
                <a:gd name="connsiteY417" fmla="*/ 723139 h 718099"/>
                <a:gd name="connsiteX418" fmla="*/ 325034 w 768492"/>
                <a:gd name="connsiteY418" fmla="*/ 723139 h 718099"/>
                <a:gd name="connsiteX419" fmla="*/ 325034 w 768492"/>
                <a:gd name="connsiteY419" fmla="*/ 723139 h 718099"/>
                <a:gd name="connsiteX420" fmla="*/ 325034 w 768492"/>
                <a:gd name="connsiteY420" fmla="*/ 723139 h 718099"/>
                <a:gd name="connsiteX421" fmla="*/ 325034 w 768492"/>
                <a:gd name="connsiteY421" fmla="*/ 723139 h 718099"/>
                <a:gd name="connsiteX422" fmla="*/ 327554 w 768492"/>
                <a:gd name="connsiteY422" fmla="*/ 723139 h 718099"/>
                <a:gd name="connsiteX423" fmla="*/ 328814 w 768492"/>
                <a:gd name="connsiteY423" fmla="*/ 723139 h 718099"/>
                <a:gd name="connsiteX424" fmla="*/ 332593 w 768492"/>
                <a:gd name="connsiteY424" fmla="*/ 723139 h 718099"/>
                <a:gd name="connsiteX425" fmla="*/ 337633 w 768492"/>
                <a:gd name="connsiteY425" fmla="*/ 723139 h 718099"/>
                <a:gd name="connsiteX426" fmla="*/ 359050 w 768492"/>
                <a:gd name="connsiteY426" fmla="*/ 724398 h 718099"/>
                <a:gd name="connsiteX427" fmla="*/ 389286 w 768492"/>
                <a:gd name="connsiteY427" fmla="*/ 724398 h 718099"/>
                <a:gd name="connsiteX428" fmla="*/ 398104 w 768492"/>
                <a:gd name="connsiteY428" fmla="*/ 724398 h 718099"/>
                <a:gd name="connsiteX429" fmla="*/ 400624 w 768492"/>
                <a:gd name="connsiteY429" fmla="*/ 724398 h 718099"/>
                <a:gd name="connsiteX430" fmla="*/ 400624 w 768492"/>
                <a:gd name="connsiteY430" fmla="*/ 724398 h 718099"/>
                <a:gd name="connsiteX431" fmla="*/ 406923 w 768492"/>
                <a:gd name="connsiteY431" fmla="*/ 724398 h 718099"/>
                <a:gd name="connsiteX432" fmla="*/ 409443 w 768492"/>
                <a:gd name="connsiteY432" fmla="*/ 724398 h 718099"/>
                <a:gd name="connsiteX433" fmla="*/ 417002 w 768492"/>
                <a:gd name="connsiteY433" fmla="*/ 724398 h 718099"/>
                <a:gd name="connsiteX434" fmla="*/ 420781 w 768492"/>
                <a:gd name="connsiteY434" fmla="*/ 724398 h 718099"/>
                <a:gd name="connsiteX435" fmla="*/ 422041 w 768492"/>
                <a:gd name="connsiteY435" fmla="*/ 724398 h 718099"/>
                <a:gd name="connsiteX436" fmla="*/ 422041 w 768492"/>
                <a:gd name="connsiteY436" fmla="*/ 724398 h 718099"/>
                <a:gd name="connsiteX437" fmla="*/ 435899 w 768492"/>
                <a:gd name="connsiteY437" fmla="*/ 724398 h 718099"/>
                <a:gd name="connsiteX438" fmla="*/ 443458 w 768492"/>
                <a:gd name="connsiteY438" fmla="*/ 724398 h 718099"/>
                <a:gd name="connsiteX439" fmla="*/ 454796 w 768492"/>
                <a:gd name="connsiteY439" fmla="*/ 724398 h 718099"/>
                <a:gd name="connsiteX440" fmla="*/ 459835 w 768492"/>
                <a:gd name="connsiteY440" fmla="*/ 724398 h 718099"/>
                <a:gd name="connsiteX441" fmla="*/ 461095 w 768492"/>
                <a:gd name="connsiteY441" fmla="*/ 724398 h 718099"/>
                <a:gd name="connsiteX442" fmla="*/ 474953 w 768492"/>
                <a:gd name="connsiteY442" fmla="*/ 724398 h 718099"/>
                <a:gd name="connsiteX443" fmla="*/ 482512 w 768492"/>
                <a:gd name="connsiteY443" fmla="*/ 724398 h 718099"/>
                <a:gd name="connsiteX444" fmla="*/ 483772 w 768492"/>
                <a:gd name="connsiteY444" fmla="*/ 724398 h 718099"/>
                <a:gd name="connsiteX445" fmla="*/ 495111 w 768492"/>
                <a:gd name="connsiteY445" fmla="*/ 724398 h 718099"/>
                <a:gd name="connsiteX446" fmla="*/ 515268 w 768492"/>
                <a:gd name="connsiteY446" fmla="*/ 723139 h 718099"/>
                <a:gd name="connsiteX447" fmla="*/ 517787 w 768492"/>
                <a:gd name="connsiteY447" fmla="*/ 723139 h 718099"/>
                <a:gd name="connsiteX448" fmla="*/ 517787 w 768492"/>
                <a:gd name="connsiteY448" fmla="*/ 723139 h 718099"/>
                <a:gd name="connsiteX449" fmla="*/ 527866 w 768492"/>
                <a:gd name="connsiteY449" fmla="*/ 721879 h 718099"/>
                <a:gd name="connsiteX450" fmla="*/ 527866 w 768492"/>
                <a:gd name="connsiteY450" fmla="*/ 721879 h 718099"/>
                <a:gd name="connsiteX451" fmla="*/ 535425 w 768492"/>
                <a:gd name="connsiteY451" fmla="*/ 720619 h 718099"/>
                <a:gd name="connsiteX452" fmla="*/ 537945 w 768492"/>
                <a:gd name="connsiteY452" fmla="*/ 720619 h 718099"/>
                <a:gd name="connsiteX453" fmla="*/ 537945 w 768492"/>
                <a:gd name="connsiteY453" fmla="*/ 720619 h 718099"/>
                <a:gd name="connsiteX454" fmla="*/ 546763 w 768492"/>
                <a:gd name="connsiteY454" fmla="*/ 720619 h 718099"/>
                <a:gd name="connsiteX455" fmla="*/ 554322 w 768492"/>
                <a:gd name="connsiteY455" fmla="*/ 720619 h 718099"/>
                <a:gd name="connsiteX456" fmla="*/ 556842 w 768492"/>
                <a:gd name="connsiteY456" fmla="*/ 720619 h 718099"/>
                <a:gd name="connsiteX457" fmla="*/ 560621 w 768492"/>
                <a:gd name="connsiteY457" fmla="*/ 720619 h 718099"/>
                <a:gd name="connsiteX458" fmla="*/ 560621 w 768492"/>
                <a:gd name="connsiteY458" fmla="*/ 720619 h 718099"/>
                <a:gd name="connsiteX459" fmla="*/ 560621 w 768492"/>
                <a:gd name="connsiteY459" fmla="*/ 720619 h 718099"/>
                <a:gd name="connsiteX460" fmla="*/ 561881 w 768492"/>
                <a:gd name="connsiteY460" fmla="*/ 720619 h 718099"/>
                <a:gd name="connsiteX461" fmla="*/ 565661 w 768492"/>
                <a:gd name="connsiteY461" fmla="*/ 720619 h 718099"/>
                <a:gd name="connsiteX462" fmla="*/ 571960 w 768492"/>
                <a:gd name="connsiteY462" fmla="*/ 720619 h 718099"/>
                <a:gd name="connsiteX463" fmla="*/ 574480 w 768492"/>
                <a:gd name="connsiteY463" fmla="*/ 720619 h 718099"/>
                <a:gd name="connsiteX464" fmla="*/ 574480 w 768492"/>
                <a:gd name="connsiteY464" fmla="*/ 720619 h 718099"/>
                <a:gd name="connsiteX465" fmla="*/ 575739 w 768492"/>
                <a:gd name="connsiteY465" fmla="*/ 720619 h 718099"/>
                <a:gd name="connsiteX466" fmla="*/ 587078 w 768492"/>
                <a:gd name="connsiteY466" fmla="*/ 720619 h 718099"/>
                <a:gd name="connsiteX467" fmla="*/ 592117 w 768492"/>
                <a:gd name="connsiteY467" fmla="*/ 720619 h 718099"/>
                <a:gd name="connsiteX468" fmla="*/ 597156 w 768492"/>
                <a:gd name="connsiteY468" fmla="*/ 720619 h 718099"/>
                <a:gd name="connsiteX469" fmla="*/ 598416 w 768492"/>
                <a:gd name="connsiteY469" fmla="*/ 720619 h 718099"/>
                <a:gd name="connsiteX470" fmla="*/ 599676 w 768492"/>
                <a:gd name="connsiteY470" fmla="*/ 720619 h 718099"/>
                <a:gd name="connsiteX471" fmla="*/ 605975 w 768492"/>
                <a:gd name="connsiteY471" fmla="*/ 720619 h 718099"/>
                <a:gd name="connsiteX472" fmla="*/ 605975 w 768492"/>
                <a:gd name="connsiteY472" fmla="*/ 720619 h 718099"/>
                <a:gd name="connsiteX473" fmla="*/ 605975 w 768492"/>
                <a:gd name="connsiteY473" fmla="*/ 720619 h 718099"/>
                <a:gd name="connsiteX474" fmla="*/ 637471 w 768492"/>
                <a:gd name="connsiteY474" fmla="*/ 723139 h 718099"/>
                <a:gd name="connsiteX475" fmla="*/ 656368 w 768492"/>
                <a:gd name="connsiteY475" fmla="*/ 723139 h 718099"/>
                <a:gd name="connsiteX476" fmla="*/ 657628 w 768492"/>
                <a:gd name="connsiteY476" fmla="*/ 723139 h 718099"/>
                <a:gd name="connsiteX477" fmla="*/ 660148 w 768492"/>
                <a:gd name="connsiteY477" fmla="*/ 723139 h 718099"/>
                <a:gd name="connsiteX478" fmla="*/ 661407 w 768492"/>
                <a:gd name="connsiteY478" fmla="*/ 723139 h 718099"/>
                <a:gd name="connsiteX479" fmla="*/ 666447 w 768492"/>
                <a:gd name="connsiteY479" fmla="*/ 723139 h 718099"/>
                <a:gd name="connsiteX480" fmla="*/ 670226 w 768492"/>
                <a:gd name="connsiteY480" fmla="*/ 723139 h 718099"/>
                <a:gd name="connsiteX481" fmla="*/ 670226 w 768492"/>
                <a:gd name="connsiteY481" fmla="*/ 723139 h 718099"/>
                <a:gd name="connsiteX482" fmla="*/ 674005 w 768492"/>
                <a:gd name="connsiteY482" fmla="*/ 723139 h 718099"/>
                <a:gd name="connsiteX483" fmla="*/ 674005 w 768492"/>
                <a:gd name="connsiteY483" fmla="*/ 723139 h 718099"/>
                <a:gd name="connsiteX484" fmla="*/ 677785 w 768492"/>
                <a:gd name="connsiteY484" fmla="*/ 721879 h 718099"/>
                <a:gd name="connsiteX485" fmla="*/ 680305 w 768492"/>
                <a:gd name="connsiteY485" fmla="*/ 720619 h 718099"/>
                <a:gd name="connsiteX486" fmla="*/ 680305 w 768492"/>
                <a:gd name="connsiteY486" fmla="*/ 720619 h 718099"/>
                <a:gd name="connsiteX487" fmla="*/ 681564 w 768492"/>
                <a:gd name="connsiteY487" fmla="*/ 719359 h 718099"/>
                <a:gd name="connsiteX488" fmla="*/ 681564 w 768492"/>
                <a:gd name="connsiteY488" fmla="*/ 719359 h 718099"/>
                <a:gd name="connsiteX489" fmla="*/ 682824 w 768492"/>
                <a:gd name="connsiteY489" fmla="*/ 718099 h 718099"/>
                <a:gd name="connsiteX490" fmla="*/ 684084 w 768492"/>
                <a:gd name="connsiteY490" fmla="*/ 713060 h 718099"/>
                <a:gd name="connsiteX491" fmla="*/ 684084 w 768492"/>
                <a:gd name="connsiteY491" fmla="*/ 708021 h 718099"/>
                <a:gd name="connsiteX492" fmla="*/ 685344 w 768492"/>
                <a:gd name="connsiteY492" fmla="*/ 702981 h 718099"/>
                <a:gd name="connsiteX493" fmla="*/ 685344 w 768492"/>
                <a:gd name="connsiteY493" fmla="*/ 702981 h 718099"/>
                <a:gd name="connsiteX494" fmla="*/ 685344 w 768492"/>
                <a:gd name="connsiteY494" fmla="*/ 697942 h 718099"/>
                <a:gd name="connsiteX495" fmla="*/ 685344 w 768492"/>
                <a:gd name="connsiteY495" fmla="*/ 697942 h 718099"/>
                <a:gd name="connsiteX496" fmla="*/ 685344 w 768492"/>
                <a:gd name="connsiteY496" fmla="*/ 697942 h 718099"/>
                <a:gd name="connsiteX497" fmla="*/ 685344 w 768492"/>
                <a:gd name="connsiteY497" fmla="*/ 694163 h 718099"/>
                <a:gd name="connsiteX498" fmla="*/ 685344 w 768492"/>
                <a:gd name="connsiteY498" fmla="*/ 689123 h 718099"/>
                <a:gd name="connsiteX499" fmla="*/ 685344 w 768492"/>
                <a:gd name="connsiteY499" fmla="*/ 689123 h 718099"/>
                <a:gd name="connsiteX500" fmla="*/ 685344 w 768492"/>
                <a:gd name="connsiteY500" fmla="*/ 682824 h 718099"/>
                <a:gd name="connsiteX501" fmla="*/ 685344 w 768492"/>
                <a:gd name="connsiteY501" fmla="*/ 681564 h 718099"/>
                <a:gd name="connsiteX502" fmla="*/ 685344 w 768492"/>
                <a:gd name="connsiteY502" fmla="*/ 680305 h 718099"/>
                <a:gd name="connsiteX503" fmla="*/ 685344 w 768492"/>
                <a:gd name="connsiteY503" fmla="*/ 671486 h 718099"/>
                <a:gd name="connsiteX504" fmla="*/ 685344 w 768492"/>
                <a:gd name="connsiteY504" fmla="*/ 660147 h 718099"/>
                <a:gd name="connsiteX505" fmla="*/ 685344 w 768492"/>
                <a:gd name="connsiteY505" fmla="*/ 658887 h 718099"/>
                <a:gd name="connsiteX506" fmla="*/ 685344 w 768492"/>
                <a:gd name="connsiteY506" fmla="*/ 651329 h 718099"/>
                <a:gd name="connsiteX507" fmla="*/ 685344 w 768492"/>
                <a:gd name="connsiteY507" fmla="*/ 648809 h 718099"/>
                <a:gd name="connsiteX508" fmla="*/ 685344 w 768492"/>
                <a:gd name="connsiteY508" fmla="*/ 647549 h 718099"/>
                <a:gd name="connsiteX509" fmla="*/ 685344 w 768492"/>
                <a:gd name="connsiteY509" fmla="*/ 642510 h 718099"/>
                <a:gd name="connsiteX510" fmla="*/ 685344 w 768492"/>
                <a:gd name="connsiteY510" fmla="*/ 641250 h 718099"/>
                <a:gd name="connsiteX511" fmla="*/ 685344 w 768492"/>
                <a:gd name="connsiteY511" fmla="*/ 632431 h 718099"/>
                <a:gd name="connsiteX512" fmla="*/ 685344 w 768492"/>
                <a:gd name="connsiteY512" fmla="*/ 612274 h 718099"/>
                <a:gd name="connsiteX513" fmla="*/ 685344 w 768492"/>
                <a:gd name="connsiteY513" fmla="*/ 597156 h 718099"/>
                <a:gd name="connsiteX514" fmla="*/ 684084 w 768492"/>
                <a:gd name="connsiteY514" fmla="*/ 595896 h 718099"/>
                <a:gd name="connsiteX515" fmla="*/ 684084 w 768492"/>
                <a:gd name="connsiteY515" fmla="*/ 595896 h 718099"/>
                <a:gd name="connsiteX516" fmla="*/ 681564 w 768492"/>
                <a:gd name="connsiteY516" fmla="*/ 593377 h 718099"/>
                <a:gd name="connsiteX517" fmla="*/ 680305 w 768492"/>
                <a:gd name="connsiteY517" fmla="*/ 592117 h 718099"/>
                <a:gd name="connsiteX518" fmla="*/ 676525 w 768492"/>
                <a:gd name="connsiteY518" fmla="*/ 588337 h 718099"/>
                <a:gd name="connsiteX519" fmla="*/ 665187 w 768492"/>
                <a:gd name="connsiteY519" fmla="*/ 575739 h 718099"/>
                <a:gd name="connsiteX520" fmla="*/ 665187 w 768492"/>
                <a:gd name="connsiteY520" fmla="*/ 575739 h 718099"/>
                <a:gd name="connsiteX521" fmla="*/ 662667 w 768492"/>
                <a:gd name="connsiteY521" fmla="*/ 571960 h 718099"/>
                <a:gd name="connsiteX522" fmla="*/ 661407 w 768492"/>
                <a:gd name="connsiteY522" fmla="*/ 570700 h 718099"/>
                <a:gd name="connsiteX523" fmla="*/ 656368 w 768492"/>
                <a:gd name="connsiteY523" fmla="*/ 564401 h 718099"/>
                <a:gd name="connsiteX524" fmla="*/ 651329 w 768492"/>
                <a:gd name="connsiteY524" fmla="*/ 556842 h 718099"/>
                <a:gd name="connsiteX525" fmla="*/ 642510 w 768492"/>
                <a:gd name="connsiteY525" fmla="*/ 544244 h 718099"/>
                <a:gd name="connsiteX526" fmla="*/ 639990 w 768492"/>
                <a:gd name="connsiteY526" fmla="*/ 540464 h 718099"/>
                <a:gd name="connsiteX527" fmla="*/ 627392 w 768492"/>
                <a:gd name="connsiteY527" fmla="*/ 524086 h 718099"/>
                <a:gd name="connsiteX528" fmla="*/ 621093 w 768492"/>
                <a:gd name="connsiteY528" fmla="*/ 515268 h 718099"/>
                <a:gd name="connsiteX529" fmla="*/ 616054 w 768492"/>
                <a:gd name="connsiteY529" fmla="*/ 507709 h 718099"/>
                <a:gd name="connsiteX530" fmla="*/ 609755 w 768492"/>
                <a:gd name="connsiteY530" fmla="*/ 497630 h 718099"/>
                <a:gd name="connsiteX531" fmla="*/ 609755 w 768492"/>
                <a:gd name="connsiteY531" fmla="*/ 497630 h 718099"/>
                <a:gd name="connsiteX532" fmla="*/ 609755 w 768492"/>
                <a:gd name="connsiteY532" fmla="*/ 497630 h 718099"/>
                <a:gd name="connsiteX533" fmla="*/ 604715 w 768492"/>
                <a:gd name="connsiteY533" fmla="*/ 490071 h 718099"/>
                <a:gd name="connsiteX534" fmla="*/ 593377 w 768492"/>
                <a:gd name="connsiteY534" fmla="*/ 472434 h 718099"/>
                <a:gd name="connsiteX535" fmla="*/ 593377 w 768492"/>
                <a:gd name="connsiteY535" fmla="*/ 471174 h 718099"/>
                <a:gd name="connsiteX536" fmla="*/ 592117 w 768492"/>
                <a:gd name="connsiteY536" fmla="*/ 469914 h 718099"/>
                <a:gd name="connsiteX537" fmla="*/ 592117 w 768492"/>
                <a:gd name="connsiteY537" fmla="*/ 469914 h 718099"/>
                <a:gd name="connsiteX538" fmla="*/ 587078 w 768492"/>
                <a:gd name="connsiteY538" fmla="*/ 462355 h 718099"/>
                <a:gd name="connsiteX539" fmla="*/ 582038 w 768492"/>
                <a:gd name="connsiteY539" fmla="*/ 452277 h 718099"/>
                <a:gd name="connsiteX540" fmla="*/ 573220 w 768492"/>
                <a:gd name="connsiteY540" fmla="*/ 433379 h 718099"/>
                <a:gd name="connsiteX541" fmla="*/ 571960 w 768492"/>
                <a:gd name="connsiteY541" fmla="*/ 430860 h 718099"/>
                <a:gd name="connsiteX542" fmla="*/ 568180 w 768492"/>
                <a:gd name="connsiteY542" fmla="*/ 423301 h 718099"/>
                <a:gd name="connsiteX543" fmla="*/ 564401 w 768492"/>
                <a:gd name="connsiteY543" fmla="*/ 415742 h 718099"/>
                <a:gd name="connsiteX544" fmla="*/ 563141 w 768492"/>
                <a:gd name="connsiteY544" fmla="*/ 413222 h 718099"/>
                <a:gd name="connsiteX545" fmla="*/ 558102 w 768492"/>
                <a:gd name="connsiteY545" fmla="*/ 403143 h 718099"/>
                <a:gd name="connsiteX546" fmla="*/ 555582 w 768492"/>
                <a:gd name="connsiteY546" fmla="*/ 396844 h 718099"/>
                <a:gd name="connsiteX547" fmla="*/ 555582 w 768492"/>
                <a:gd name="connsiteY547" fmla="*/ 396844 h 718099"/>
                <a:gd name="connsiteX548" fmla="*/ 554322 w 768492"/>
                <a:gd name="connsiteY548" fmla="*/ 394325 h 718099"/>
                <a:gd name="connsiteX549" fmla="*/ 546763 w 768492"/>
                <a:gd name="connsiteY549" fmla="*/ 374167 h 718099"/>
                <a:gd name="connsiteX550" fmla="*/ 540464 w 768492"/>
                <a:gd name="connsiteY550" fmla="*/ 354010 h 718099"/>
                <a:gd name="connsiteX551" fmla="*/ 537945 w 768492"/>
                <a:gd name="connsiteY551" fmla="*/ 345192 h 718099"/>
                <a:gd name="connsiteX552" fmla="*/ 537945 w 768492"/>
                <a:gd name="connsiteY552" fmla="*/ 343932 h 718099"/>
                <a:gd name="connsiteX553" fmla="*/ 536685 w 768492"/>
                <a:gd name="connsiteY553" fmla="*/ 337633 h 718099"/>
                <a:gd name="connsiteX554" fmla="*/ 536685 w 768492"/>
                <a:gd name="connsiteY554" fmla="*/ 337633 h 718099"/>
                <a:gd name="connsiteX555" fmla="*/ 535425 w 768492"/>
                <a:gd name="connsiteY555" fmla="*/ 335113 h 718099"/>
                <a:gd name="connsiteX556" fmla="*/ 531645 w 768492"/>
                <a:gd name="connsiteY556" fmla="*/ 314956 h 718099"/>
                <a:gd name="connsiteX557" fmla="*/ 531645 w 768492"/>
                <a:gd name="connsiteY557" fmla="*/ 313696 h 718099"/>
                <a:gd name="connsiteX558" fmla="*/ 530386 w 768492"/>
                <a:gd name="connsiteY558" fmla="*/ 308657 h 718099"/>
                <a:gd name="connsiteX559" fmla="*/ 529126 w 768492"/>
                <a:gd name="connsiteY559" fmla="*/ 303617 h 718099"/>
                <a:gd name="connsiteX560" fmla="*/ 527866 w 768492"/>
                <a:gd name="connsiteY560" fmla="*/ 294799 h 718099"/>
                <a:gd name="connsiteX561" fmla="*/ 527866 w 768492"/>
                <a:gd name="connsiteY561" fmla="*/ 293539 h 718099"/>
                <a:gd name="connsiteX562" fmla="*/ 527866 w 768492"/>
                <a:gd name="connsiteY562" fmla="*/ 289759 h 718099"/>
                <a:gd name="connsiteX563" fmla="*/ 527866 w 768492"/>
                <a:gd name="connsiteY563" fmla="*/ 288499 h 718099"/>
                <a:gd name="connsiteX564" fmla="*/ 527866 w 768492"/>
                <a:gd name="connsiteY564" fmla="*/ 287240 h 718099"/>
                <a:gd name="connsiteX565" fmla="*/ 527866 w 768492"/>
                <a:gd name="connsiteY565" fmla="*/ 282200 h 718099"/>
                <a:gd name="connsiteX566" fmla="*/ 527866 w 768492"/>
                <a:gd name="connsiteY566" fmla="*/ 275901 h 718099"/>
                <a:gd name="connsiteX567" fmla="*/ 527866 w 768492"/>
                <a:gd name="connsiteY567" fmla="*/ 272122 h 718099"/>
                <a:gd name="connsiteX568" fmla="*/ 527866 w 768492"/>
                <a:gd name="connsiteY568" fmla="*/ 260783 h 718099"/>
                <a:gd name="connsiteX569" fmla="*/ 527866 w 768492"/>
                <a:gd name="connsiteY569" fmla="*/ 257004 h 718099"/>
                <a:gd name="connsiteX570" fmla="*/ 527866 w 768492"/>
                <a:gd name="connsiteY570" fmla="*/ 255744 h 718099"/>
                <a:gd name="connsiteX571" fmla="*/ 527866 w 768492"/>
                <a:gd name="connsiteY571" fmla="*/ 251965 h 718099"/>
                <a:gd name="connsiteX572" fmla="*/ 527866 w 768492"/>
                <a:gd name="connsiteY572" fmla="*/ 251965 h 718099"/>
                <a:gd name="connsiteX573" fmla="*/ 527866 w 768492"/>
                <a:gd name="connsiteY573" fmla="*/ 249445 h 718099"/>
                <a:gd name="connsiteX574" fmla="*/ 527866 w 768492"/>
                <a:gd name="connsiteY574" fmla="*/ 249445 h 718099"/>
                <a:gd name="connsiteX575" fmla="*/ 527866 w 768492"/>
                <a:gd name="connsiteY575" fmla="*/ 249445 h 718099"/>
                <a:gd name="connsiteX576" fmla="*/ 527866 w 768492"/>
                <a:gd name="connsiteY576" fmla="*/ 249445 h 718099"/>
                <a:gd name="connsiteX577" fmla="*/ 527866 w 768492"/>
                <a:gd name="connsiteY577" fmla="*/ 249445 h 718099"/>
                <a:gd name="connsiteX578" fmla="*/ 527866 w 768492"/>
                <a:gd name="connsiteY578" fmla="*/ 249445 h 718099"/>
                <a:gd name="connsiteX579" fmla="*/ 527866 w 768492"/>
                <a:gd name="connsiteY579" fmla="*/ 249445 h 718099"/>
                <a:gd name="connsiteX580" fmla="*/ 527866 w 768492"/>
                <a:gd name="connsiteY580" fmla="*/ 249445 h 718099"/>
                <a:gd name="connsiteX581" fmla="*/ 527866 w 768492"/>
                <a:gd name="connsiteY581" fmla="*/ 246925 h 718099"/>
                <a:gd name="connsiteX582" fmla="*/ 527866 w 768492"/>
                <a:gd name="connsiteY582" fmla="*/ 245666 h 718099"/>
                <a:gd name="connsiteX583" fmla="*/ 529126 w 768492"/>
                <a:gd name="connsiteY583" fmla="*/ 239366 h 718099"/>
                <a:gd name="connsiteX584" fmla="*/ 531645 w 768492"/>
                <a:gd name="connsiteY584" fmla="*/ 230548 h 718099"/>
                <a:gd name="connsiteX585" fmla="*/ 535425 w 768492"/>
                <a:gd name="connsiteY585" fmla="*/ 221729 h 718099"/>
                <a:gd name="connsiteX586" fmla="*/ 540464 w 768492"/>
                <a:gd name="connsiteY586" fmla="*/ 214170 h 718099"/>
                <a:gd name="connsiteX587" fmla="*/ 540464 w 768492"/>
                <a:gd name="connsiteY587" fmla="*/ 214170 h 718099"/>
                <a:gd name="connsiteX588" fmla="*/ 541724 w 768492"/>
                <a:gd name="connsiteY588" fmla="*/ 211650 h 718099"/>
                <a:gd name="connsiteX589" fmla="*/ 542984 w 768492"/>
                <a:gd name="connsiteY589" fmla="*/ 210390 h 718099"/>
                <a:gd name="connsiteX590" fmla="*/ 542984 w 768492"/>
                <a:gd name="connsiteY590" fmla="*/ 210390 h 718099"/>
                <a:gd name="connsiteX591" fmla="*/ 544244 w 768492"/>
                <a:gd name="connsiteY591" fmla="*/ 209131 h 718099"/>
                <a:gd name="connsiteX592" fmla="*/ 549283 w 768492"/>
                <a:gd name="connsiteY592" fmla="*/ 204091 h 718099"/>
                <a:gd name="connsiteX593" fmla="*/ 555582 w 768492"/>
                <a:gd name="connsiteY593" fmla="*/ 199052 h 718099"/>
                <a:gd name="connsiteX594" fmla="*/ 559362 w 768492"/>
                <a:gd name="connsiteY594" fmla="*/ 197792 h 718099"/>
                <a:gd name="connsiteX595" fmla="*/ 563141 w 768492"/>
                <a:gd name="connsiteY595" fmla="*/ 196532 h 718099"/>
                <a:gd name="connsiteX596" fmla="*/ 575739 w 768492"/>
                <a:gd name="connsiteY596" fmla="*/ 194013 h 718099"/>
                <a:gd name="connsiteX597" fmla="*/ 578259 w 768492"/>
                <a:gd name="connsiteY597" fmla="*/ 194013 h 718099"/>
                <a:gd name="connsiteX598" fmla="*/ 594637 w 768492"/>
                <a:gd name="connsiteY598" fmla="*/ 195273 h 718099"/>
                <a:gd name="connsiteX599" fmla="*/ 595896 w 768492"/>
                <a:gd name="connsiteY599" fmla="*/ 195273 h 718099"/>
                <a:gd name="connsiteX600" fmla="*/ 605975 w 768492"/>
                <a:gd name="connsiteY600" fmla="*/ 197792 h 718099"/>
                <a:gd name="connsiteX601" fmla="*/ 616054 w 768492"/>
                <a:gd name="connsiteY601" fmla="*/ 202831 h 718099"/>
                <a:gd name="connsiteX602" fmla="*/ 616054 w 768492"/>
                <a:gd name="connsiteY602" fmla="*/ 202831 h 718099"/>
                <a:gd name="connsiteX603" fmla="*/ 621093 w 768492"/>
                <a:gd name="connsiteY603" fmla="*/ 206611 h 718099"/>
                <a:gd name="connsiteX604" fmla="*/ 622353 w 768492"/>
                <a:gd name="connsiteY604" fmla="*/ 206611 h 718099"/>
                <a:gd name="connsiteX605" fmla="*/ 624872 w 768492"/>
                <a:gd name="connsiteY605" fmla="*/ 209131 h 718099"/>
                <a:gd name="connsiteX606" fmla="*/ 626132 w 768492"/>
                <a:gd name="connsiteY606" fmla="*/ 210390 h 718099"/>
                <a:gd name="connsiteX607" fmla="*/ 629912 w 768492"/>
                <a:gd name="connsiteY607" fmla="*/ 214170 h 718099"/>
                <a:gd name="connsiteX608" fmla="*/ 632431 w 768492"/>
                <a:gd name="connsiteY608" fmla="*/ 217949 h 718099"/>
                <a:gd name="connsiteX609" fmla="*/ 637471 w 768492"/>
                <a:gd name="connsiteY609" fmla="*/ 228028 h 718099"/>
                <a:gd name="connsiteX610" fmla="*/ 639990 w 768492"/>
                <a:gd name="connsiteY610" fmla="*/ 235587 h 718099"/>
                <a:gd name="connsiteX611" fmla="*/ 639990 w 768492"/>
                <a:gd name="connsiteY611" fmla="*/ 236847 h 718099"/>
                <a:gd name="connsiteX612" fmla="*/ 642510 w 768492"/>
                <a:gd name="connsiteY612" fmla="*/ 246925 h 718099"/>
                <a:gd name="connsiteX613" fmla="*/ 643770 w 768492"/>
                <a:gd name="connsiteY613" fmla="*/ 253224 h 718099"/>
                <a:gd name="connsiteX614" fmla="*/ 643770 w 768492"/>
                <a:gd name="connsiteY614" fmla="*/ 253224 h 718099"/>
                <a:gd name="connsiteX615" fmla="*/ 643770 w 768492"/>
                <a:gd name="connsiteY615" fmla="*/ 257004 h 718099"/>
                <a:gd name="connsiteX616" fmla="*/ 647549 w 768492"/>
                <a:gd name="connsiteY616" fmla="*/ 270862 h 718099"/>
                <a:gd name="connsiteX617" fmla="*/ 648809 w 768492"/>
                <a:gd name="connsiteY617" fmla="*/ 275901 h 718099"/>
                <a:gd name="connsiteX618" fmla="*/ 648809 w 768492"/>
                <a:gd name="connsiteY618" fmla="*/ 275901 h 718099"/>
                <a:gd name="connsiteX619" fmla="*/ 651329 w 768492"/>
                <a:gd name="connsiteY619" fmla="*/ 284720 h 718099"/>
                <a:gd name="connsiteX620" fmla="*/ 655108 w 768492"/>
                <a:gd name="connsiteY620" fmla="*/ 297318 h 718099"/>
                <a:gd name="connsiteX621" fmla="*/ 660148 w 768492"/>
                <a:gd name="connsiteY621" fmla="*/ 311176 h 718099"/>
                <a:gd name="connsiteX622" fmla="*/ 661407 w 768492"/>
                <a:gd name="connsiteY622" fmla="*/ 314956 h 718099"/>
                <a:gd name="connsiteX623" fmla="*/ 665187 w 768492"/>
                <a:gd name="connsiteY623" fmla="*/ 321255 h 718099"/>
                <a:gd name="connsiteX624" fmla="*/ 666447 w 768492"/>
                <a:gd name="connsiteY624" fmla="*/ 325034 h 718099"/>
                <a:gd name="connsiteX625" fmla="*/ 670226 w 768492"/>
                <a:gd name="connsiteY625" fmla="*/ 331333 h 718099"/>
                <a:gd name="connsiteX626" fmla="*/ 681564 w 768492"/>
                <a:gd name="connsiteY626" fmla="*/ 351491 h 718099"/>
                <a:gd name="connsiteX627" fmla="*/ 682824 w 768492"/>
                <a:gd name="connsiteY627" fmla="*/ 354010 h 718099"/>
                <a:gd name="connsiteX628" fmla="*/ 694163 w 768492"/>
                <a:gd name="connsiteY628" fmla="*/ 369128 h 718099"/>
                <a:gd name="connsiteX629" fmla="*/ 695422 w 768492"/>
                <a:gd name="connsiteY629" fmla="*/ 370388 h 718099"/>
                <a:gd name="connsiteX630" fmla="*/ 696682 w 768492"/>
                <a:gd name="connsiteY630" fmla="*/ 372908 h 718099"/>
                <a:gd name="connsiteX631" fmla="*/ 696682 w 768492"/>
                <a:gd name="connsiteY631" fmla="*/ 365349 h 718099"/>
                <a:gd name="connsiteX632" fmla="*/ 696682 w 768492"/>
                <a:gd name="connsiteY632" fmla="*/ 361569 h 718099"/>
                <a:gd name="connsiteX633" fmla="*/ 696682 w 768492"/>
                <a:gd name="connsiteY633" fmla="*/ 357790 h 718099"/>
                <a:gd name="connsiteX634" fmla="*/ 696682 w 768492"/>
                <a:gd name="connsiteY634" fmla="*/ 356530 h 718099"/>
                <a:gd name="connsiteX635" fmla="*/ 696682 w 768492"/>
                <a:gd name="connsiteY635" fmla="*/ 351491 h 718099"/>
                <a:gd name="connsiteX636" fmla="*/ 696682 w 768492"/>
                <a:gd name="connsiteY636" fmla="*/ 351491 h 718099"/>
                <a:gd name="connsiteX637" fmla="*/ 696682 w 768492"/>
                <a:gd name="connsiteY637" fmla="*/ 342672 h 718099"/>
                <a:gd name="connsiteX638" fmla="*/ 696682 w 768492"/>
                <a:gd name="connsiteY638" fmla="*/ 341412 h 718099"/>
                <a:gd name="connsiteX639" fmla="*/ 696682 w 768492"/>
                <a:gd name="connsiteY639" fmla="*/ 341412 h 718099"/>
                <a:gd name="connsiteX640" fmla="*/ 696682 w 768492"/>
                <a:gd name="connsiteY640" fmla="*/ 335113 h 718099"/>
                <a:gd name="connsiteX641" fmla="*/ 696682 w 768492"/>
                <a:gd name="connsiteY641" fmla="*/ 333853 h 718099"/>
                <a:gd name="connsiteX642" fmla="*/ 696682 w 768492"/>
                <a:gd name="connsiteY642" fmla="*/ 331333 h 718099"/>
                <a:gd name="connsiteX643" fmla="*/ 696682 w 768492"/>
                <a:gd name="connsiteY643" fmla="*/ 327554 h 718099"/>
                <a:gd name="connsiteX644" fmla="*/ 696682 w 768492"/>
                <a:gd name="connsiteY644" fmla="*/ 326294 h 718099"/>
                <a:gd name="connsiteX645" fmla="*/ 696682 w 768492"/>
                <a:gd name="connsiteY645" fmla="*/ 321255 h 718099"/>
                <a:gd name="connsiteX646" fmla="*/ 696682 w 768492"/>
                <a:gd name="connsiteY646" fmla="*/ 316216 h 718099"/>
                <a:gd name="connsiteX647" fmla="*/ 696682 w 768492"/>
                <a:gd name="connsiteY647" fmla="*/ 314956 h 718099"/>
                <a:gd name="connsiteX648" fmla="*/ 696682 w 768492"/>
                <a:gd name="connsiteY648" fmla="*/ 313696 h 718099"/>
                <a:gd name="connsiteX649" fmla="*/ 696682 w 768492"/>
                <a:gd name="connsiteY649" fmla="*/ 309916 h 718099"/>
                <a:gd name="connsiteX650" fmla="*/ 696682 w 768492"/>
                <a:gd name="connsiteY650" fmla="*/ 299838 h 718099"/>
                <a:gd name="connsiteX651" fmla="*/ 696682 w 768492"/>
                <a:gd name="connsiteY651" fmla="*/ 296058 h 718099"/>
                <a:gd name="connsiteX652" fmla="*/ 696682 w 768492"/>
                <a:gd name="connsiteY652" fmla="*/ 292279 h 718099"/>
                <a:gd name="connsiteX653" fmla="*/ 696682 w 768492"/>
                <a:gd name="connsiteY653" fmla="*/ 283460 h 718099"/>
                <a:gd name="connsiteX654" fmla="*/ 696682 w 768492"/>
                <a:gd name="connsiteY654" fmla="*/ 274641 h 718099"/>
                <a:gd name="connsiteX655" fmla="*/ 696682 w 768492"/>
                <a:gd name="connsiteY655" fmla="*/ 273382 h 718099"/>
                <a:gd name="connsiteX656" fmla="*/ 696682 w 768492"/>
                <a:gd name="connsiteY656" fmla="*/ 272122 h 718099"/>
                <a:gd name="connsiteX657" fmla="*/ 696682 w 768492"/>
                <a:gd name="connsiteY657" fmla="*/ 269602 h 718099"/>
                <a:gd name="connsiteX658" fmla="*/ 696682 w 768492"/>
                <a:gd name="connsiteY658" fmla="*/ 263303 h 718099"/>
                <a:gd name="connsiteX659" fmla="*/ 696682 w 768492"/>
                <a:gd name="connsiteY659" fmla="*/ 263303 h 718099"/>
                <a:gd name="connsiteX660" fmla="*/ 696682 w 768492"/>
                <a:gd name="connsiteY660" fmla="*/ 259523 h 718099"/>
                <a:gd name="connsiteX661" fmla="*/ 696682 w 768492"/>
                <a:gd name="connsiteY661" fmla="*/ 249445 h 718099"/>
                <a:gd name="connsiteX662" fmla="*/ 696682 w 768492"/>
                <a:gd name="connsiteY662" fmla="*/ 244406 h 718099"/>
                <a:gd name="connsiteX663" fmla="*/ 696682 w 768492"/>
                <a:gd name="connsiteY663" fmla="*/ 240626 h 718099"/>
                <a:gd name="connsiteX664" fmla="*/ 696682 w 768492"/>
                <a:gd name="connsiteY664" fmla="*/ 240626 h 718099"/>
                <a:gd name="connsiteX665" fmla="*/ 696682 w 768492"/>
                <a:gd name="connsiteY665" fmla="*/ 240626 h 718099"/>
                <a:gd name="connsiteX666" fmla="*/ 696682 w 768492"/>
                <a:gd name="connsiteY666" fmla="*/ 235587 h 718099"/>
                <a:gd name="connsiteX667" fmla="*/ 696682 w 768492"/>
                <a:gd name="connsiteY667" fmla="*/ 234327 h 718099"/>
                <a:gd name="connsiteX668" fmla="*/ 696682 w 768492"/>
                <a:gd name="connsiteY668" fmla="*/ 233067 h 718099"/>
                <a:gd name="connsiteX669" fmla="*/ 696682 w 768492"/>
                <a:gd name="connsiteY669" fmla="*/ 233067 h 718099"/>
                <a:gd name="connsiteX670" fmla="*/ 697942 w 768492"/>
                <a:gd name="connsiteY670" fmla="*/ 230548 h 718099"/>
                <a:gd name="connsiteX671" fmla="*/ 697942 w 768492"/>
                <a:gd name="connsiteY671" fmla="*/ 229288 h 718099"/>
                <a:gd name="connsiteX672" fmla="*/ 699202 w 768492"/>
                <a:gd name="connsiteY672" fmla="*/ 225508 h 718099"/>
                <a:gd name="connsiteX673" fmla="*/ 699202 w 768492"/>
                <a:gd name="connsiteY673" fmla="*/ 224248 h 718099"/>
                <a:gd name="connsiteX674" fmla="*/ 700462 w 768492"/>
                <a:gd name="connsiteY674" fmla="*/ 221729 h 718099"/>
                <a:gd name="connsiteX675" fmla="*/ 701722 w 768492"/>
                <a:gd name="connsiteY675" fmla="*/ 221729 h 718099"/>
                <a:gd name="connsiteX676" fmla="*/ 702981 w 768492"/>
                <a:gd name="connsiteY676" fmla="*/ 221729 h 718099"/>
                <a:gd name="connsiteX677" fmla="*/ 702981 w 768492"/>
                <a:gd name="connsiteY677" fmla="*/ 221729 h 718099"/>
                <a:gd name="connsiteX678" fmla="*/ 702981 w 768492"/>
                <a:gd name="connsiteY678" fmla="*/ 221729 h 718099"/>
                <a:gd name="connsiteX679" fmla="*/ 702981 w 768492"/>
                <a:gd name="connsiteY679" fmla="*/ 221729 h 718099"/>
                <a:gd name="connsiteX680" fmla="*/ 702981 w 768492"/>
                <a:gd name="connsiteY680" fmla="*/ 221729 h 718099"/>
                <a:gd name="connsiteX681" fmla="*/ 702981 w 768492"/>
                <a:gd name="connsiteY681" fmla="*/ 221729 h 718099"/>
                <a:gd name="connsiteX682" fmla="*/ 702981 w 768492"/>
                <a:gd name="connsiteY682" fmla="*/ 221729 h 718099"/>
                <a:gd name="connsiteX683" fmla="*/ 702981 w 768492"/>
                <a:gd name="connsiteY683" fmla="*/ 221729 h 718099"/>
                <a:gd name="connsiteX684" fmla="*/ 702981 w 768492"/>
                <a:gd name="connsiteY684" fmla="*/ 221729 h 718099"/>
                <a:gd name="connsiteX685" fmla="*/ 702981 w 768492"/>
                <a:gd name="connsiteY685" fmla="*/ 222989 h 718099"/>
                <a:gd name="connsiteX686" fmla="*/ 702981 w 768492"/>
                <a:gd name="connsiteY686" fmla="*/ 222989 h 718099"/>
                <a:gd name="connsiteX687" fmla="*/ 702981 w 768492"/>
                <a:gd name="connsiteY687" fmla="*/ 222989 h 718099"/>
                <a:gd name="connsiteX688" fmla="*/ 704241 w 768492"/>
                <a:gd name="connsiteY688" fmla="*/ 222989 h 718099"/>
                <a:gd name="connsiteX689" fmla="*/ 704241 w 768492"/>
                <a:gd name="connsiteY689" fmla="*/ 222989 h 718099"/>
                <a:gd name="connsiteX690" fmla="*/ 704241 w 768492"/>
                <a:gd name="connsiteY690" fmla="*/ 222989 h 718099"/>
                <a:gd name="connsiteX691" fmla="*/ 706761 w 768492"/>
                <a:gd name="connsiteY691" fmla="*/ 225508 h 718099"/>
                <a:gd name="connsiteX692" fmla="*/ 715580 w 768492"/>
                <a:gd name="connsiteY692" fmla="*/ 244406 h 718099"/>
                <a:gd name="connsiteX693" fmla="*/ 718099 w 768492"/>
                <a:gd name="connsiteY693" fmla="*/ 248185 h 718099"/>
                <a:gd name="connsiteX694" fmla="*/ 719359 w 768492"/>
                <a:gd name="connsiteY694" fmla="*/ 250705 h 718099"/>
                <a:gd name="connsiteX695" fmla="*/ 719359 w 768492"/>
                <a:gd name="connsiteY695" fmla="*/ 250705 h 718099"/>
                <a:gd name="connsiteX696" fmla="*/ 723139 w 768492"/>
                <a:gd name="connsiteY696" fmla="*/ 258264 h 718099"/>
                <a:gd name="connsiteX697" fmla="*/ 724398 w 768492"/>
                <a:gd name="connsiteY697" fmla="*/ 260783 h 718099"/>
                <a:gd name="connsiteX698" fmla="*/ 728178 w 768492"/>
                <a:gd name="connsiteY698" fmla="*/ 267083 h 718099"/>
                <a:gd name="connsiteX699" fmla="*/ 729438 w 768492"/>
                <a:gd name="connsiteY699" fmla="*/ 268342 h 718099"/>
                <a:gd name="connsiteX700" fmla="*/ 733217 w 768492"/>
                <a:gd name="connsiteY700" fmla="*/ 274641 h 718099"/>
                <a:gd name="connsiteX701" fmla="*/ 735737 w 768492"/>
                <a:gd name="connsiteY701" fmla="*/ 278421 h 718099"/>
                <a:gd name="connsiteX702" fmla="*/ 745815 w 768492"/>
                <a:gd name="connsiteY702" fmla="*/ 297318 h 718099"/>
                <a:gd name="connsiteX703" fmla="*/ 748335 w 768492"/>
                <a:gd name="connsiteY703" fmla="*/ 303617 h 718099"/>
                <a:gd name="connsiteX704" fmla="*/ 750855 w 768492"/>
                <a:gd name="connsiteY704" fmla="*/ 308657 h 718099"/>
                <a:gd name="connsiteX705" fmla="*/ 753374 w 768492"/>
                <a:gd name="connsiteY705" fmla="*/ 313696 h 718099"/>
                <a:gd name="connsiteX706" fmla="*/ 755894 w 768492"/>
                <a:gd name="connsiteY706" fmla="*/ 318735 h 718099"/>
                <a:gd name="connsiteX707" fmla="*/ 755894 w 768492"/>
                <a:gd name="connsiteY707" fmla="*/ 318735 h 718099"/>
                <a:gd name="connsiteX708" fmla="*/ 755894 w 768492"/>
                <a:gd name="connsiteY708" fmla="*/ 318735 h 718099"/>
                <a:gd name="connsiteX709" fmla="*/ 758414 w 768492"/>
                <a:gd name="connsiteY709" fmla="*/ 325034 h 718099"/>
                <a:gd name="connsiteX710" fmla="*/ 758414 w 768492"/>
                <a:gd name="connsiteY710" fmla="*/ 325034 h 718099"/>
                <a:gd name="connsiteX711" fmla="*/ 758414 w 768492"/>
                <a:gd name="connsiteY711" fmla="*/ 325034 h 718099"/>
                <a:gd name="connsiteX712" fmla="*/ 758414 w 768492"/>
                <a:gd name="connsiteY712" fmla="*/ 325034 h 718099"/>
                <a:gd name="connsiteX713" fmla="*/ 762193 w 768492"/>
                <a:gd name="connsiteY713" fmla="*/ 332593 h 718099"/>
                <a:gd name="connsiteX714" fmla="*/ 767232 w 768492"/>
                <a:gd name="connsiteY714" fmla="*/ 343932 h 718099"/>
                <a:gd name="connsiteX715" fmla="*/ 771012 w 768492"/>
                <a:gd name="connsiteY715" fmla="*/ 354010 h 718099"/>
                <a:gd name="connsiteX716" fmla="*/ 771012 w 768492"/>
                <a:gd name="connsiteY716" fmla="*/ 355270 h 718099"/>
                <a:gd name="connsiteX717" fmla="*/ 774791 w 768492"/>
                <a:gd name="connsiteY717" fmla="*/ 365349 h 718099"/>
                <a:gd name="connsiteX718" fmla="*/ 776051 w 768492"/>
                <a:gd name="connsiteY718" fmla="*/ 367868 h 718099"/>
                <a:gd name="connsiteX719" fmla="*/ 778571 w 768492"/>
                <a:gd name="connsiteY719" fmla="*/ 372908 h 718099"/>
                <a:gd name="connsiteX720" fmla="*/ 778571 w 768492"/>
                <a:gd name="connsiteY720" fmla="*/ 369128 h 718099"/>
                <a:gd name="connsiteX721" fmla="*/ 778571 w 768492"/>
                <a:gd name="connsiteY721" fmla="*/ 372908 h 718099"/>
                <a:gd name="connsiteX722" fmla="*/ 777311 w 768492"/>
                <a:gd name="connsiteY722" fmla="*/ 367868 h 718099"/>
                <a:gd name="connsiteX723" fmla="*/ 777311 w 768492"/>
                <a:gd name="connsiteY723" fmla="*/ 367868 h 718099"/>
                <a:gd name="connsiteX724" fmla="*/ 777311 w 768492"/>
                <a:gd name="connsiteY724" fmla="*/ 366608 h 718099"/>
                <a:gd name="connsiteX725" fmla="*/ 777311 w 768492"/>
                <a:gd name="connsiteY725" fmla="*/ 366608 h 718099"/>
                <a:gd name="connsiteX726" fmla="*/ 777311 w 768492"/>
                <a:gd name="connsiteY726" fmla="*/ 366608 h 718099"/>
                <a:gd name="connsiteX727" fmla="*/ 777311 w 768492"/>
                <a:gd name="connsiteY727" fmla="*/ 366608 h 718099"/>
                <a:gd name="connsiteX728" fmla="*/ 777311 w 768492"/>
                <a:gd name="connsiteY728" fmla="*/ 366608 h 718099"/>
                <a:gd name="connsiteX729" fmla="*/ 777311 w 768492"/>
                <a:gd name="connsiteY729" fmla="*/ 365349 h 718099"/>
                <a:gd name="connsiteX730" fmla="*/ 777311 w 768492"/>
                <a:gd name="connsiteY730" fmla="*/ 365349 h 718099"/>
                <a:gd name="connsiteX731" fmla="*/ 777311 w 768492"/>
                <a:gd name="connsiteY731" fmla="*/ 365349 h 718099"/>
                <a:gd name="connsiteX732" fmla="*/ 777311 w 768492"/>
                <a:gd name="connsiteY732" fmla="*/ 365349 h 718099"/>
                <a:gd name="connsiteX733" fmla="*/ 777311 w 768492"/>
                <a:gd name="connsiteY733" fmla="*/ 365349 h 718099"/>
                <a:gd name="connsiteX734" fmla="*/ 777311 w 768492"/>
                <a:gd name="connsiteY734" fmla="*/ 362829 h 718099"/>
                <a:gd name="connsiteX735" fmla="*/ 777311 w 768492"/>
                <a:gd name="connsiteY735" fmla="*/ 364089 h 718099"/>
                <a:gd name="connsiteX736" fmla="*/ 776051 w 768492"/>
                <a:gd name="connsiteY736" fmla="*/ 359050 h 718099"/>
                <a:gd name="connsiteX737" fmla="*/ 773532 w 768492"/>
                <a:gd name="connsiteY737" fmla="*/ 346451 h 718099"/>
                <a:gd name="connsiteX738" fmla="*/ 769752 w 768492"/>
                <a:gd name="connsiteY738" fmla="*/ 323775 h 718099"/>
                <a:gd name="connsiteX739" fmla="*/ 769752 w 768492"/>
                <a:gd name="connsiteY739" fmla="*/ 323775 h 718099"/>
                <a:gd name="connsiteX740" fmla="*/ 765973 w 768492"/>
                <a:gd name="connsiteY740" fmla="*/ 299838 h 718099"/>
                <a:gd name="connsiteX741" fmla="*/ 762193 w 768492"/>
                <a:gd name="connsiteY741" fmla="*/ 265823 h 718099"/>
                <a:gd name="connsiteX742" fmla="*/ 762193 w 768492"/>
                <a:gd name="connsiteY742" fmla="*/ 265823 h 718099"/>
                <a:gd name="connsiteX743" fmla="*/ 760933 w 768492"/>
                <a:gd name="connsiteY743" fmla="*/ 262043 h 718099"/>
                <a:gd name="connsiteX744" fmla="*/ 758414 w 768492"/>
                <a:gd name="connsiteY744" fmla="*/ 250705 h 718099"/>
                <a:gd name="connsiteX745" fmla="*/ 754634 w 768492"/>
                <a:gd name="connsiteY745" fmla="*/ 236847 h 718099"/>
                <a:gd name="connsiteX746" fmla="*/ 750855 w 768492"/>
                <a:gd name="connsiteY746" fmla="*/ 225508 h 718099"/>
                <a:gd name="connsiteX747" fmla="*/ 750855 w 768492"/>
                <a:gd name="connsiteY747" fmla="*/ 221729 h 718099"/>
                <a:gd name="connsiteX748" fmla="*/ 750855 w 768492"/>
                <a:gd name="connsiteY748" fmla="*/ 217949 h 718099"/>
                <a:gd name="connsiteX749" fmla="*/ 749595 w 768492"/>
                <a:gd name="connsiteY749" fmla="*/ 202831 h 718099"/>
                <a:gd name="connsiteX750" fmla="*/ 749595 w 768492"/>
                <a:gd name="connsiteY750" fmla="*/ 201572 h 718099"/>
                <a:gd name="connsiteX751" fmla="*/ 748335 w 768492"/>
                <a:gd name="connsiteY751" fmla="*/ 197792 h 718099"/>
                <a:gd name="connsiteX752" fmla="*/ 748335 w 768492"/>
                <a:gd name="connsiteY752" fmla="*/ 197792 h 718099"/>
                <a:gd name="connsiteX753" fmla="*/ 748335 w 768492"/>
                <a:gd name="connsiteY753" fmla="*/ 197792 h 718099"/>
                <a:gd name="connsiteX754" fmla="*/ 743296 w 768492"/>
                <a:gd name="connsiteY754" fmla="*/ 178895 h 718099"/>
                <a:gd name="connsiteX755" fmla="*/ 736997 w 768492"/>
                <a:gd name="connsiteY755" fmla="*/ 158738 h 718099"/>
                <a:gd name="connsiteX756" fmla="*/ 734477 w 768492"/>
                <a:gd name="connsiteY756" fmla="*/ 152439 h 718099"/>
                <a:gd name="connsiteX757" fmla="*/ 729438 w 768492"/>
                <a:gd name="connsiteY757" fmla="*/ 137321 h 718099"/>
                <a:gd name="connsiteX758" fmla="*/ 721879 w 768492"/>
                <a:gd name="connsiteY758" fmla="*/ 118423 h 718099"/>
                <a:gd name="connsiteX759" fmla="*/ 720619 w 768492"/>
                <a:gd name="connsiteY759" fmla="*/ 117163 h 718099"/>
                <a:gd name="connsiteX760" fmla="*/ 718099 w 768492"/>
                <a:gd name="connsiteY760" fmla="*/ 110864 h 718099"/>
                <a:gd name="connsiteX761" fmla="*/ 713060 w 768492"/>
                <a:gd name="connsiteY761" fmla="*/ 99526 h 718099"/>
                <a:gd name="connsiteX762" fmla="*/ 713060 w 768492"/>
                <a:gd name="connsiteY762" fmla="*/ 98266 h 718099"/>
                <a:gd name="connsiteX763" fmla="*/ 702981 w 768492"/>
                <a:gd name="connsiteY763" fmla="*/ 79369 h 718099"/>
                <a:gd name="connsiteX764" fmla="*/ 695422 w 768492"/>
                <a:gd name="connsiteY764" fmla="*/ 70550 h 718099"/>
                <a:gd name="connsiteX765" fmla="*/ 687864 w 768492"/>
                <a:gd name="connsiteY765" fmla="*/ 62991 h 718099"/>
                <a:gd name="connsiteX766" fmla="*/ 686604 w 768492"/>
                <a:gd name="connsiteY766" fmla="*/ 61731 h 718099"/>
                <a:gd name="connsiteX767" fmla="*/ 679045 w 768492"/>
                <a:gd name="connsiteY767" fmla="*/ 54172 h 718099"/>
                <a:gd name="connsiteX768" fmla="*/ 670226 w 768492"/>
                <a:gd name="connsiteY768" fmla="*/ 47873 h 718099"/>
                <a:gd name="connsiteX769" fmla="*/ 660148 w 768492"/>
                <a:gd name="connsiteY769" fmla="*/ 41574 h 718099"/>
                <a:gd name="connsiteX770" fmla="*/ 650069 w 768492"/>
                <a:gd name="connsiteY770" fmla="*/ 36535 h 718099"/>
                <a:gd name="connsiteX771" fmla="*/ 650069 w 768492"/>
                <a:gd name="connsiteY771" fmla="*/ 36535 h 718099"/>
                <a:gd name="connsiteX772" fmla="*/ 641250 w 768492"/>
                <a:gd name="connsiteY772" fmla="*/ 32755 h 718099"/>
                <a:gd name="connsiteX773" fmla="*/ 637471 w 768492"/>
                <a:gd name="connsiteY773" fmla="*/ 31496 h 718099"/>
                <a:gd name="connsiteX774" fmla="*/ 631172 w 768492"/>
                <a:gd name="connsiteY774" fmla="*/ 28976 h 718099"/>
                <a:gd name="connsiteX775" fmla="*/ 628652 w 768492"/>
                <a:gd name="connsiteY775" fmla="*/ 27716 h 718099"/>
                <a:gd name="connsiteX776" fmla="*/ 627392 w 768492"/>
                <a:gd name="connsiteY776" fmla="*/ 27716 h 718099"/>
                <a:gd name="connsiteX777" fmla="*/ 622353 w 768492"/>
                <a:gd name="connsiteY777" fmla="*/ 25196 h 718099"/>
                <a:gd name="connsiteX778" fmla="*/ 609755 w 768492"/>
                <a:gd name="connsiteY778" fmla="*/ 22677 h 718099"/>
                <a:gd name="connsiteX779" fmla="*/ 595896 w 768492"/>
                <a:gd name="connsiteY779" fmla="*/ 18897 h 718099"/>
                <a:gd name="connsiteX780" fmla="*/ 595896 w 768492"/>
                <a:gd name="connsiteY780" fmla="*/ 18897 h 718099"/>
                <a:gd name="connsiteX781" fmla="*/ 590857 w 768492"/>
                <a:gd name="connsiteY781" fmla="*/ 17637 h 718099"/>
                <a:gd name="connsiteX782" fmla="*/ 574480 w 768492"/>
                <a:gd name="connsiteY782" fmla="*/ 12598 h 718099"/>
                <a:gd name="connsiteX783" fmla="*/ 561881 w 768492"/>
                <a:gd name="connsiteY783" fmla="*/ 8819 h 718099"/>
                <a:gd name="connsiteX784" fmla="*/ 551803 w 768492"/>
                <a:gd name="connsiteY784" fmla="*/ 6299 h 718099"/>
                <a:gd name="connsiteX785" fmla="*/ 550543 w 768492"/>
                <a:gd name="connsiteY785" fmla="*/ 6299 h 718099"/>
                <a:gd name="connsiteX786" fmla="*/ 540464 w 768492"/>
                <a:gd name="connsiteY786" fmla="*/ 3779 h 718099"/>
                <a:gd name="connsiteX787" fmla="*/ 534165 w 768492"/>
                <a:gd name="connsiteY787" fmla="*/ 2520 h 718099"/>
                <a:gd name="connsiteX788" fmla="*/ 530386 w 768492"/>
                <a:gd name="connsiteY788" fmla="*/ 1260 h 718099"/>
                <a:gd name="connsiteX789" fmla="*/ 526606 w 768492"/>
                <a:gd name="connsiteY789" fmla="*/ 0 h 718099"/>
                <a:gd name="connsiteX790" fmla="*/ 526606 w 768492"/>
                <a:gd name="connsiteY790" fmla="*/ 0 h 718099"/>
                <a:gd name="connsiteX791" fmla="*/ 526606 w 768492"/>
                <a:gd name="connsiteY791" fmla="*/ 0 h 718099"/>
                <a:gd name="connsiteX792" fmla="*/ 526606 w 768492"/>
                <a:gd name="connsiteY792" fmla="*/ 0 h 718099"/>
                <a:gd name="connsiteX793" fmla="*/ 537945 w 768492"/>
                <a:gd name="connsiteY793" fmla="*/ 16378 h 718099"/>
                <a:gd name="connsiteX794" fmla="*/ 162517 w 768492"/>
                <a:gd name="connsiteY794" fmla="*/ 388025 h 718099"/>
                <a:gd name="connsiteX795" fmla="*/ 162517 w 768492"/>
                <a:gd name="connsiteY795" fmla="*/ 388025 h 718099"/>
                <a:gd name="connsiteX796" fmla="*/ 162517 w 768492"/>
                <a:gd name="connsiteY796" fmla="*/ 388025 h 718099"/>
                <a:gd name="connsiteX797" fmla="*/ 162517 w 768492"/>
                <a:gd name="connsiteY797" fmla="*/ 388025 h 718099"/>
                <a:gd name="connsiteX798" fmla="*/ 354010 w 768492"/>
                <a:gd name="connsiteY798" fmla="*/ 725658 h 718099"/>
                <a:gd name="connsiteX799" fmla="*/ 351491 w 768492"/>
                <a:gd name="connsiteY799" fmla="*/ 726918 h 718099"/>
                <a:gd name="connsiteX800" fmla="*/ 354010 w 768492"/>
                <a:gd name="connsiteY800" fmla="*/ 725658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</a:cxnLst>
              <a:rect l="l" t="t" r="r" b="b"/>
              <a:pathLst>
                <a:path w="768492" h="718099">
                  <a:moveTo>
                    <a:pt x="537945" y="16378"/>
                  </a:moveTo>
                  <a:cubicBezTo>
                    <a:pt x="537945" y="16378"/>
                    <a:pt x="537945" y="16378"/>
                    <a:pt x="537945" y="16378"/>
                  </a:cubicBez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2677"/>
                  </a:cubicBezTo>
                  <a:cubicBezTo>
                    <a:pt x="536685" y="20157"/>
                    <a:pt x="536685" y="18897"/>
                    <a:pt x="537945" y="16378"/>
                  </a:cubicBezTo>
                  <a:lnTo>
                    <a:pt x="537945" y="16378"/>
                  </a:ln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3937"/>
                  </a:cubicBezTo>
                  <a:cubicBezTo>
                    <a:pt x="536685" y="25196"/>
                    <a:pt x="536685" y="25196"/>
                    <a:pt x="536685" y="26456"/>
                  </a:cubicBezTo>
                  <a:cubicBezTo>
                    <a:pt x="536685" y="27716"/>
                    <a:pt x="535425" y="30236"/>
                    <a:pt x="535425" y="31496"/>
                  </a:cubicBezTo>
                  <a:cubicBezTo>
                    <a:pt x="534165" y="32755"/>
                    <a:pt x="534165" y="35275"/>
                    <a:pt x="531645" y="37795"/>
                  </a:cubicBezTo>
                  <a:cubicBezTo>
                    <a:pt x="530386" y="39054"/>
                    <a:pt x="529126" y="41574"/>
                    <a:pt x="526606" y="44094"/>
                  </a:cubicBezTo>
                  <a:cubicBezTo>
                    <a:pt x="524087" y="45354"/>
                    <a:pt x="522827" y="46613"/>
                    <a:pt x="519047" y="49133"/>
                  </a:cubicBezTo>
                  <a:cubicBezTo>
                    <a:pt x="514008" y="51653"/>
                    <a:pt x="510228" y="54172"/>
                    <a:pt x="505189" y="55432"/>
                  </a:cubicBezTo>
                  <a:cubicBezTo>
                    <a:pt x="502670" y="56692"/>
                    <a:pt x="500150" y="57952"/>
                    <a:pt x="496370" y="57952"/>
                  </a:cubicBezTo>
                  <a:cubicBezTo>
                    <a:pt x="492591" y="59212"/>
                    <a:pt x="490071" y="59212"/>
                    <a:pt x="487552" y="59212"/>
                  </a:cubicBezTo>
                  <a:cubicBezTo>
                    <a:pt x="487552" y="59212"/>
                    <a:pt x="486292" y="59212"/>
                    <a:pt x="486292" y="59212"/>
                  </a:cubicBezTo>
                  <a:cubicBezTo>
                    <a:pt x="482512" y="59212"/>
                    <a:pt x="479993" y="59212"/>
                    <a:pt x="476213" y="59212"/>
                  </a:cubicBezTo>
                  <a:cubicBezTo>
                    <a:pt x="472434" y="59212"/>
                    <a:pt x="469914" y="59212"/>
                    <a:pt x="466135" y="57952"/>
                  </a:cubicBezTo>
                  <a:cubicBezTo>
                    <a:pt x="458576" y="56692"/>
                    <a:pt x="452277" y="55432"/>
                    <a:pt x="447237" y="52913"/>
                  </a:cubicBezTo>
                  <a:cubicBezTo>
                    <a:pt x="444718" y="51653"/>
                    <a:pt x="442198" y="50393"/>
                    <a:pt x="440938" y="49133"/>
                  </a:cubicBezTo>
                  <a:lnTo>
                    <a:pt x="439678" y="47873"/>
                  </a:lnTo>
                  <a:cubicBezTo>
                    <a:pt x="435899" y="46613"/>
                    <a:pt x="433379" y="44094"/>
                    <a:pt x="430860" y="42834"/>
                  </a:cubicBezTo>
                  <a:cubicBezTo>
                    <a:pt x="425820" y="39054"/>
                    <a:pt x="420781" y="35275"/>
                    <a:pt x="417002" y="30236"/>
                  </a:cubicBezTo>
                  <a:cubicBezTo>
                    <a:pt x="414482" y="27716"/>
                    <a:pt x="413222" y="26456"/>
                    <a:pt x="411962" y="23937"/>
                  </a:cubicBezTo>
                  <a:cubicBezTo>
                    <a:pt x="410702" y="21417"/>
                    <a:pt x="409443" y="17637"/>
                    <a:pt x="408183" y="15118"/>
                  </a:cubicBezTo>
                  <a:cubicBezTo>
                    <a:pt x="408183" y="13858"/>
                    <a:pt x="406923" y="12598"/>
                    <a:pt x="406923" y="11338"/>
                  </a:cubicBezTo>
                  <a:lnTo>
                    <a:pt x="406923" y="10078"/>
                  </a:lnTo>
                  <a:cubicBezTo>
                    <a:pt x="406923" y="8819"/>
                    <a:pt x="405663" y="7559"/>
                    <a:pt x="406923" y="6299"/>
                  </a:cubicBezTo>
                  <a:cubicBezTo>
                    <a:pt x="406923" y="5039"/>
                    <a:pt x="406923" y="3779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cubicBezTo>
                    <a:pt x="406923" y="2520"/>
                    <a:pt x="406923" y="2520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cubicBezTo>
                    <a:pt x="405663" y="2520"/>
                    <a:pt x="404403" y="3779"/>
                    <a:pt x="403143" y="3779"/>
                  </a:cubicBezTo>
                  <a:lnTo>
                    <a:pt x="403143" y="3779"/>
                  </a:lnTo>
                  <a:lnTo>
                    <a:pt x="401884" y="3779"/>
                  </a:lnTo>
                  <a:cubicBezTo>
                    <a:pt x="400624" y="3779"/>
                    <a:pt x="400624" y="3779"/>
                    <a:pt x="399364" y="3779"/>
                  </a:cubicBezTo>
                  <a:cubicBezTo>
                    <a:pt x="395585" y="5039"/>
                    <a:pt x="391805" y="5039"/>
                    <a:pt x="388026" y="6299"/>
                  </a:cubicBezTo>
                  <a:cubicBezTo>
                    <a:pt x="386766" y="6299"/>
                    <a:pt x="385506" y="7559"/>
                    <a:pt x="382986" y="7559"/>
                  </a:cubicBezTo>
                  <a:lnTo>
                    <a:pt x="381726" y="7559"/>
                  </a:lnTo>
                  <a:lnTo>
                    <a:pt x="380467" y="7559"/>
                  </a:lnTo>
                  <a:lnTo>
                    <a:pt x="379207" y="7559"/>
                  </a:lnTo>
                  <a:cubicBezTo>
                    <a:pt x="376687" y="7559"/>
                    <a:pt x="374167" y="7559"/>
                    <a:pt x="371648" y="8819"/>
                  </a:cubicBezTo>
                  <a:cubicBezTo>
                    <a:pt x="370388" y="8819"/>
                    <a:pt x="369128" y="8819"/>
                    <a:pt x="367868" y="8819"/>
                  </a:cubicBezTo>
                  <a:cubicBezTo>
                    <a:pt x="362829" y="8819"/>
                    <a:pt x="359050" y="10078"/>
                    <a:pt x="354010" y="11338"/>
                  </a:cubicBezTo>
                  <a:cubicBezTo>
                    <a:pt x="350231" y="12598"/>
                    <a:pt x="345192" y="13858"/>
                    <a:pt x="340152" y="15118"/>
                  </a:cubicBezTo>
                  <a:cubicBezTo>
                    <a:pt x="338893" y="15118"/>
                    <a:pt x="338893" y="15118"/>
                    <a:pt x="337633" y="15118"/>
                  </a:cubicBezTo>
                  <a:cubicBezTo>
                    <a:pt x="333853" y="15118"/>
                    <a:pt x="330074" y="16378"/>
                    <a:pt x="326294" y="17637"/>
                  </a:cubicBezTo>
                  <a:cubicBezTo>
                    <a:pt x="318735" y="20157"/>
                    <a:pt x="311176" y="22677"/>
                    <a:pt x="302358" y="26456"/>
                  </a:cubicBezTo>
                  <a:cubicBezTo>
                    <a:pt x="298578" y="27716"/>
                    <a:pt x="293539" y="30236"/>
                    <a:pt x="289759" y="32755"/>
                  </a:cubicBezTo>
                  <a:lnTo>
                    <a:pt x="289759" y="32755"/>
                  </a:lnTo>
                  <a:cubicBezTo>
                    <a:pt x="287240" y="34015"/>
                    <a:pt x="284720" y="35275"/>
                    <a:pt x="282201" y="36535"/>
                  </a:cubicBezTo>
                  <a:cubicBezTo>
                    <a:pt x="274642" y="40314"/>
                    <a:pt x="267083" y="44094"/>
                    <a:pt x="262043" y="46613"/>
                  </a:cubicBezTo>
                  <a:cubicBezTo>
                    <a:pt x="257004" y="49133"/>
                    <a:pt x="254484" y="51653"/>
                    <a:pt x="250705" y="54172"/>
                  </a:cubicBezTo>
                  <a:cubicBezTo>
                    <a:pt x="248185" y="56692"/>
                    <a:pt x="244406" y="59212"/>
                    <a:pt x="241886" y="61731"/>
                  </a:cubicBezTo>
                  <a:cubicBezTo>
                    <a:pt x="236847" y="66770"/>
                    <a:pt x="231808" y="71810"/>
                    <a:pt x="225508" y="76849"/>
                  </a:cubicBezTo>
                  <a:cubicBezTo>
                    <a:pt x="224249" y="79369"/>
                    <a:pt x="221729" y="80629"/>
                    <a:pt x="220469" y="83148"/>
                  </a:cubicBezTo>
                  <a:cubicBezTo>
                    <a:pt x="217949" y="85668"/>
                    <a:pt x="215430" y="86928"/>
                    <a:pt x="212910" y="88188"/>
                  </a:cubicBezTo>
                  <a:cubicBezTo>
                    <a:pt x="210391" y="90707"/>
                    <a:pt x="207871" y="93227"/>
                    <a:pt x="204091" y="95746"/>
                  </a:cubicBezTo>
                  <a:cubicBezTo>
                    <a:pt x="201572" y="98266"/>
                    <a:pt x="200312" y="99526"/>
                    <a:pt x="197792" y="103305"/>
                  </a:cubicBezTo>
                  <a:cubicBezTo>
                    <a:pt x="192753" y="108345"/>
                    <a:pt x="187714" y="113384"/>
                    <a:pt x="183934" y="117163"/>
                  </a:cubicBezTo>
                  <a:cubicBezTo>
                    <a:pt x="182674" y="118423"/>
                    <a:pt x="181415" y="120943"/>
                    <a:pt x="178895" y="122203"/>
                  </a:cubicBezTo>
                  <a:lnTo>
                    <a:pt x="177635" y="123463"/>
                  </a:lnTo>
                  <a:lnTo>
                    <a:pt x="176375" y="124722"/>
                  </a:lnTo>
                  <a:cubicBezTo>
                    <a:pt x="173856" y="127242"/>
                    <a:pt x="171336" y="131022"/>
                    <a:pt x="167557" y="133541"/>
                  </a:cubicBezTo>
                  <a:cubicBezTo>
                    <a:pt x="163777" y="137321"/>
                    <a:pt x="158738" y="141100"/>
                    <a:pt x="154958" y="146139"/>
                  </a:cubicBezTo>
                  <a:cubicBezTo>
                    <a:pt x="153699" y="147399"/>
                    <a:pt x="152439" y="148659"/>
                    <a:pt x="151179" y="149919"/>
                  </a:cubicBezTo>
                  <a:cubicBezTo>
                    <a:pt x="147399" y="153698"/>
                    <a:pt x="144880" y="156218"/>
                    <a:pt x="141100" y="159998"/>
                  </a:cubicBezTo>
                  <a:cubicBezTo>
                    <a:pt x="139840" y="162517"/>
                    <a:pt x="137321" y="163777"/>
                    <a:pt x="136061" y="165037"/>
                  </a:cubicBezTo>
                  <a:cubicBezTo>
                    <a:pt x="132281" y="168816"/>
                    <a:pt x="128502" y="173855"/>
                    <a:pt x="124723" y="177635"/>
                  </a:cubicBezTo>
                  <a:lnTo>
                    <a:pt x="120943" y="181414"/>
                  </a:lnTo>
                  <a:cubicBezTo>
                    <a:pt x="119683" y="182674"/>
                    <a:pt x="117164" y="185194"/>
                    <a:pt x="115904" y="186454"/>
                  </a:cubicBezTo>
                  <a:lnTo>
                    <a:pt x="115904" y="186454"/>
                  </a:lnTo>
                  <a:cubicBezTo>
                    <a:pt x="112124" y="190233"/>
                    <a:pt x="108345" y="194013"/>
                    <a:pt x="105825" y="197792"/>
                  </a:cubicBezTo>
                  <a:cubicBezTo>
                    <a:pt x="102046" y="202831"/>
                    <a:pt x="98266" y="207871"/>
                    <a:pt x="94487" y="212910"/>
                  </a:cubicBezTo>
                  <a:lnTo>
                    <a:pt x="93227" y="214170"/>
                  </a:lnTo>
                  <a:cubicBezTo>
                    <a:pt x="91967" y="215430"/>
                    <a:pt x="91967" y="215430"/>
                    <a:pt x="90707" y="216690"/>
                  </a:cubicBezTo>
                  <a:cubicBezTo>
                    <a:pt x="86928" y="221729"/>
                    <a:pt x="81889" y="228028"/>
                    <a:pt x="78109" y="234327"/>
                  </a:cubicBezTo>
                  <a:lnTo>
                    <a:pt x="76849" y="235587"/>
                  </a:lnTo>
                  <a:cubicBezTo>
                    <a:pt x="74330" y="238107"/>
                    <a:pt x="73070" y="240626"/>
                    <a:pt x="70550" y="244406"/>
                  </a:cubicBezTo>
                  <a:cubicBezTo>
                    <a:pt x="69290" y="245666"/>
                    <a:pt x="68030" y="248185"/>
                    <a:pt x="66771" y="249445"/>
                  </a:cubicBezTo>
                  <a:lnTo>
                    <a:pt x="66771" y="249445"/>
                  </a:lnTo>
                  <a:cubicBezTo>
                    <a:pt x="65511" y="250705"/>
                    <a:pt x="64251" y="251965"/>
                    <a:pt x="64251" y="253224"/>
                  </a:cubicBezTo>
                  <a:cubicBezTo>
                    <a:pt x="60472" y="258264"/>
                    <a:pt x="56692" y="264563"/>
                    <a:pt x="51653" y="270862"/>
                  </a:cubicBezTo>
                  <a:cubicBezTo>
                    <a:pt x="45354" y="280940"/>
                    <a:pt x="37795" y="291019"/>
                    <a:pt x="31496" y="301098"/>
                  </a:cubicBezTo>
                  <a:lnTo>
                    <a:pt x="27716" y="307397"/>
                  </a:lnTo>
                  <a:cubicBezTo>
                    <a:pt x="26456" y="308657"/>
                    <a:pt x="26456" y="309916"/>
                    <a:pt x="25196" y="311176"/>
                  </a:cubicBezTo>
                  <a:cubicBezTo>
                    <a:pt x="22677" y="314956"/>
                    <a:pt x="20157" y="319995"/>
                    <a:pt x="17638" y="325034"/>
                  </a:cubicBezTo>
                  <a:lnTo>
                    <a:pt x="16378" y="327554"/>
                  </a:lnTo>
                  <a:lnTo>
                    <a:pt x="16378" y="327554"/>
                  </a:lnTo>
                  <a:cubicBezTo>
                    <a:pt x="15118" y="328814"/>
                    <a:pt x="13858" y="331333"/>
                    <a:pt x="13858" y="332593"/>
                  </a:cubicBezTo>
                  <a:cubicBezTo>
                    <a:pt x="12598" y="335113"/>
                    <a:pt x="11338" y="338892"/>
                    <a:pt x="10079" y="342672"/>
                  </a:cubicBezTo>
                  <a:lnTo>
                    <a:pt x="10079" y="342672"/>
                  </a:lnTo>
                  <a:cubicBezTo>
                    <a:pt x="8819" y="346451"/>
                    <a:pt x="7559" y="348971"/>
                    <a:pt x="6299" y="351491"/>
                  </a:cubicBezTo>
                  <a:cubicBezTo>
                    <a:pt x="5039" y="355270"/>
                    <a:pt x="3780" y="357790"/>
                    <a:pt x="3780" y="360309"/>
                  </a:cubicBezTo>
                  <a:cubicBezTo>
                    <a:pt x="2520" y="367868"/>
                    <a:pt x="1260" y="374167"/>
                    <a:pt x="0" y="381726"/>
                  </a:cubicBezTo>
                  <a:cubicBezTo>
                    <a:pt x="0" y="389285"/>
                    <a:pt x="1260" y="395584"/>
                    <a:pt x="1260" y="401884"/>
                  </a:cubicBezTo>
                  <a:cubicBezTo>
                    <a:pt x="1260" y="405663"/>
                    <a:pt x="2520" y="409443"/>
                    <a:pt x="3780" y="413222"/>
                  </a:cubicBezTo>
                  <a:cubicBezTo>
                    <a:pt x="5039" y="417001"/>
                    <a:pt x="6299" y="419521"/>
                    <a:pt x="8819" y="423301"/>
                  </a:cubicBezTo>
                  <a:cubicBezTo>
                    <a:pt x="8819" y="424560"/>
                    <a:pt x="10079" y="424560"/>
                    <a:pt x="11338" y="425820"/>
                  </a:cubicBez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1338" y="425820"/>
                    <a:pt x="11338" y="425820"/>
                    <a:pt x="11338" y="425820"/>
                  </a:cubicBezTo>
                  <a:lnTo>
                    <a:pt x="11338" y="425820"/>
                  </a:ln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0079" y="418261"/>
                    <a:pt x="10079" y="411962"/>
                    <a:pt x="10079" y="406923"/>
                  </a:cubicBezTo>
                  <a:cubicBezTo>
                    <a:pt x="10079" y="401884"/>
                    <a:pt x="10079" y="394325"/>
                    <a:pt x="11338" y="388025"/>
                  </a:cubicBezTo>
                  <a:cubicBezTo>
                    <a:pt x="11338" y="385506"/>
                    <a:pt x="12598" y="382986"/>
                    <a:pt x="13858" y="380467"/>
                  </a:cubicBezTo>
                  <a:lnTo>
                    <a:pt x="13858" y="380467"/>
                  </a:lnTo>
                  <a:cubicBezTo>
                    <a:pt x="15118" y="376687"/>
                    <a:pt x="16378" y="374167"/>
                    <a:pt x="17638" y="370388"/>
                  </a:cubicBezTo>
                  <a:cubicBezTo>
                    <a:pt x="18897" y="366608"/>
                    <a:pt x="21417" y="362829"/>
                    <a:pt x="23937" y="359050"/>
                  </a:cubicBezTo>
                  <a:cubicBezTo>
                    <a:pt x="25196" y="357790"/>
                    <a:pt x="26456" y="356530"/>
                    <a:pt x="27716" y="355270"/>
                  </a:cubicBezTo>
                  <a:cubicBezTo>
                    <a:pt x="28976" y="355270"/>
                    <a:pt x="28976" y="354010"/>
                    <a:pt x="30236" y="354010"/>
                  </a:cubicBezTo>
                  <a:cubicBezTo>
                    <a:pt x="30236" y="354010"/>
                    <a:pt x="31496" y="354010"/>
                    <a:pt x="31496" y="352751"/>
                  </a:cubicBezTo>
                  <a:cubicBezTo>
                    <a:pt x="32755" y="352751"/>
                    <a:pt x="34015" y="351491"/>
                    <a:pt x="35275" y="351491"/>
                  </a:cubicBezTo>
                  <a:lnTo>
                    <a:pt x="36535" y="350231"/>
                  </a:lnTo>
                  <a:cubicBezTo>
                    <a:pt x="39055" y="348971"/>
                    <a:pt x="42834" y="347711"/>
                    <a:pt x="45354" y="346451"/>
                  </a:cubicBezTo>
                  <a:cubicBezTo>
                    <a:pt x="47873" y="345192"/>
                    <a:pt x="49133" y="345192"/>
                    <a:pt x="51653" y="345192"/>
                  </a:cubicBezTo>
                  <a:cubicBezTo>
                    <a:pt x="51653" y="345192"/>
                    <a:pt x="51653" y="345192"/>
                    <a:pt x="52913" y="345192"/>
                  </a:cubicBezTo>
                  <a:cubicBezTo>
                    <a:pt x="56692" y="345192"/>
                    <a:pt x="61731" y="345192"/>
                    <a:pt x="65511" y="345192"/>
                  </a:cubicBezTo>
                  <a:cubicBezTo>
                    <a:pt x="70550" y="345192"/>
                    <a:pt x="75589" y="346451"/>
                    <a:pt x="79369" y="346451"/>
                  </a:cubicBezTo>
                  <a:cubicBezTo>
                    <a:pt x="86928" y="347711"/>
                    <a:pt x="94487" y="350231"/>
                    <a:pt x="102046" y="352751"/>
                  </a:cubicBezTo>
                  <a:cubicBezTo>
                    <a:pt x="107085" y="355270"/>
                    <a:pt x="112124" y="356530"/>
                    <a:pt x="115904" y="359050"/>
                  </a:cubicBezTo>
                  <a:cubicBezTo>
                    <a:pt x="117164" y="360309"/>
                    <a:pt x="118423" y="360309"/>
                    <a:pt x="119683" y="361569"/>
                  </a:cubicBezTo>
                  <a:cubicBezTo>
                    <a:pt x="119683" y="361569"/>
                    <a:pt x="119683" y="361569"/>
                    <a:pt x="119683" y="361569"/>
                  </a:cubicBezTo>
                  <a:cubicBezTo>
                    <a:pt x="122203" y="362829"/>
                    <a:pt x="123463" y="364089"/>
                    <a:pt x="125982" y="365349"/>
                  </a:cubicBezTo>
                  <a:cubicBezTo>
                    <a:pt x="127242" y="365349"/>
                    <a:pt x="12850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32281" y="367868"/>
                    <a:pt x="134801" y="369128"/>
                    <a:pt x="138581" y="371648"/>
                  </a:cubicBezTo>
                  <a:cubicBezTo>
                    <a:pt x="139840" y="372908"/>
                    <a:pt x="142360" y="374167"/>
                    <a:pt x="143620" y="375427"/>
                  </a:cubicBezTo>
                  <a:cubicBezTo>
                    <a:pt x="144880" y="376687"/>
                    <a:pt x="147399" y="377947"/>
                    <a:pt x="148659" y="379207"/>
                  </a:cubicBezTo>
                  <a:cubicBezTo>
                    <a:pt x="153699" y="382986"/>
                    <a:pt x="157478" y="385506"/>
                    <a:pt x="161257" y="388025"/>
                  </a:cubicBez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2517" y="388025"/>
                  </a:lnTo>
                  <a:cubicBezTo>
                    <a:pt x="163777" y="389285"/>
                    <a:pt x="165037" y="389285"/>
                    <a:pt x="166297" y="390545"/>
                  </a:cubicBezTo>
                  <a:cubicBezTo>
                    <a:pt x="165037" y="389285"/>
                    <a:pt x="163777" y="389285"/>
                    <a:pt x="162517" y="388025"/>
                  </a:cubicBezTo>
                  <a:cubicBezTo>
                    <a:pt x="163777" y="389285"/>
                    <a:pt x="165037" y="389285"/>
                    <a:pt x="166297" y="390545"/>
                  </a:cubicBez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7557" y="388025"/>
                  </a:lnTo>
                  <a:lnTo>
                    <a:pt x="168816" y="386766"/>
                  </a:lnTo>
                  <a:cubicBezTo>
                    <a:pt x="170076" y="384246"/>
                    <a:pt x="171336" y="382986"/>
                    <a:pt x="173856" y="380467"/>
                  </a:cubicBezTo>
                  <a:cubicBezTo>
                    <a:pt x="178895" y="374167"/>
                    <a:pt x="182674" y="369128"/>
                    <a:pt x="186454" y="362829"/>
                  </a:cubicBezTo>
                  <a:cubicBezTo>
                    <a:pt x="190233" y="357790"/>
                    <a:pt x="194013" y="352751"/>
                    <a:pt x="196533" y="347711"/>
                  </a:cubicBezTo>
                  <a:lnTo>
                    <a:pt x="196533" y="346451"/>
                  </a:lnTo>
                  <a:cubicBezTo>
                    <a:pt x="201572" y="340152"/>
                    <a:pt x="206611" y="332593"/>
                    <a:pt x="210391" y="326294"/>
                  </a:cubicBezTo>
                  <a:cubicBezTo>
                    <a:pt x="212910" y="322515"/>
                    <a:pt x="216690" y="317475"/>
                    <a:pt x="219209" y="313696"/>
                  </a:cubicBezTo>
                  <a:lnTo>
                    <a:pt x="219209" y="313696"/>
                  </a:lnTo>
                  <a:lnTo>
                    <a:pt x="220469" y="312436"/>
                  </a:lnTo>
                  <a:cubicBezTo>
                    <a:pt x="221729" y="311176"/>
                    <a:pt x="222989" y="309916"/>
                    <a:pt x="222989" y="308657"/>
                  </a:cubicBezTo>
                  <a:lnTo>
                    <a:pt x="222989" y="307397"/>
                  </a:lnTo>
                  <a:cubicBezTo>
                    <a:pt x="224249" y="304877"/>
                    <a:pt x="226768" y="302358"/>
                    <a:pt x="228028" y="299838"/>
                  </a:cubicBezTo>
                  <a:cubicBezTo>
                    <a:pt x="230548" y="297318"/>
                    <a:pt x="233067" y="293539"/>
                    <a:pt x="235587" y="291019"/>
                  </a:cubicBezTo>
                  <a:cubicBezTo>
                    <a:pt x="236847" y="288499"/>
                    <a:pt x="239366" y="287240"/>
                    <a:pt x="240626" y="284720"/>
                  </a:cubicBezTo>
                  <a:cubicBezTo>
                    <a:pt x="243146" y="280940"/>
                    <a:pt x="245666" y="278421"/>
                    <a:pt x="248185" y="275901"/>
                  </a:cubicBezTo>
                  <a:cubicBezTo>
                    <a:pt x="250705" y="273382"/>
                    <a:pt x="253225" y="269602"/>
                    <a:pt x="255744" y="265823"/>
                  </a:cubicBezTo>
                  <a:cubicBezTo>
                    <a:pt x="255744" y="26582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3303"/>
                    <a:pt x="258264" y="263303"/>
                    <a:pt x="258264" y="262043"/>
                  </a:cubicBezTo>
                  <a:cubicBezTo>
                    <a:pt x="259524" y="260783"/>
                    <a:pt x="259524" y="259523"/>
                    <a:pt x="260783" y="259523"/>
                  </a:cubicBezTo>
                  <a:cubicBezTo>
                    <a:pt x="260783" y="259523"/>
                    <a:pt x="260783" y="259523"/>
                    <a:pt x="260783" y="259523"/>
                  </a:cubicBezTo>
                  <a:cubicBezTo>
                    <a:pt x="260783" y="259523"/>
                    <a:pt x="262043" y="258264"/>
                    <a:pt x="262043" y="258264"/>
                  </a:cubicBezTo>
                  <a:cubicBezTo>
                    <a:pt x="262043" y="258264"/>
                    <a:pt x="262043" y="258264"/>
                    <a:pt x="262043" y="258264"/>
                  </a:cubicBezTo>
                  <a:cubicBezTo>
                    <a:pt x="263303" y="257004"/>
                    <a:pt x="263303" y="257004"/>
                    <a:pt x="264563" y="255744"/>
                  </a:cubicBezTo>
                  <a:lnTo>
                    <a:pt x="264563" y="255744"/>
                  </a:lnTo>
                  <a:lnTo>
                    <a:pt x="264563" y="255744"/>
                  </a:lnTo>
                  <a:lnTo>
                    <a:pt x="264563" y="254484"/>
                  </a:lnTo>
                  <a:lnTo>
                    <a:pt x="265823" y="253224"/>
                  </a:lnTo>
                  <a:cubicBezTo>
                    <a:pt x="265823" y="253224"/>
                    <a:pt x="267083" y="251965"/>
                    <a:pt x="267083" y="251965"/>
                  </a:cubicBezTo>
                  <a:cubicBezTo>
                    <a:pt x="267083" y="250705"/>
                    <a:pt x="268342" y="250705"/>
                    <a:pt x="268342" y="250705"/>
                  </a:cubicBezTo>
                  <a:cubicBezTo>
                    <a:pt x="268342" y="250705"/>
                    <a:pt x="269602" y="249445"/>
                    <a:pt x="269602" y="249445"/>
                  </a:cubicBezTo>
                  <a:cubicBezTo>
                    <a:pt x="269602" y="248185"/>
                    <a:pt x="270862" y="248185"/>
                    <a:pt x="270862" y="246925"/>
                  </a:cubicBezTo>
                  <a:lnTo>
                    <a:pt x="270862" y="245666"/>
                  </a:lnTo>
                  <a:lnTo>
                    <a:pt x="272122" y="244406"/>
                  </a:lnTo>
                  <a:lnTo>
                    <a:pt x="273382" y="243146"/>
                  </a:lnTo>
                  <a:cubicBezTo>
                    <a:pt x="274642" y="241886"/>
                    <a:pt x="275901" y="240626"/>
                    <a:pt x="275901" y="239366"/>
                  </a:cubicBezTo>
                  <a:cubicBezTo>
                    <a:pt x="275901" y="239366"/>
                    <a:pt x="277161" y="238107"/>
                    <a:pt x="277161" y="238107"/>
                  </a:cubicBezTo>
                  <a:lnTo>
                    <a:pt x="278421" y="236847"/>
                  </a:lnTo>
                  <a:lnTo>
                    <a:pt x="278421" y="236847"/>
                  </a:lnTo>
                  <a:cubicBezTo>
                    <a:pt x="278421" y="236847"/>
                    <a:pt x="278421" y="236847"/>
                    <a:pt x="279681" y="235587"/>
                  </a:cubicBezTo>
                  <a:cubicBezTo>
                    <a:pt x="280941" y="235587"/>
                    <a:pt x="280941" y="234327"/>
                    <a:pt x="282201" y="234327"/>
                  </a:cubicBezTo>
                  <a:cubicBezTo>
                    <a:pt x="283460" y="233067"/>
                    <a:pt x="283460" y="233067"/>
                    <a:pt x="284720" y="231807"/>
                  </a:cubicBezTo>
                  <a:cubicBezTo>
                    <a:pt x="284720" y="231807"/>
                    <a:pt x="284720" y="231807"/>
                    <a:pt x="284720" y="231807"/>
                  </a:cubicBezTo>
                  <a:lnTo>
                    <a:pt x="285980" y="230548"/>
                  </a:lnTo>
                  <a:cubicBezTo>
                    <a:pt x="287240" y="229288"/>
                    <a:pt x="287240" y="229288"/>
                    <a:pt x="288500" y="228028"/>
                  </a:cubicBezTo>
                  <a:cubicBezTo>
                    <a:pt x="289759" y="226768"/>
                    <a:pt x="289759" y="226768"/>
                    <a:pt x="291019" y="225508"/>
                  </a:cubicBez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cubicBezTo>
                    <a:pt x="291019" y="225508"/>
                    <a:pt x="292279" y="224248"/>
                    <a:pt x="292279" y="224248"/>
                  </a:cubicBezTo>
                  <a:cubicBezTo>
                    <a:pt x="292279" y="224248"/>
                    <a:pt x="293539" y="222989"/>
                    <a:pt x="293539" y="222989"/>
                  </a:cubicBezTo>
                  <a:cubicBezTo>
                    <a:pt x="293539" y="222989"/>
                    <a:pt x="293539" y="222989"/>
                    <a:pt x="293539" y="222989"/>
                  </a:cubicBezTo>
                  <a:cubicBezTo>
                    <a:pt x="294799" y="221729"/>
                    <a:pt x="296058" y="221729"/>
                    <a:pt x="296058" y="220469"/>
                  </a:cubicBezTo>
                  <a:lnTo>
                    <a:pt x="296058" y="220469"/>
                  </a:lnTo>
                  <a:cubicBezTo>
                    <a:pt x="297318" y="220469"/>
                    <a:pt x="297318" y="219209"/>
                    <a:pt x="298578" y="219209"/>
                  </a:cubicBezTo>
                  <a:lnTo>
                    <a:pt x="298578" y="219209"/>
                  </a:lnTo>
                  <a:cubicBezTo>
                    <a:pt x="298578" y="219209"/>
                    <a:pt x="298578" y="219209"/>
                    <a:pt x="298578" y="219209"/>
                  </a:cubicBezTo>
                  <a:cubicBezTo>
                    <a:pt x="298578" y="219209"/>
                    <a:pt x="29857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lnTo>
                    <a:pt x="299838" y="217949"/>
                  </a:ln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301098" y="217949"/>
                    <a:pt x="301098" y="217949"/>
                  </a:cubicBezTo>
                  <a:lnTo>
                    <a:pt x="301098" y="217949"/>
                  </a:lnTo>
                  <a:lnTo>
                    <a:pt x="301098" y="217949"/>
                  </a:lnTo>
                  <a:lnTo>
                    <a:pt x="301098" y="217949"/>
                  </a:lnTo>
                  <a:cubicBezTo>
                    <a:pt x="301098" y="217949"/>
                    <a:pt x="301098" y="217949"/>
                    <a:pt x="301098" y="217949"/>
                  </a:cubicBezTo>
                  <a:cubicBezTo>
                    <a:pt x="301098" y="217949"/>
                    <a:pt x="301098" y="219209"/>
                    <a:pt x="301098" y="219209"/>
                  </a:cubicBezTo>
                  <a:lnTo>
                    <a:pt x="301098" y="219209"/>
                  </a:lnTo>
                  <a:cubicBezTo>
                    <a:pt x="301098" y="219209"/>
                    <a:pt x="301098" y="219209"/>
                    <a:pt x="301098" y="219209"/>
                  </a:cubicBezTo>
                  <a:cubicBezTo>
                    <a:pt x="301098" y="219209"/>
                    <a:pt x="301098" y="220469"/>
                    <a:pt x="301098" y="220469"/>
                  </a:cubicBezTo>
                  <a:lnTo>
                    <a:pt x="301098" y="220469"/>
                  </a:lnTo>
                  <a:cubicBezTo>
                    <a:pt x="301098" y="221729"/>
                    <a:pt x="301098" y="221729"/>
                    <a:pt x="301098" y="222989"/>
                  </a:cubicBezTo>
                  <a:cubicBezTo>
                    <a:pt x="301098" y="224248"/>
                    <a:pt x="301098" y="225508"/>
                    <a:pt x="301098" y="225508"/>
                  </a:cubicBezTo>
                  <a:lnTo>
                    <a:pt x="301098" y="226768"/>
                  </a:lnTo>
                  <a:lnTo>
                    <a:pt x="301098" y="228028"/>
                  </a:lnTo>
                  <a:cubicBezTo>
                    <a:pt x="301098" y="229288"/>
                    <a:pt x="301098" y="230548"/>
                    <a:pt x="301098" y="231807"/>
                  </a:cubicBezTo>
                  <a:lnTo>
                    <a:pt x="301098" y="234327"/>
                  </a:lnTo>
                  <a:lnTo>
                    <a:pt x="301098" y="235587"/>
                  </a:lnTo>
                  <a:cubicBezTo>
                    <a:pt x="301098" y="236847"/>
                    <a:pt x="301098" y="238107"/>
                    <a:pt x="299838" y="239366"/>
                  </a:cubicBezTo>
                  <a:lnTo>
                    <a:pt x="299838" y="240626"/>
                  </a:lnTo>
                  <a:cubicBezTo>
                    <a:pt x="299838" y="241886"/>
                    <a:pt x="299838" y="241886"/>
                    <a:pt x="299838" y="243146"/>
                  </a:cubicBezTo>
                  <a:cubicBezTo>
                    <a:pt x="299838" y="243146"/>
                    <a:pt x="299838" y="243146"/>
                    <a:pt x="299838" y="243146"/>
                  </a:cubicBezTo>
                  <a:lnTo>
                    <a:pt x="299838" y="243146"/>
                  </a:lnTo>
                  <a:lnTo>
                    <a:pt x="299838" y="244406"/>
                  </a:lnTo>
                  <a:lnTo>
                    <a:pt x="299838" y="244406"/>
                  </a:lnTo>
                  <a:lnTo>
                    <a:pt x="299838" y="245666"/>
                  </a:lnTo>
                  <a:lnTo>
                    <a:pt x="299838" y="246925"/>
                  </a:lnTo>
                  <a:cubicBezTo>
                    <a:pt x="299838" y="246925"/>
                    <a:pt x="299838" y="248185"/>
                    <a:pt x="299838" y="248185"/>
                  </a:cubicBezTo>
                  <a:cubicBezTo>
                    <a:pt x="299838" y="249445"/>
                    <a:pt x="299838" y="250705"/>
                    <a:pt x="298578" y="250705"/>
                  </a:cubicBezTo>
                  <a:lnTo>
                    <a:pt x="298578" y="251965"/>
                  </a:lnTo>
                  <a:cubicBezTo>
                    <a:pt x="298578" y="251965"/>
                    <a:pt x="298578" y="251965"/>
                    <a:pt x="298578" y="251965"/>
                  </a:cubicBezTo>
                  <a:cubicBezTo>
                    <a:pt x="298578" y="253224"/>
                    <a:pt x="298578" y="254484"/>
                    <a:pt x="297318" y="254484"/>
                  </a:cubicBezTo>
                  <a:lnTo>
                    <a:pt x="297318" y="257004"/>
                  </a:lnTo>
                  <a:cubicBezTo>
                    <a:pt x="296058" y="260783"/>
                    <a:pt x="294799" y="264563"/>
                    <a:pt x="294799" y="268342"/>
                  </a:cubicBezTo>
                  <a:cubicBezTo>
                    <a:pt x="294799" y="269602"/>
                    <a:pt x="293539" y="270862"/>
                    <a:pt x="293539" y="272122"/>
                  </a:cubicBezTo>
                  <a:lnTo>
                    <a:pt x="293539" y="273382"/>
                  </a:lnTo>
                  <a:cubicBezTo>
                    <a:pt x="293539" y="274641"/>
                    <a:pt x="292279" y="275901"/>
                    <a:pt x="292279" y="277161"/>
                  </a:cubicBezTo>
                  <a:cubicBezTo>
                    <a:pt x="292279" y="278421"/>
                    <a:pt x="292279" y="278421"/>
                    <a:pt x="292279" y="279681"/>
                  </a:cubicBezTo>
                  <a:cubicBezTo>
                    <a:pt x="292279" y="280940"/>
                    <a:pt x="292279" y="280940"/>
                    <a:pt x="292279" y="282200"/>
                  </a:cubicBezTo>
                  <a:cubicBezTo>
                    <a:pt x="292279" y="283460"/>
                    <a:pt x="292279" y="283460"/>
                    <a:pt x="291019" y="284720"/>
                  </a:cubicBezTo>
                  <a:lnTo>
                    <a:pt x="291019" y="285980"/>
                  </a:lnTo>
                  <a:lnTo>
                    <a:pt x="291019" y="287240"/>
                  </a:lnTo>
                  <a:lnTo>
                    <a:pt x="289759" y="291019"/>
                  </a:lnTo>
                  <a:cubicBezTo>
                    <a:pt x="289759" y="291019"/>
                    <a:pt x="289759" y="291019"/>
                    <a:pt x="289759" y="291019"/>
                  </a:cubicBezTo>
                  <a:cubicBezTo>
                    <a:pt x="289759" y="291019"/>
                    <a:pt x="289759" y="292279"/>
                    <a:pt x="289759" y="292279"/>
                  </a:cubicBezTo>
                  <a:cubicBezTo>
                    <a:pt x="289759" y="292279"/>
                    <a:pt x="289759" y="293539"/>
                    <a:pt x="289759" y="293539"/>
                  </a:cubicBezTo>
                  <a:cubicBezTo>
                    <a:pt x="289759" y="294799"/>
                    <a:pt x="289759" y="296058"/>
                    <a:pt x="289759" y="297318"/>
                  </a:cubicBezTo>
                  <a:cubicBezTo>
                    <a:pt x="289759" y="299838"/>
                    <a:pt x="289759" y="301098"/>
                    <a:pt x="288500" y="303617"/>
                  </a:cubicBezTo>
                  <a:lnTo>
                    <a:pt x="288500" y="304877"/>
                  </a:lnTo>
                  <a:cubicBezTo>
                    <a:pt x="287240" y="309916"/>
                    <a:pt x="285980" y="314956"/>
                    <a:pt x="285980" y="319995"/>
                  </a:cubicBezTo>
                  <a:cubicBezTo>
                    <a:pt x="285980" y="322515"/>
                    <a:pt x="284720" y="326294"/>
                    <a:pt x="284720" y="330074"/>
                  </a:cubicBezTo>
                  <a:cubicBezTo>
                    <a:pt x="284720" y="331333"/>
                    <a:pt x="284720" y="333853"/>
                    <a:pt x="283460" y="335113"/>
                  </a:cubicBezTo>
                  <a:cubicBezTo>
                    <a:pt x="283460" y="335113"/>
                    <a:pt x="283460" y="335113"/>
                    <a:pt x="283460" y="335113"/>
                  </a:cubicBezTo>
                  <a:lnTo>
                    <a:pt x="283460" y="335113"/>
                  </a:lnTo>
                  <a:lnTo>
                    <a:pt x="283460" y="336373"/>
                  </a:lnTo>
                  <a:lnTo>
                    <a:pt x="283460" y="337633"/>
                  </a:lnTo>
                  <a:lnTo>
                    <a:pt x="283460" y="337633"/>
                  </a:lnTo>
                  <a:cubicBezTo>
                    <a:pt x="283460" y="337633"/>
                    <a:pt x="283460" y="337633"/>
                    <a:pt x="283460" y="337633"/>
                  </a:cubicBezTo>
                  <a:cubicBezTo>
                    <a:pt x="283460" y="338892"/>
                    <a:pt x="283460" y="338892"/>
                    <a:pt x="283460" y="340152"/>
                  </a:cubicBezTo>
                  <a:cubicBezTo>
                    <a:pt x="283460" y="341412"/>
                    <a:pt x="283460" y="343932"/>
                    <a:pt x="282201" y="345192"/>
                  </a:cubicBezTo>
                  <a:lnTo>
                    <a:pt x="282201" y="346451"/>
                  </a:lnTo>
                  <a:cubicBezTo>
                    <a:pt x="282201" y="347711"/>
                    <a:pt x="282201" y="350231"/>
                    <a:pt x="280941" y="351491"/>
                  </a:cubicBezTo>
                  <a:cubicBezTo>
                    <a:pt x="280941" y="355270"/>
                    <a:pt x="279681" y="357790"/>
                    <a:pt x="279681" y="361569"/>
                  </a:cubicBezTo>
                  <a:cubicBezTo>
                    <a:pt x="279681" y="364089"/>
                    <a:pt x="278421" y="367868"/>
                    <a:pt x="278421" y="372908"/>
                  </a:cubicBez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cubicBezTo>
                    <a:pt x="277161" y="377947"/>
                    <a:pt x="277161" y="377947"/>
                    <a:pt x="277161" y="379207"/>
                  </a:cubicBezTo>
                  <a:cubicBezTo>
                    <a:pt x="277161" y="380467"/>
                    <a:pt x="277161" y="380467"/>
                    <a:pt x="277161" y="381726"/>
                  </a:cubicBezTo>
                  <a:cubicBezTo>
                    <a:pt x="277161" y="381726"/>
                    <a:pt x="277161" y="382986"/>
                    <a:pt x="277161" y="382986"/>
                  </a:cubicBezTo>
                  <a:cubicBezTo>
                    <a:pt x="277161" y="385506"/>
                    <a:pt x="275901" y="389285"/>
                    <a:pt x="275901" y="391805"/>
                  </a:cubicBezTo>
                  <a:lnTo>
                    <a:pt x="275901" y="391805"/>
                  </a:lnTo>
                  <a:lnTo>
                    <a:pt x="275901" y="391805"/>
                  </a:lnTo>
                  <a:cubicBezTo>
                    <a:pt x="275901" y="393065"/>
                    <a:pt x="274642" y="394325"/>
                    <a:pt x="274642" y="395584"/>
                  </a:cubicBezTo>
                  <a:cubicBezTo>
                    <a:pt x="274642" y="395584"/>
                    <a:pt x="274642" y="396844"/>
                    <a:pt x="274642" y="396844"/>
                  </a:cubicBezTo>
                  <a:lnTo>
                    <a:pt x="274642" y="396844"/>
                  </a:lnTo>
                  <a:cubicBezTo>
                    <a:pt x="274642" y="398104"/>
                    <a:pt x="273382" y="399364"/>
                    <a:pt x="273382" y="401884"/>
                  </a:cubicBezTo>
                  <a:cubicBezTo>
                    <a:pt x="273382" y="401884"/>
                    <a:pt x="273382" y="401884"/>
                    <a:pt x="273382" y="401884"/>
                  </a:cubicBezTo>
                  <a:cubicBezTo>
                    <a:pt x="273382" y="401884"/>
                    <a:pt x="272122" y="403143"/>
                    <a:pt x="272122" y="403143"/>
                  </a:cubicBezTo>
                  <a:cubicBezTo>
                    <a:pt x="272122" y="403143"/>
                    <a:pt x="270862" y="403143"/>
                    <a:pt x="270862" y="403143"/>
                  </a:cubicBezTo>
                  <a:cubicBezTo>
                    <a:pt x="270862" y="403143"/>
                    <a:pt x="269602" y="403143"/>
                    <a:pt x="269602" y="403143"/>
                  </a:cubicBezTo>
                  <a:cubicBezTo>
                    <a:pt x="269602" y="403143"/>
                    <a:pt x="269602" y="403143"/>
                    <a:pt x="268342" y="403143"/>
                  </a:cubicBezTo>
                  <a:cubicBezTo>
                    <a:pt x="268342" y="403143"/>
                    <a:pt x="268342" y="403143"/>
                    <a:pt x="268342" y="403143"/>
                  </a:cubicBezTo>
                  <a:cubicBezTo>
                    <a:pt x="268342" y="403143"/>
                    <a:pt x="268342" y="403143"/>
                    <a:pt x="267083" y="401884"/>
                  </a:cubicBezTo>
                  <a:lnTo>
                    <a:pt x="267083" y="401884"/>
                  </a:lnTo>
                  <a:cubicBezTo>
                    <a:pt x="267083" y="404403"/>
                    <a:pt x="267083" y="408183"/>
                    <a:pt x="267083" y="410702"/>
                  </a:cubicBezTo>
                  <a:cubicBezTo>
                    <a:pt x="267083" y="411962"/>
                    <a:pt x="267083" y="414482"/>
                    <a:pt x="267083" y="415742"/>
                  </a:cubicBezTo>
                  <a:lnTo>
                    <a:pt x="267083" y="417001"/>
                  </a:lnTo>
                  <a:lnTo>
                    <a:pt x="267083" y="418261"/>
                  </a:lnTo>
                  <a:lnTo>
                    <a:pt x="267083" y="419521"/>
                  </a:lnTo>
                  <a:lnTo>
                    <a:pt x="267083" y="420781"/>
                  </a:lnTo>
                  <a:cubicBezTo>
                    <a:pt x="267083" y="423301"/>
                    <a:pt x="267083" y="424560"/>
                    <a:pt x="267083" y="427080"/>
                  </a:cubicBezTo>
                  <a:lnTo>
                    <a:pt x="267083" y="429600"/>
                  </a:lnTo>
                  <a:lnTo>
                    <a:pt x="267083" y="432119"/>
                  </a:lnTo>
                  <a:lnTo>
                    <a:pt x="267083" y="434639"/>
                  </a:lnTo>
                  <a:cubicBezTo>
                    <a:pt x="267083" y="439678"/>
                    <a:pt x="268342" y="445977"/>
                    <a:pt x="268342" y="452277"/>
                  </a:cubicBezTo>
                  <a:cubicBezTo>
                    <a:pt x="268342" y="459836"/>
                    <a:pt x="268342" y="467394"/>
                    <a:pt x="269602" y="476213"/>
                  </a:cubicBezTo>
                  <a:lnTo>
                    <a:pt x="269602" y="476213"/>
                  </a:lnTo>
                  <a:lnTo>
                    <a:pt x="269602" y="476213"/>
                  </a:lnTo>
                  <a:lnTo>
                    <a:pt x="269602" y="476213"/>
                  </a:lnTo>
                  <a:cubicBezTo>
                    <a:pt x="272122" y="478733"/>
                    <a:pt x="275901" y="481252"/>
                    <a:pt x="278421" y="483772"/>
                  </a:cubicBezTo>
                  <a:cubicBezTo>
                    <a:pt x="280941" y="486292"/>
                    <a:pt x="283460" y="488811"/>
                    <a:pt x="285980" y="490071"/>
                  </a:cubicBezTo>
                  <a:cubicBezTo>
                    <a:pt x="293539" y="496370"/>
                    <a:pt x="298578" y="502669"/>
                    <a:pt x="304877" y="508969"/>
                  </a:cubicBezTo>
                  <a:lnTo>
                    <a:pt x="307397" y="511488"/>
                  </a:lnTo>
                  <a:cubicBezTo>
                    <a:pt x="307397" y="511488"/>
                    <a:pt x="307397" y="512748"/>
                    <a:pt x="308657" y="512748"/>
                  </a:cubicBezTo>
                  <a:cubicBezTo>
                    <a:pt x="308657" y="514008"/>
                    <a:pt x="309917" y="51400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12436" y="517787"/>
                    <a:pt x="314956" y="521567"/>
                    <a:pt x="318735" y="524086"/>
                  </a:cubicBezTo>
                  <a:cubicBezTo>
                    <a:pt x="318735" y="524086"/>
                    <a:pt x="319995" y="525346"/>
                    <a:pt x="319995" y="525346"/>
                  </a:cubicBezTo>
                  <a:cubicBezTo>
                    <a:pt x="321255" y="526606"/>
                    <a:pt x="321255" y="526606"/>
                    <a:pt x="322515" y="527866"/>
                  </a:cubicBezTo>
                  <a:cubicBezTo>
                    <a:pt x="321255" y="526606"/>
                    <a:pt x="321255" y="526606"/>
                    <a:pt x="319995" y="525346"/>
                  </a:cubicBezTo>
                  <a:cubicBezTo>
                    <a:pt x="319995" y="525346"/>
                    <a:pt x="318735" y="524086"/>
                    <a:pt x="318735" y="524086"/>
                  </a:cubicBezTo>
                  <a:cubicBezTo>
                    <a:pt x="317475" y="521567"/>
                    <a:pt x="314956" y="520307"/>
                    <a:pt x="313696" y="517787"/>
                  </a:cubicBezTo>
                  <a:cubicBezTo>
                    <a:pt x="318735" y="522827"/>
                    <a:pt x="323775" y="529126"/>
                    <a:pt x="328814" y="535425"/>
                  </a:cubicBezTo>
                  <a:cubicBezTo>
                    <a:pt x="330074" y="536685"/>
                    <a:pt x="331334" y="539204"/>
                    <a:pt x="333853" y="541724"/>
                  </a:cubicBezTo>
                  <a:cubicBezTo>
                    <a:pt x="333853" y="540464"/>
                    <a:pt x="332593" y="540464"/>
                    <a:pt x="332593" y="539204"/>
                  </a:cubicBezTo>
                  <a:cubicBezTo>
                    <a:pt x="331334" y="537945"/>
                    <a:pt x="331334" y="537945"/>
                    <a:pt x="330074" y="536685"/>
                  </a:cubicBezTo>
                  <a:cubicBezTo>
                    <a:pt x="333853" y="540464"/>
                    <a:pt x="337633" y="545503"/>
                    <a:pt x="340152" y="550543"/>
                  </a:cubicBezTo>
                  <a:cubicBezTo>
                    <a:pt x="340152" y="550543"/>
                    <a:pt x="340152" y="550543"/>
                    <a:pt x="340152" y="550543"/>
                  </a:cubicBezTo>
                  <a:cubicBezTo>
                    <a:pt x="342672" y="554322"/>
                    <a:pt x="345192" y="558102"/>
                    <a:pt x="347711" y="561881"/>
                  </a:cubicBezTo>
                  <a:cubicBezTo>
                    <a:pt x="348971" y="563141"/>
                    <a:pt x="348971" y="564401"/>
                    <a:pt x="350231" y="565661"/>
                  </a:cubicBezTo>
                  <a:cubicBezTo>
                    <a:pt x="350231" y="565661"/>
                    <a:pt x="350231" y="565661"/>
                    <a:pt x="350231" y="565661"/>
                  </a:cubicBezTo>
                  <a:cubicBezTo>
                    <a:pt x="351491" y="568180"/>
                    <a:pt x="352751" y="569440"/>
                    <a:pt x="354010" y="571960"/>
                  </a:cubicBezTo>
                  <a:cubicBezTo>
                    <a:pt x="352751" y="570700"/>
                    <a:pt x="352751" y="569440"/>
                    <a:pt x="351491" y="568180"/>
                  </a:cubicBezTo>
                  <a:cubicBezTo>
                    <a:pt x="352751" y="570700"/>
                    <a:pt x="355270" y="573220"/>
                    <a:pt x="356530" y="575739"/>
                  </a:cubicBezTo>
                  <a:cubicBezTo>
                    <a:pt x="356530" y="575739"/>
                    <a:pt x="356530" y="575739"/>
                    <a:pt x="356530" y="575739"/>
                  </a:cubicBezTo>
                  <a:cubicBezTo>
                    <a:pt x="356530" y="574479"/>
                    <a:pt x="355270" y="573220"/>
                    <a:pt x="355270" y="573220"/>
                  </a:cubicBezTo>
                  <a:cubicBezTo>
                    <a:pt x="356530" y="574479"/>
                    <a:pt x="356530" y="575739"/>
                    <a:pt x="357790" y="576999"/>
                  </a:cubicBezTo>
                  <a:cubicBezTo>
                    <a:pt x="357790" y="576999"/>
                    <a:pt x="359050" y="578259"/>
                    <a:pt x="359050" y="578259"/>
                  </a:cubicBezTo>
                  <a:cubicBezTo>
                    <a:pt x="360310" y="580778"/>
                    <a:pt x="362829" y="583298"/>
                    <a:pt x="364089" y="587078"/>
                  </a:cubicBezTo>
                  <a:cubicBezTo>
                    <a:pt x="364089" y="587078"/>
                    <a:pt x="364089" y="587078"/>
                    <a:pt x="364089" y="587078"/>
                  </a:cubicBezTo>
                  <a:cubicBezTo>
                    <a:pt x="365349" y="588337"/>
                    <a:pt x="366609" y="590857"/>
                    <a:pt x="366609" y="592117"/>
                  </a:cubicBezTo>
                  <a:lnTo>
                    <a:pt x="366609" y="592117"/>
                  </a:lnTo>
                  <a:lnTo>
                    <a:pt x="366609" y="592117"/>
                  </a:lnTo>
                  <a:cubicBezTo>
                    <a:pt x="366609" y="593377"/>
                    <a:pt x="367868" y="593377"/>
                    <a:pt x="367868" y="594637"/>
                  </a:cubicBezTo>
                  <a:cubicBezTo>
                    <a:pt x="370388" y="599676"/>
                    <a:pt x="371648" y="603455"/>
                    <a:pt x="374167" y="608495"/>
                  </a:cubicBezTo>
                  <a:cubicBezTo>
                    <a:pt x="374167" y="608495"/>
                    <a:pt x="374167" y="609754"/>
                    <a:pt x="374167" y="609754"/>
                  </a:cubicBezTo>
                  <a:lnTo>
                    <a:pt x="374167" y="609754"/>
                  </a:lnTo>
                  <a:lnTo>
                    <a:pt x="374167" y="609754"/>
                  </a:lnTo>
                  <a:cubicBezTo>
                    <a:pt x="375427" y="612274"/>
                    <a:pt x="376687" y="616054"/>
                    <a:pt x="376687" y="618573"/>
                  </a:cubicBezTo>
                  <a:lnTo>
                    <a:pt x="376687" y="619833"/>
                  </a:lnTo>
                  <a:cubicBezTo>
                    <a:pt x="377947" y="622353"/>
                    <a:pt x="377947" y="624872"/>
                    <a:pt x="379207" y="627392"/>
                  </a:cubicBezTo>
                  <a:cubicBezTo>
                    <a:pt x="379207" y="628652"/>
                    <a:pt x="379207" y="629912"/>
                    <a:pt x="379207" y="632431"/>
                  </a:cubicBezTo>
                  <a:lnTo>
                    <a:pt x="379207" y="634951"/>
                  </a:lnTo>
                  <a:lnTo>
                    <a:pt x="379207" y="637471"/>
                  </a:lnTo>
                  <a:cubicBezTo>
                    <a:pt x="379207" y="638730"/>
                    <a:pt x="379207" y="641250"/>
                    <a:pt x="379207" y="642510"/>
                  </a:cubicBezTo>
                  <a:cubicBezTo>
                    <a:pt x="379207" y="642510"/>
                    <a:pt x="379207" y="642510"/>
                    <a:pt x="379207" y="642510"/>
                  </a:cubicBezTo>
                  <a:lnTo>
                    <a:pt x="379207" y="642510"/>
                  </a:lnTo>
                  <a:lnTo>
                    <a:pt x="379207" y="642510"/>
                  </a:lnTo>
                  <a:lnTo>
                    <a:pt x="379207" y="645030"/>
                  </a:lnTo>
                  <a:cubicBezTo>
                    <a:pt x="379207" y="647549"/>
                    <a:pt x="379207" y="648809"/>
                    <a:pt x="379207" y="651329"/>
                  </a:cubicBezTo>
                  <a:lnTo>
                    <a:pt x="379207" y="652588"/>
                  </a:lnTo>
                  <a:cubicBezTo>
                    <a:pt x="379207" y="655108"/>
                    <a:pt x="379207" y="657628"/>
                    <a:pt x="377947" y="660147"/>
                  </a:cubicBezTo>
                  <a:cubicBezTo>
                    <a:pt x="376687" y="667706"/>
                    <a:pt x="375427" y="672746"/>
                    <a:pt x="374167" y="677785"/>
                  </a:cubicBezTo>
                  <a:cubicBezTo>
                    <a:pt x="374167" y="677785"/>
                    <a:pt x="374167" y="677785"/>
                    <a:pt x="374167" y="677785"/>
                  </a:cubicBezTo>
                  <a:lnTo>
                    <a:pt x="374167" y="679045"/>
                  </a:lnTo>
                  <a:cubicBezTo>
                    <a:pt x="374167" y="679045"/>
                    <a:pt x="374167" y="679045"/>
                    <a:pt x="374167" y="679045"/>
                  </a:cubicBezTo>
                  <a:cubicBezTo>
                    <a:pt x="372908" y="681564"/>
                    <a:pt x="372908" y="684084"/>
                    <a:pt x="371648" y="687863"/>
                  </a:cubicBezTo>
                  <a:cubicBezTo>
                    <a:pt x="372908" y="686604"/>
                    <a:pt x="372908" y="685344"/>
                    <a:pt x="372908" y="682824"/>
                  </a:cubicBezTo>
                  <a:cubicBezTo>
                    <a:pt x="371648" y="685344"/>
                    <a:pt x="371648" y="686604"/>
                    <a:pt x="370388" y="689123"/>
                  </a:cubicBezTo>
                  <a:cubicBezTo>
                    <a:pt x="370388" y="690383"/>
                    <a:pt x="369128" y="690383"/>
                    <a:pt x="369128" y="691643"/>
                  </a:cubicBezTo>
                  <a:cubicBezTo>
                    <a:pt x="367868" y="692903"/>
                    <a:pt x="367868" y="694163"/>
                    <a:pt x="366609" y="696682"/>
                  </a:cubicBezTo>
                  <a:cubicBezTo>
                    <a:pt x="366609" y="697942"/>
                    <a:pt x="365349" y="69794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0462"/>
                    <a:pt x="365349" y="70046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2981"/>
                    <a:pt x="362829" y="702981"/>
                    <a:pt x="362829" y="702981"/>
                  </a:cubicBezTo>
                  <a:lnTo>
                    <a:pt x="362829" y="704241"/>
                  </a:lnTo>
                  <a:cubicBezTo>
                    <a:pt x="360310" y="706761"/>
                    <a:pt x="359050" y="709280"/>
                    <a:pt x="356530" y="710540"/>
                  </a:cubicBezTo>
                  <a:lnTo>
                    <a:pt x="356530" y="710540"/>
                  </a:lnTo>
                  <a:cubicBezTo>
                    <a:pt x="356530" y="71054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4010" y="711800"/>
                    <a:pt x="354010" y="713060"/>
                    <a:pt x="352751" y="713060"/>
                  </a:cubicBezTo>
                  <a:cubicBezTo>
                    <a:pt x="351491" y="714320"/>
                    <a:pt x="348971" y="715580"/>
                    <a:pt x="347711" y="715580"/>
                  </a:cubicBez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cubicBezTo>
                    <a:pt x="345192" y="715580"/>
                    <a:pt x="343932" y="716839"/>
                    <a:pt x="342672" y="716839"/>
                  </a:cubicBezTo>
                  <a:cubicBezTo>
                    <a:pt x="340152" y="718099"/>
                    <a:pt x="337633" y="719359"/>
                    <a:pt x="335113" y="720619"/>
                  </a:cubicBezTo>
                  <a:lnTo>
                    <a:pt x="335113" y="720619"/>
                  </a:lnTo>
                  <a:cubicBezTo>
                    <a:pt x="331334" y="721879"/>
                    <a:pt x="32881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lnTo>
                    <a:pt x="325034" y="723139"/>
                  </a:lnTo>
                  <a:lnTo>
                    <a:pt x="325034" y="723139"/>
                  </a:ln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6294" y="723139"/>
                    <a:pt x="326294" y="723139"/>
                    <a:pt x="327554" y="723139"/>
                  </a:cubicBezTo>
                  <a:lnTo>
                    <a:pt x="328814" y="723139"/>
                  </a:lnTo>
                  <a:cubicBezTo>
                    <a:pt x="330074" y="723139"/>
                    <a:pt x="331334" y="723139"/>
                    <a:pt x="332593" y="723139"/>
                  </a:cubicBezTo>
                  <a:cubicBezTo>
                    <a:pt x="333853" y="723139"/>
                    <a:pt x="336373" y="723139"/>
                    <a:pt x="337633" y="723139"/>
                  </a:cubicBezTo>
                  <a:cubicBezTo>
                    <a:pt x="343932" y="723139"/>
                    <a:pt x="351491" y="724398"/>
                    <a:pt x="359050" y="724398"/>
                  </a:cubicBezTo>
                  <a:cubicBezTo>
                    <a:pt x="369128" y="724398"/>
                    <a:pt x="379207" y="724398"/>
                    <a:pt x="389286" y="724398"/>
                  </a:cubicBezTo>
                  <a:cubicBezTo>
                    <a:pt x="391805" y="724398"/>
                    <a:pt x="394325" y="724398"/>
                    <a:pt x="398104" y="724398"/>
                  </a:cubicBezTo>
                  <a:lnTo>
                    <a:pt x="400624" y="724398"/>
                  </a:lnTo>
                  <a:lnTo>
                    <a:pt x="400624" y="724398"/>
                  </a:lnTo>
                  <a:cubicBezTo>
                    <a:pt x="403143" y="724398"/>
                    <a:pt x="404403" y="724398"/>
                    <a:pt x="406923" y="724398"/>
                  </a:cubicBezTo>
                  <a:cubicBezTo>
                    <a:pt x="408183" y="724398"/>
                    <a:pt x="408183" y="724398"/>
                    <a:pt x="409443" y="724398"/>
                  </a:cubicBezTo>
                  <a:cubicBezTo>
                    <a:pt x="411962" y="724398"/>
                    <a:pt x="414482" y="724398"/>
                    <a:pt x="417002" y="724398"/>
                  </a:cubicBezTo>
                  <a:cubicBezTo>
                    <a:pt x="418261" y="724398"/>
                    <a:pt x="419521" y="724398"/>
                    <a:pt x="420781" y="724398"/>
                  </a:cubicBezTo>
                  <a:cubicBezTo>
                    <a:pt x="420781" y="724398"/>
                    <a:pt x="422041" y="724398"/>
                    <a:pt x="422041" y="724398"/>
                  </a:cubicBezTo>
                  <a:lnTo>
                    <a:pt x="422041" y="724398"/>
                  </a:lnTo>
                  <a:cubicBezTo>
                    <a:pt x="427080" y="724398"/>
                    <a:pt x="432119" y="724398"/>
                    <a:pt x="435899" y="724398"/>
                  </a:cubicBezTo>
                  <a:cubicBezTo>
                    <a:pt x="438419" y="724398"/>
                    <a:pt x="440938" y="724398"/>
                    <a:pt x="443458" y="724398"/>
                  </a:cubicBezTo>
                  <a:cubicBezTo>
                    <a:pt x="447237" y="724398"/>
                    <a:pt x="451017" y="724398"/>
                    <a:pt x="454796" y="724398"/>
                  </a:cubicBezTo>
                  <a:lnTo>
                    <a:pt x="459835" y="724398"/>
                  </a:lnTo>
                  <a:lnTo>
                    <a:pt x="461095" y="724398"/>
                  </a:lnTo>
                  <a:cubicBezTo>
                    <a:pt x="466135" y="724398"/>
                    <a:pt x="469914" y="724398"/>
                    <a:pt x="474953" y="724398"/>
                  </a:cubicBezTo>
                  <a:cubicBezTo>
                    <a:pt x="477473" y="724398"/>
                    <a:pt x="479993" y="724398"/>
                    <a:pt x="482512" y="724398"/>
                  </a:cubicBezTo>
                  <a:cubicBezTo>
                    <a:pt x="482512" y="724398"/>
                    <a:pt x="483772" y="724398"/>
                    <a:pt x="483772" y="724398"/>
                  </a:cubicBezTo>
                  <a:cubicBezTo>
                    <a:pt x="487552" y="724398"/>
                    <a:pt x="491331" y="724398"/>
                    <a:pt x="495111" y="724398"/>
                  </a:cubicBezTo>
                  <a:cubicBezTo>
                    <a:pt x="501410" y="724398"/>
                    <a:pt x="507709" y="724398"/>
                    <a:pt x="515268" y="723139"/>
                  </a:cubicBezTo>
                  <a:cubicBezTo>
                    <a:pt x="516528" y="723139"/>
                    <a:pt x="516528" y="723139"/>
                    <a:pt x="517787" y="723139"/>
                  </a:cubicBezTo>
                  <a:lnTo>
                    <a:pt x="517787" y="723139"/>
                  </a:lnTo>
                  <a:cubicBezTo>
                    <a:pt x="521567" y="723139"/>
                    <a:pt x="524087" y="723139"/>
                    <a:pt x="527866" y="721879"/>
                  </a:cubicBezTo>
                  <a:lnTo>
                    <a:pt x="527866" y="721879"/>
                  </a:lnTo>
                  <a:cubicBezTo>
                    <a:pt x="530386" y="721879"/>
                    <a:pt x="532905" y="721879"/>
                    <a:pt x="535425" y="720619"/>
                  </a:cubicBezTo>
                  <a:cubicBezTo>
                    <a:pt x="536685" y="720619"/>
                    <a:pt x="536685" y="720619"/>
                    <a:pt x="537945" y="720619"/>
                  </a:cubicBezTo>
                  <a:lnTo>
                    <a:pt x="537945" y="720619"/>
                  </a:lnTo>
                  <a:cubicBezTo>
                    <a:pt x="540464" y="720619"/>
                    <a:pt x="544244" y="720619"/>
                    <a:pt x="546763" y="720619"/>
                  </a:cubicBezTo>
                  <a:cubicBezTo>
                    <a:pt x="549283" y="720619"/>
                    <a:pt x="551803" y="720619"/>
                    <a:pt x="554322" y="720619"/>
                  </a:cubicBezTo>
                  <a:cubicBezTo>
                    <a:pt x="555582" y="720619"/>
                    <a:pt x="556842" y="720619"/>
                    <a:pt x="556842" y="720619"/>
                  </a:cubicBezTo>
                  <a:cubicBezTo>
                    <a:pt x="558102" y="720619"/>
                    <a:pt x="559362" y="720619"/>
                    <a:pt x="560621" y="720619"/>
                  </a:cubicBezTo>
                  <a:lnTo>
                    <a:pt x="560621" y="720619"/>
                  </a:lnTo>
                  <a:lnTo>
                    <a:pt x="560621" y="720619"/>
                  </a:lnTo>
                  <a:cubicBezTo>
                    <a:pt x="560621" y="720619"/>
                    <a:pt x="561881" y="720619"/>
                    <a:pt x="561881" y="720619"/>
                  </a:cubicBezTo>
                  <a:cubicBezTo>
                    <a:pt x="563141" y="720619"/>
                    <a:pt x="564401" y="720619"/>
                    <a:pt x="565661" y="720619"/>
                  </a:cubicBezTo>
                  <a:cubicBezTo>
                    <a:pt x="568180" y="720619"/>
                    <a:pt x="569440" y="720619"/>
                    <a:pt x="571960" y="720619"/>
                  </a:cubicBezTo>
                  <a:cubicBezTo>
                    <a:pt x="573220" y="720619"/>
                    <a:pt x="574480" y="720619"/>
                    <a:pt x="574480" y="720619"/>
                  </a:cubicBezTo>
                  <a:lnTo>
                    <a:pt x="574480" y="720619"/>
                  </a:lnTo>
                  <a:cubicBezTo>
                    <a:pt x="574480" y="720619"/>
                    <a:pt x="575739" y="720619"/>
                    <a:pt x="575739" y="720619"/>
                  </a:cubicBezTo>
                  <a:cubicBezTo>
                    <a:pt x="579519" y="720619"/>
                    <a:pt x="583298" y="720619"/>
                    <a:pt x="587078" y="720619"/>
                  </a:cubicBezTo>
                  <a:cubicBezTo>
                    <a:pt x="588337" y="720619"/>
                    <a:pt x="590857" y="720619"/>
                    <a:pt x="592117" y="720619"/>
                  </a:cubicBezTo>
                  <a:cubicBezTo>
                    <a:pt x="593377" y="720619"/>
                    <a:pt x="595896" y="720619"/>
                    <a:pt x="597156" y="720619"/>
                  </a:cubicBezTo>
                  <a:lnTo>
                    <a:pt x="598416" y="720619"/>
                  </a:lnTo>
                  <a:cubicBezTo>
                    <a:pt x="598416" y="720619"/>
                    <a:pt x="599676" y="720619"/>
                    <a:pt x="599676" y="720619"/>
                  </a:cubicBezTo>
                  <a:cubicBezTo>
                    <a:pt x="602196" y="720619"/>
                    <a:pt x="603455" y="720619"/>
                    <a:pt x="605975" y="720619"/>
                  </a:cubicBezTo>
                  <a:lnTo>
                    <a:pt x="605975" y="720619"/>
                  </a:lnTo>
                  <a:lnTo>
                    <a:pt x="605975" y="720619"/>
                  </a:lnTo>
                  <a:cubicBezTo>
                    <a:pt x="616054" y="721879"/>
                    <a:pt x="627392" y="721879"/>
                    <a:pt x="637471" y="723139"/>
                  </a:cubicBezTo>
                  <a:cubicBezTo>
                    <a:pt x="645029" y="723139"/>
                    <a:pt x="650069" y="723139"/>
                    <a:pt x="656368" y="723139"/>
                  </a:cubicBezTo>
                  <a:cubicBezTo>
                    <a:pt x="656368" y="723139"/>
                    <a:pt x="656368" y="723139"/>
                    <a:pt x="657628" y="723139"/>
                  </a:cubicBezTo>
                  <a:cubicBezTo>
                    <a:pt x="658888" y="723139"/>
                    <a:pt x="658888" y="723139"/>
                    <a:pt x="660148" y="723139"/>
                  </a:cubicBezTo>
                  <a:lnTo>
                    <a:pt x="661407" y="723139"/>
                  </a:lnTo>
                  <a:cubicBezTo>
                    <a:pt x="662667" y="723139"/>
                    <a:pt x="665187" y="723139"/>
                    <a:pt x="666447" y="723139"/>
                  </a:cubicBezTo>
                  <a:cubicBezTo>
                    <a:pt x="667706" y="723139"/>
                    <a:pt x="668966" y="723139"/>
                    <a:pt x="670226" y="723139"/>
                  </a:cubicBezTo>
                  <a:lnTo>
                    <a:pt x="670226" y="723139"/>
                  </a:lnTo>
                  <a:cubicBezTo>
                    <a:pt x="671486" y="723139"/>
                    <a:pt x="672746" y="723139"/>
                    <a:pt x="674005" y="723139"/>
                  </a:cubicBezTo>
                  <a:lnTo>
                    <a:pt x="674005" y="723139"/>
                  </a:lnTo>
                  <a:cubicBezTo>
                    <a:pt x="675265" y="723139"/>
                    <a:pt x="676525" y="723139"/>
                    <a:pt x="677785" y="721879"/>
                  </a:cubicBezTo>
                  <a:cubicBezTo>
                    <a:pt x="679045" y="721879"/>
                    <a:pt x="679045" y="720619"/>
                    <a:pt x="680305" y="720619"/>
                  </a:cubicBezTo>
                  <a:cubicBezTo>
                    <a:pt x="680305" y="720619"/>
                    <a:pt x="680305" y="720619"/>
                    <a:pt x="680305" y="720619"/>
                  </a:cubicBezTo>
                  <a:cubicBezTo>
                    <a:pt x="680305" y="72061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2824" y="718099"/>
                  </a:cubicBezTo>
                  <a:cubicBezTo>
                    <a:pt x="684084" y="716839"/>
                    <a:pt x="684084" y="715580"/>
                    <a:pt x="684084" y="713060"/>
                  </a:cubicBezTo>
                  <a:cubicBezTo>
                    <a:pt x="684084" y="711800"/>
                    <a:pt x="684084" y="709280"/>
                    <a:pt x="684084" y="708021"/>
                  </a:cubicBezTo>
                  <a:cubicBezTo>
                    <a:pt x="684084" y="706761"/>
                    <a:pt x="685344" y="704241"/>
                    <a:pt x="685344" y="702981"/>
                  </a:cubicBezTo>
                  <a:lnTo>
                    <a:pt x="685344" y="702981"/>
                  </a:lnTo>
                  <a:cubicBezTo>
                    <a:pt x="685344" y="701722"/>
                    <a:pt x="685344" y="699202"/>
                    <a:pt x="685344" y="697942"/>
                  </a:cubicBezTo>
                  <a:lnTo>
                    <a:pt x="685344" y="697942"/>
                  </a:lnTo>
                  <a:lnTo>
                    <a:pt x="685344" y="697942"/>
                  </a:lnTo>
                  <a:cubicBezTo>
                    <a:pt x="685344" y="696682"/>
                    <a:pt x="685344" y="695422"/>
                    <a:pt x="685344" y="694163"/>
                  </a:cubicBezTo>
                  <a:cubicBezTo>
                    <a:pt x="685344" y="692903"/>
                    <a:pt x="685344" y="691643"/>
                    <a:pt x="685344" y="689123"/>
                  </a:cubicBezTo>
                  <a:cubicBezTo>
                    <a:pt x="685344" y="689123"/>
                    <a:pt x="685344" y="689123"/>
                    <a:pt x="685344" y="689123"/>
                  </a:cubicBezTo>
                  <a:cubicBezTo>
                    <a:pt x="685344" y="686604"/>
                    <a:pt x="685344" y="684084"/>
                    <a:pt x="685344" y="682824"/>
                  </a:cubicBezTo>
                  <a:lnTo>
                    <a:pt x="685344" y="681564"/>
                  </a:lnTo>
                  <a:lnTo>
                    <a:pt x="685344" y="680305"/>
                  </a:lnTo>
                  <a:cubicBezTo>
                    <a:pt x="685344" y="676525"/>
                    <a:pt x="685344" y="674005"/>
                    <a:pt x="685344" y="671486"/>
                  </a:cubicBezTo>
                  <a:cubicBezTo>
                    <a:pt x="685344" y="667706"/>
                    <a:pt x="685344" y="663927"/>
                    <a:pt x="685344" y="660147"/>
                  </a:cubicBezTo>
                  <a:lnTo>
                    <a:pt x="685344" y="658887"/>
                  </a:lnTo>
                  <a:cubicBezTo>
                    <a:pt x="685344" y="656368"/>
                    <a:pt x="685344" y="653848"/>
                    <a:pt x="685344" y="651329"/>
                  </a:cubicBezTo>
                  <a:cubicBezTo>
                    <a:pt x="685344" y="650069"/>
                    <a:pt x="685344" y="648809"/>
                    <a:pt x="685344" y="648809"/>
                  </a:cubicBezTo>
                  <a:lnTo>
                    <a:pt x="685344" y="647549"/>
                  </a:lnTo>
                  <a:cubicBezTo>
                    <a:pt x="685344" y="646289"/>
                    <a:pt x="685344" y="643770"/>
                    <a:pt x="685344" y="642510"/>
                  </a:cubicBezTo>
                  <a:lnTo>
                    <a:pt x="685344" y="641250"/>
                  </a:lnTo>
                  <a:cubicBezTo>
                    <a:pt x="685344" y="638730"/>
                    <a:pt x="685344" y="636211"/>
                    <a:pt x="685344" y="632431"/>
                  </a:cubicBezTo>
                  <a:cubicBezTo>
                    <a:pt x="685344" y="624872"/>
                    <a:pt x="685344" y="618573"/>
                    <a:pt x="685344" y="612274"/>
                  </a:cubicBezTo>
                  <a:cubicBezTo>
                    <a:pt x="685344" y="607235"/>
                    <a:pt x="685344" y="602195"/>
                    <a:pt x="685344" y="597156"/>
                  </a:cubicBezTo>
                  <a:cubicBezTo>
                    <a:pt x="684084" y="597156"/>
                    <a:pt x="684084" y="595896"/>
                    <a:pt x="684084" y="595896"/>
                  </a:cubicBezTo>
                  <a:cubicBezTo>
                    <a:pt x="684084" y="595896"/>
                    <a:pt x="684084" y="595896"/>
                    <a:pt x="684084" y="595896"/>
                  </a:cubicBezTo>
                  <a:cubicBezTo>
                    <a:pt x="682824" y="594637"/>
                    <a:pt x="681564" y="594637"/>
                    <a:pt x="681564" y="593377"/>
                  </a:cubicBezTo>
                  <a:cubicBezTo>
                    <a:pt x="681564" y="593377"/>
                    <a:pt x="680305" y="592117"/>
                    <a:pt x="680305" y="592117"/>
                  </a:cubicBezTo>
                  <a:cubicBezTo>
                    <a:pt x="679045" y="590857"/>
                    <a:pt x="677785" y="589597"/>
                    <a:pt x="676525" y="588337"/>
                  </a:cubicBezTo>
                  <a:cubicBezTo>
                    <a:pt x="672746" y="584558"/>
                    <a:pt x="668966" y="579519"/>
                    <a:pt x="665187" y="575739"/>
                  </a:cubicBezTo>
                  <a:lnTo>
                    <a:pt x="665187" y="575739"/>
                  </a:lnTo>
                  <a:cubicBezTo>
                    <a:pt x="663927" y="574479"/>
                    <a:pt x="662667" y="573220"/>
                    <a:pt x="662667" y="571960"/>
                  </a:cubicBezTo>
                  <a:lnTo>
                    <a:pt x="661407" y="570700"/>
                  </a:lnTo>
                  <a:cubicBezTo>
                    <a:pt x="660148" y="568180"/>
                    <a:pt x="657628" y="566921"/>
                    <a:pt x="656368" y="564401"/>
                  </a:cubicBezTo>
                  <a:cubicBezTo>
                    <a:pt x="653848" y="561881"/>
                    <a:pt x="652589" y="559361"/>
                    <a:pt x="651329" y="556842"/>
                  </a:cubicBezTo>
                  <a:cubicBezTo>
                    <a:pt x="648809" y="553062"/>
                    <a:pt x="645029" y="548023"/>
                    <a:pt x="642510" y="544244"/>
                  </a:cubicBezTo>
                  <a:cubicBezTo>
                    <a:pt x="641250" y="542984"/>
                    <a:pt x="641250" y="541724"/>
                    <a:pt x="639990" y="540464"/>
                  </a:cubicBezTo>
                  <a:cubicBezTo>
                    <a:pt x="634951" y="534165"/>
                    <a:pt x="631172" y="527866"/>
                    <a:pt x="627392" y="524086"/>
                  </a:cubicBezTo>
                  <a:cubicBezTo>
                    <a:pt x="624872" y="521567"/>
                    <a:pt x="623613" y="517787"/>
                    <a:pt x="621093" y="515268"/>
                  </a:cubicBezTo>
                  <a:cubicBezTo>
                    <a:pt x="619833" y="512748"/>
                    <a:pt x="617313" y="510228"/>
                    <a:pt x="616054" y="507709"/>
                  </a:cubicBezTo>
                  <a:cubicBezTo>
                    <a:pt x="613534" y="503929"/>
                    <a:pt x="611014" y="501410"/>
                    <a:pt x="609755" y="497630"/>
                  </a:cubicBezTo>
                  <a:lnTo>
                    <a:pt x="609755" y="497630"/>
                  </a:lnTo>
                  <a:lnTo>
                    <a:pt x="609755" y="497630"/>
                  </a:lnTo>
                  <a:cubicBezTo>
                    <a:pt x="608495" y="495110"/>
                    <a:pt x="605975" y="492591"/>
                    <a:pt x="604715" y="490071"/>
                  </a:cubicBezTo>
                  <a:cubicBezTo>
                    <a:pt x="600936" y="483772"/>
                    <a:pt x="597156" y="477473"/>
                    <a:pt x="593377" y="472434"/>
                  </a:cubicBezTo>
                  <a:lnTo>
                    <a:pt x="593377" y="471174"/>
                  </a:lnTo>
                  <a:lnTo>
                    <a:pt x="592117" y="469914"/>
                  </a:lnTo>
                  <a:lnTo>
                    <a:pt x="592117" y="469914"/>
                  </a:lnTo>
                  <a:cubicBezTo>
                    <a:pt x="590857" y="467394"/>
                    <a:pt x="588337" y="464875"/>
                    <a:pt x="587078" y="462355"/>
                  </a:cubicBezTo>
                  <a:cubicBezTo>
                    <a:pt x="585818" y="458576"/>
                    <a:pt x="583298" y="456056"/>
                    <a:pt x="582038" y="452277"/>
                  </a:cubicBezTo>
                  <a:cubicBezTo>
                    <a:pt x="579519" y="444717"/>
                    <a:pt x="575739" y="439678"/>
                    <a:pt x="573220" y="433379"/>
                  </a:cubicBezTo>
                  <a:lnTo>
                    <a:pt x="571960" y="430860"/>
                  </a:lnTo>
                  <a:cubicBezTo>
                    <a:pt x="570700" y="428340"/>
                    <a:pt x="569440" y="425820"/>
                    <a:pt x="568180" y="423301"/>
                  </a:cubicBezTo>
                  <a:cubicBezTo>
                    <a:pt x="566920" y="420781"/>
                    <a:pt x="565661" y="418261"/>
                    <a:pt x="564401" y="415742"/>
                  </a:cubicBezTo>
                  <a:lnTo>
                    <a:pt x="563141" y="413222"/>
                  </a:lnTo>
                  <a:cubicBezTo>
                    <a:pt x="561881" y="410702"/>
                    <a:pt x="559362" y="406923"/>
                    <a:pt x="558102" y="403143"/>
                  </a:cubicBezTo>
                  <a:cubicBezTo>
                    <a:pt x="556842" y="400624"/>
                    <a:pt x="556842" y="399364"/>
                    <a:pt x="555582" y="396844"/>
                  </a:cubicBezTo>
                  <a:lnTo>
                    <a:pt x="555582" y="396844"/>
                  </a:lnTo>
                  <a:cubicBezTo>
                    <a:pt x="555582" y="395584"/>
                    <a:pt x="554322" y="395584"/>
                    <a:pt x="554322" y="394325"/>
                  </a:cubicBezTo>
                  <a:cubicBezTo>
                    <a:pt x="551803" y="386766"/>
                    <a:pt x="549283" y="380467"/>
                    <a:pt x="546763" y="374167"/>
                  </a:cubicBezTo>
                  <a:cubicBezTo>
                    <a:pt x="544244" y="367868"/>
                    <a:pt x="541724" y="361569"/>
                    <a:pt x="540464" y="354010"/>
                  </a:cubicBezTo>
                  <a:cubicBezTo>
                    <a:pt x="539204" y="351491"/>
                    <a:pt x="539204" y="347711"/>
                    <a:pt x="537945" y="345192"/>
                  </a:cubicBezTo>
                  <a:lnTo>
                    <a:pt x="537945" y="343932"/>
                  </a:lnTo>
                  <a:cubicBezTo>
                    <a:pt x="537945" y="341412"/>
                    <a:pt x="536685" y="340152"/>
                    <a:pt x="536685" y="337633"/>
                  </a:cubicBezTo>
                  <a:lnTo>
                    <a:pt x="536685" y="337633"/>
                  </a:lnTo>
                  <a:cubicBezTo>
                    <a:pt x="536685" y="336373"/>
                    <a:pt x="536685" y="335113"/>
                    <a:pt x="535425" y="335113"/>
                  </a:cubicBezTo>
                  <a:cubicBezTo>
                    <a:pt x="534165" y="328814"/>
                    <a:pt x="532905" y="321255"/>
                    <a:pt x="531645" y="314956"/>
                  </a:cubicBezTo>
                  <a:lnTo>
                    <a:pt x="531645" y="313696"/>
                  </a:lnTo>
                  <a:cubicBezTo>
                    <a:pt x="531645" y="312436"/>
                    <a:pt x="531645" y="309916"/>
                    <a:pt x="530386" y="308657"/>
                  </a:cubicBezTo>
                  <a:cubicBezTo>
                    <a:pt x="530386" y="307397"/>
                    <a:pt x="530386" y="304877"/>
                    <a:pt x="529126" y="303617"/>
                  </a:cubicBezTo>
                  <a:cubicBezTo>
                    <a:pt x="529126" y="299838"/>
                    <a:pt x="527866" y="297318"/>
                    <a:pt x="527866" y="294799"/>
                  </a:cubicBezTo>
                  <a:lnTo>
                    <a:pt x="527866" y="293539"/>
                  </a:lnTo>
                  <a:cubicBezTo>
                    <a:pt x="527866" y="292279"/>
                    <a:pt x="527866" y="291019"/>
                    <a:pt x="527866" y="289759"/>
                  </a:cubicBezTo>
                  <a:lnTo>
                    <a:pt x="527866" y="288499"/>
                  </a:lnTo>
                  <a:lnTo>
                    <a:pt x="527866" y="287240"/>
                  </a:lnTo>
                  <a:cubicBezTo>
                    <a:pt x="527866" y="285980"/>
                    <a:pt x="527866" y="284720"/>
                    <a:pt x="527866" y="282200"/>
                  </a:cubicBezTo>
                  <a:cubicBezTo>
                    <a:pt x="527866" y="279681"/>
                    <a:pt x="527866" y="277161"/>
                    <a:pt x="527866" y="275901"/>
                  </a:cubicBezTo>
                  <a:cubicBezTo>
                    <a:pt x="527866" y="274641"/>
                    <a:pt x="527866" y="273382"/>
                    <a:pt x="527866" y="272122"/>
                  </a:cubicBezTo>
                  <a:cubicBezTo>
                    <a:pt x="527866" y="268342"/>
                    <a:pt x="527866" y="264563"/>
                    <a:pt x="527866" y="260783"/>
                  </a:cubicBezTo>
                  <a:cubicBezTo>
                    <a:pt x="527866" y="259523"/>
                    <a:pt x="527866" y="258264"/>
                    <a:pt x="527866" y="257004"/>
                  </a:cubicBezTo>
                  <a:cubicBezTo>
                    <a:pt x="527866" y="257004"/>
                    <a:pt x="527866" y="257004"/>
                    <a:pt x="527866" y="255744"/>
                  </a:cubicBezTo>
                  <a:cubicBezTo>
                    <a:pt x="527866" y="254484"/>
                    <a:pt x="527866" y="253224"/>
                    <a:pt x="527866" y="251965"/>
                  </a:cubicBezTo>
                  <a:cubicBezTo>
                    <a:pt x="527866" y="251965"/>
                    <a:pt x="527866" y="251965"/>
                    <a:pt x="527866" y="251965"/>
                  </a:cubicBezTo>
                  <a:cubicBezTo>
                    <a:pt x="527866" y="250705"/>
                    <a:pt x="527866" y="250705"/>
                    <a:pt x="527866" y="249445"/>
                  </a:cubicBezTo>
                  <a:lnTo>
                    <a:pt x="527866" y="249445"/>
                  </a:lnTo>
                  <a:lnTo>
                    <a:pt x="527866" y="249445"/>
                  </a:ln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8185"/>
                    <a:pt x="527866" y="248185"/>
                    <a:pt x="527866" y="246925"/>
                  </a:cubicBezTo>
                  <a:lnTo>
                    <a:pt x="527866" y="245666"/>
                  </a:lnTo>
                  <a:cubicBezTo>
                    <a:pt x="527866" y="243146"/>
                    <a:pt x="527866" y="240626"/>
                    <a:pt x="529126" y="239366"/>
                  </a:cubicBezTo>
                  <a:cubicBezTo>
                    <a:pt x="529126" y="236847"/>
                    <a:pt x="530386" y="234327"/>
                    <a:pt x="531645" y="230548"/>
                  </a:cubicBezTo>
                  <a:cubicBezTo>
                    <a:pt x="532905" y="226768"/>
                    <a:pt x="534165" y="224248"/>
                    <a:pt x="535425" y="221729"/>
                  </a:cubicBezTo>
                  <a:cubicBezTo>
                    <a:pt x="536685" y="219209"/>
                    <a:pt x="539204" y="216690"/>
                    <a:pt x="540464" y="214170"/>
                  </a:cubicBezTo>
                  <a:cubicBezTo>
                    <a:pt x="540464" y="214170"/>
                    <a:pt x="540464" y="214170"/>
                    <a:pt x="540464" y="214170"/>
                  </a:cubicBezTo>
                  <a:cubicBezTo>
                    <a:pt x="540464" y="212910"/>
                    <a:pt x="541724" y="212910"/>
                    <a:pt x="541724" y="211650"/>
                  </a:cubicBezTo>
                  <a:cubicBezTo>
                    <a:pt x="541724" y="211650"/>
                    <a:pt x="542984" y="210390"/>
                    <a:pt x="542984" y="210390"/>
                  </a:cubicBezTo>
                  <a:cubicBezTo>
                    <a:pt x="542984" y="210390"/>
                    <a:pt x="542984" y="210390"/>
                    <a:pt x="542984" y="210390"/>
                  </a:cubicBezTo>
                  <a:cubicBezTo>
                    <a:pt x="542984" y="210390"/>
                    <a:pt x="542984" y="209131"/>
                    <a:pt x="544244" y="209131"/>
                  </a:cubicBezTo>
                  <a:cubicBezTo>
                    <a:pt x="545504" y="207871"/>
                    <a:pt x="546763" y="205351"/>
                    <a:pt x="549283" y="204091"/>
                  </a:cubicBezTo>
                  <a:cubicBezTo>
                    <a:pt x="550543" y="202831"/>
                    <a:pt x="553063" y="200312"/>
                    <a:pt x="555582" y="199052"/>
                  </a:cubicBezTo>
                  <a:cubicBezTo>
                    <a:pt x="556842" y="199052"/>
                    <a:pt x="558102" y="197792"/>
                    <a:pt x="559362" y="197792"/>
                  </a:cubicBezTo>
                  <a:cubicBezTo>
                    <a:pt x="560621" y="197792"/>
                    <a:pt x="561881" y="196532"/>
                    <a:pt x="563141" y="196532"/>
                  </a:cubicBezTo>
                  <a:cubicBezTo>
                    <a:pt x="566920" y="195273"/>
                    <a:pt x="571960" y="194013"/>
                    <a:pt x="575739" y="194013"/>
                  </a:cubicBezTo>
                  <a:cubicBezTo>
                    <a:pt x="576999" y="194013"/>
                    <a:pt x="576999" y="194013"/>
                    <a:pt x="578259" y="194013"/>
                  </a:cubicBezTo>
                  <a:cubicBezTo>
                    <a:pt x="583298" y="194013"/>
                    <a:pt x="589597" y="194013"/>
                    <a:pt x="594637" y="195273"/>
                  </a:cubicBezTo>
                  <a:cubicBezTo>
                    <a:pt x="594637" y="195273"/>
                    <a:pt x="595896" y="195273"/>
                    <a:pt x="595896" y="195273"/>
                  </a:cubicBezTo>
                  <a:cubicBezTo>
                    <a:pt x="599676" y="196532"/>
                    <a:pt x="603455" y="196532"/>
                    <a:pt x="605975" y="197792"/>
                  </a:cubicBezTo>
                  <a:cubicBezTo>
                    <a:pt x="609755" y="199052"/>
                    <a:pt x="612274" y="200312"/>
                    <a:pt x="616054" y="202831"/>
                  </a:cubicBezTo>
                  <a:lnTo>
                    <a:pt x="616054" y="202831"/>
                  </a:lnTo>
                  <a:cubicBezTo>
                    <a:pt x="617313" y="204091"/>
                    <a:pt x="619833" y="205351"/>
                    <a:pt x="621093" y="206611"/>
                  </a:cubicBezTo>
                  <a:cubicBezTo>
                    <a:pt x="621093" y="206611"/>
                    <a:pt x="621093" y="206611"/>
                    <a:pt x="622353" y="206611"/>
                  </a:cubicBezTo>
                  <a:cubicBezTo>
                    <a:pt x="623613" y="207871"/>
                    <a:pt x="624872" y="207871"/>
                    <a:pt x="624872" y="209131"/>
                  </a:cubicBezTo>
                  <a:cubicBezTo>
                    <a:pt x="624872" y="209131"/>
                    <a:pt x="624872" y="209131"/>
                    <a:pt x="626132" y="210390"/>
                  </a:cubicBezTo>
                  <a:cubicBezTo>
                    <a:pt x="627392" y="211650"/>
                    <a:pt x="628652" y="212910"/>
                    <a:pt x="629912" y="214170"/>
                  </a:cubicBezTo>
                  <a:cubicBezTo>
                    <a:pt x="631172" y="215430"/>
                    <a:pt x="631172" y="216690"/>
                    <a:pt x="632431" y="217949"/>
                  </a:cubicBezTo>
                  <a:cubicBezTo>
                    <a:pt x="633691" y="220469"/>
                    <a:pt x="636211" y="224248"/>
                    <a:pt x="637471" y="228028"/>
                  </a:cubicBezTo>
                  <a:cubicBezTo>
                    <a:pt x="638730" y="230548"/>
                    <a:pt x="638730" y="233067"/>
                    <a:pt x="639990" y="235587"/>
                  </a:cubicBezTo>
                  <a:lnTo>
                    <a:pt x="639990" y="236847"/>
                  </a:lnTo>
                  <a:cubicBezTo>
                    <a:pt x="641250" y="240626"/>
                    <a:pt x="641250" y="243146"/>
                    <a:pt x="642510" y="246925"/>
                  </a:cubicBezTo>
                  <a:cubicBezTo>
                    <a:pt x="642510" y="249445"/>
                    <a:pt x="643770" y="250705"/>
                    <a:pt x="643770" y="253224"/>
                  </a:cubicBezTo>
                  <a:lnTo>
                    <a:pt x="643770" y="253224"/>
                  </a:lnTo>
                  <a:cubicBezTo>
                    <a:pt x="643770" y="254484"/>
                    <a:pt x="643770" y="255744"/>
                    <a:pt x="643770" y="257004"/>
                  </a:cubicBezTo>
                  <a:cubicBezTo>
                    <a:pt x="645029" y="262043"/>
                    <a:pt x="646289" y="265823"/>
                    <a:pt x="647549" y="270862"/>
                  </a:cubicBezTo>
                  <a:cubicBezTo>
                    <a:pt x="647549" y="272122"/>
                    <a:pt x="648809" y="274641"/>
                    <a:pt x="648809" y="275901"/>
                  </a:cubicBezTo>
                  <a:lnTo>
                    <a:pt x="648809" y="275901"/>
                  </a:lnTo>
                  <a:cubicBezTo>
                    <a:pt x="650069" y="278421"/>
                    <a:pt x="650069" y="282200"/>
                    <a:pt x="651329" y="284720"/>
                  </a:cubicBezTo>
                  <a:cubicBezTo>
                    <a:pt x="652589" y="288499"/>
                    <a:pt x="653848" y="293539"/>
                    <a:pt x="655108" y="297318"/>
                  </a:cubicBezTo>
                  <a:cubicBezTo>
                    <a:pt x="656368" y="302358"/>
                    <a:pt x="658888" y="306137"/>
                    <a:pt x="660148" y="311176"/>
                  </a:cubicBezTo>
                  <a:cubicBezTo>
                    <a:pt x="660148" y="312436"/>
                    <a:pt x="661407" y="313696"/>
                    <a:pt x="661407" y="314956"/>
                  </a:cubicBezTo>
                  <a:cubicBezTo>
                    <a:pt x="662667" y="317475"/>
                    <a:pt x="663927" y="318735"/>
                    <a:pt x="665187" y="321255"/>
                  </a:cubicBezTo>
                  <a:cubicBezTo>
                    <a:pt x="665187" y="322515"/>
                    <a:pt x="666447" y="323775"/>
                    <a:pt x="666447" y="325034"/>
                  </a:cubicBezTo>
                  <a:cubicBezTo>
                    <a:pt x="667706" y="327554"/>
                    <a:pt x="668966" y="330074"/>
                    <a:pt x="670226" y="331333"/>
                  </a:cubicBezTo>
                  <a:cubicBezTo>
                    <a:pt x="674005" y="337633"/>
                    <a:pt x="677785" y="345192"/>
                    <a:pt x="681564" y="351491"/>
                  </a:cubicBezTo>
                  <a:cubicBezTo>
                    <a:pt x="681564" y="352751"/>
                    <a:pt x="682824" y="352751"/>
                    <a:pt x="682824" y="354010"/>
                  </a:cubicBezTo>
                  <a:cubicBezTo>
                    <a:pt x="686604" y="359050"/>
                    <a:pt x="690383" y="364089"/>
                    <a:pt x="694163" y="369128"/>
                  </a:cubicBezTo>
                  <a:cubicBezTo>
                    <a:pt x="694163" y="369128"/>
                    <a:pt x="695422" y="370388"/>
                    <a:pt x="695422" y="370388"/>
                  </a:cubicBezTo>
                  <a:cubicBezTo>
                    <a:pt x="695422" y="371648"/>
                    <a:pt x="696682" y="371648"/>
                    <a:pt x="696682" y="372908"/>
                  </a:cubicBezTo>
                  <a:cubicBezTo>
                    <a:pt x="696682" y="370388"/>
                    <a:pt x="696682" y="367868"/>
                    <a:pt x="696682" y="365349"/>
                  </a:cubicBezTo>
                  <a:cubicBezTo>
                    <a:pt x="696682" y="364089"/>
                    <a:pt x="696682" y="362829"/>
                    <a:pt x="696682" y="361569"/>
                  </a:cubicBezTo>
                  <a:cubicBezTo>
                    <a:pt x="696682" y="360309"/>
                    <a:pt x="696682" y="359050"/>
                    <a:pt x="696682" y="357790"/>
                  </a:cubicBezTo>
                  <a:lnTo>
                    <a:pt x="696682" y="356530"/>
                  </a:lnTo>
                  <a:cubicBezTo>
                    <a:pt x="696682" y="355270"/>
                    <a:pt x="696682" y="352751"/>
                    <a:pt x="696682" y="351491"/>
                  </a:cubicBezTo>
                  <a:lnTo>
                    <a:pt x="696682" y="351491"/>
                  </a:lnTo>
                  <a:cubicBezTo>
                    <a:pt x="696682" y="348971"/>
                    <a:pt x="696682" y="345192"/>
                    <a:pt x="696682" y="342672"/>
                  </a:cubicBezTo>
                  <a:lnTo>
                    <a:pt x="696682" y="341412"/>
                  </a:lnTo>
                  <a:lnTo>
                    <a:pt x="696682" y="341412"/>
                  </a:lnTo>
                  <a:cubicBezTo>
                    <a:pt x="696682" y="338892"/>
                    <a:pt x="696682" y="337633"/>
                    <a:pt x="696682" y="335113"/>
                  </a:cubicBezTo>
                  <a:lnTo>
                    <a:pt x="696682" y="333853"/>
                  </a:lnTo>
                  <a:cubicBezTo>
                    <a:pt x="696682" y="332593"/>
                    <a:pt x="696682" y="332593"/>
                    <a:pt x="696682" y="331333"/>
                  </a:cubicBezTo>
                  <a:cubicBezTo>
                    <a:pt x="696682" y="330074"/>
                    <a:pt x="696682" y="328814"/>
                    <a:pt x="696682" y="327554"/>
                  </a:cubicBezTo>
                  <a:lnTo>
                    <a:pt x="696682" y="326294"/>
                  </a:lnTo>
                  <a:cubicBezTo>
                    <a:pt x="696682" y="325034"/>
                    <a:pt x="696682" y="322515"/>
                    <a:pt x="696682" y="321255"/>
                  </a:cubicBezTo>
                  <a:cubicBezTo>
                    <a:pt x="696682" y="319995"/>
                    <a:pt x="696682" y="317475"/>
                    <a:pt x="696682" y="316216"/>
                  </a:cubicBezTo>
                  <a:lnTo>
                    <a:pt x="696682" y="314956"/>
                  </a:lnTo>
                  <a:lnTo>
                    <a:pt x="696682" y="313696"/>
                  </a:lnTo>
                  <a:cubicBezTo>
                    <a:pt x="696682" y="312436"/>
                    <a:pt x="696682" y="311176"/>
                    <a:pt x="696682" y="309916"/>
                  </a:cubicBezTo>
                  <a:cubicBezTo>
                    <a:pt x="696682" y="306137"/>
                    <a:pt x="696682" y="302358"/>
                    <a:pt x="696682" y="299838"/>
                  </a:cubicBezTo>
                  <a:cubicBezTo>
                    <a:pt x="696682" y="298578"/>
                    <a:pt x="696682" y="297318"/>
                    <a:pt x="696682" y="296058"/>
                  </a:cubicBezTo>
                  <a:cubicBezTo>
                    <a:pt x="696682" y="294799"/>
                    <a:pt x="696682" y="293539"/>
                    <a:pt x="696682" y="292279"/>
                  </a:cubicBezTo>
                  <a:cubicBezTo>
                    <a:pt x="696682" y="289759"/>
                    <a:pt x="696682" y="285980"/>
                    <a:pt x="696682" y="283460"/>
                  </a:cubicBezTo>
                  <a:cubicBezTo>
                    <a:pt x="696682" y="280940"/>
                    <a:pt x="696682" y="278421"/>
                    <a:pt x="696682" y="274641"/>
                  </a:cubicBezTo>
                  <a:cubicBezTo>
                    <a:pt x="696682" y="274641"/>
                    <a:pt x="696682" y="273382"/>
                    <a:pt x="696682" y="273382"/>
                  </a:cubicBezTo>
                  <a:lnTo>
                    <a:pt x="696682" y="272122"/>
                  </a:lnTo>
                  <a:cubicBezTo>
                    <a:pt x="696682" y="270862"/>
                    <a:pt x="696682" y="269602"/>
                    <a:pt x="696682" y="269602"/>
                  </a:cubicBezTo>
                  <a:cubicBezTo>
                    <a:pt x="696682" y="267083"/>
                    <a:pt x="696682" y="265823"/>
                    <a:pt x="696682" y="263303"/>
                  </a:cubicBezTo>
                  <a:lnTo>
                    <a:pt x="696682" y="263303"/>
                  </a:lnTo>
                  <a:cubicBezTo>
                    <a:pt x="696682" y="262043"/>
                    <a:pt x="696682" y="260783"/>
                    <a:pt x="696682" y="259523"/>
                  </a:cubicBezTo>
                  <a:cubicBezTo>
                    <a:pt x="696682" y="257004"/>
                    <a:pt x="696682" y="253224"/>
                    <a:pt x="696682" y="249445"/>
                  </a:cubicBezTo>
                  <a:cubicBezTo>
                    <a:pt x="696682" y="248185"/>
                    <a:pt x="696682" y="245666"/>
                    <a:pt x="696682" y="244406"/>
                  </a:cubicBezTo>
                  <a:cubicBezTo>
                    <a:pt x="696682" y="243146"/>
                    <a:pt x="696682" y="241886"/>
                    <a:pt x="696682" y="240626"/>
                  </a:cubicBezTo>
                  <a:lnTo>
                    <a:pt x="696682" y="240626"/>
                  </a:lnTo>
                  <a:lnTo>
                    <a:pt x="696682" y="240626"/>
                  </a:lnTo>
                  <a:cubicBezTo>
                    <a:pt x="696682" y="239366"/>
                    <a:pt x="696682" y="236847"/>
                    <a:pt x="696682" y="235587"/>
                  </a:cubicBezTo>
                  <a:cubicBezTo>
                    <a:pt x="696682" y="235587"/>
                    <a:pt x="696682" y="234327"/>
                    <a:pt x="696682" y="234327"/>
                  </a:cubicBezTo>
                  <a:lnTo>
                    <a:pt x="696682" y="233067"/>
                  </a:lnTo>
                  <a:cubicBezTo>
                    <a:pt x="696682" y="233067"/>
                    <a:pt x="696682" y="233067"/>
                    <a:pt x="696682" y="233067"/>
                  </a:cubicBezTo>
                  <a:cubicBezTo>
                    <a:pt x="696682" y="231807"/>
                    <a:pt x="696682" y="231807"/>
                    <a:pt x="697942" y="230548"/>
                  </a:cubicBezTo>
                  <a:lnTo>
                    <a:pt x="697942" y="229288"/>
                  </a:lnTo>
                  <a:cubicBezTo>
                    <a:pt x="697942" y="228028"/>
                    <a:pt x="697942" y="226768"/>
                    <a:pt x="699202" y="225508"/>
                  </a:cubicBezTo>
                  <a:cubicBezTo>
                    <a:pt x="699202" y="225508"/>
                    <a:pt x="699202" y="224248"/>
                    <a:pt x="699202" y="224248"/>
                  </a:cubicBezTo>
                  <a:cubicBezTo>
                    <a:pt x="699202" y="222989"/>
                    <a:pt x="699202" y="221729"/>
                    <a:pt x="700462" y="221729"/>
                  </a:cubicBezTo>
                  <a:cubicBezTo>
                    <a:pt x="700462" y="221729"/>
                    <a:pt x="701722" y="221729"/>
                    <a:pt x="701722" y="221729"/>
                  </a:cubicBezTo>
                  <a:cubicBezTo>
                    <a:pt x="701722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4241" y="222989"/>
                  </a:cubicBezTo>
                  <a:lnTo>
                    <a:pt x="704241" y="222989"/>
                  </a:lnTo>
                  <a:lnTo>
                    <a:pt x="704241" y="222989"/>
                  </a:lnTo>
                  <a:cubicBezTo>
                    <a:pt x="705501" y="222989"/>
                    <a:pt x="706761" y="224248"/>
                    <a:pt x="706761" y="225508"/>
                  </a:cubicBezTo>
                  <a:cubicBezTo>
                    <a:pt x="709281" y="233067"/>
                    <a:pt x="711800" y="239366"/>
                    <a:pt x="715580" y="244406"/>
                  </a:cubicBezTo>
                  <a:cubicBezTo>
                    <a:pt x="716840" y="245666"/>
                    <a:pt x="716840" y="246925"/>
                    <a:pt x="718099" y="248185"/>
                  </a:cubicBezTo>
                  <a:cubicBezTo>
                    <a:pt x="718099" y="249445"/>
                    <a:pt x="719359" y="249445"/>
                    <a:pt x="719359" y="250705"/>
                  </a:cubicBezTo>
                  <a:lnTo>
                    <a:pt x="719359" y="250705"/>
                  </a:lnTo>
                  <a:cubicBezTo>
                    <a:pt x="720619" y="253224"/>
                    <a:pt x="721879" y="255744"/>
                    <a:pt x="723139" y="258264"/>
                  </a:cubicBezTo>
                  <a:lnTo>
                    <a:pt x="724398" y="260783"/>
                  </a:lnTo>
                  <a:cubicBezTo>
                    <a:pt x="725658" y="263303"/>
                    <a:pt x="726918" y="264563"/>
                    <a:pt x="728178" y="267083"/>
                  </a:cubicBezTo>
                  <a:lnTo>
                    <a:pt x="729438" y="268342"/>
                  </a:lnTo>
                  <a:cubicBezTo>
                    <a:pt x="730698" y="270862"/>
                    <a:pt x="731957" y="272122"/>
                    <a:pt x="733217" y="274641"/>
                  </a:cubicBezTo>
                  <a:lnTo>
                    <a:pt x="735737" y="278421"/>
                  </a:lnTo>
                  <a:cubicBezTo>
                    <a:pt x="739516" y="284720"/>
                    <a:pt x="743296" y="291019"/>
                    <a:pt x="745815" y="297318"/>
                  </a:cubicBezTo>
                  <a:cubicBezTo>
                    <a:pt x="747075" y="299838"/>
                    <a:pt x="748335" y="301098"/>
                    <a:pt x="748335" y="303617"/>
                  </a:cubicBezTo>
                  <a:cubicBezTo>
                    <a:pt x="749595" y="304877"/>
                    <a:pt x="749595" y="307397"/>
                    <a:pt x="750855" y="308657"/>
                  </a:cubicBezTo>
                  <a:cubicBezTo>
                    <a:pt x="752114" y="309916"/>
                    <a:pt x="752114" y="311176"/>
                    <a:pt x="753374" y="313696"/>
                  </a:cubicBezTo>
                  <a:cubicBezTo>
                    <a:pt x="754634" y="314956"/>
                    <a:pt x="754634" y="317475"/>
                    <a:pt x="755894" y="318735"/>
                  </a:cubicBezTo>
                  <a:lnTo>
                    <a:pt x="755894" y="318735"/>
                  </a:lnTo>
                  <a:lnTo>
                    <a:pt x="755894" y="318735"/>
                  </a:lnTo>
                  <a:cubicBezTo>
                    <a:pt x="757154" y="321255"/>
                    <a:pt x="758414" y="322515"/>
                    <a:pt x="758414" y="325034"/>
                  </a:cubicBezTo>
                  <a:lnTo>
                    <a:pt x="758414" y="325034"/>
                  </a:lnTo>
                  <a:cubicBezTo>
                    <a:pt x="758414" y="325034"/>
                    <a:pt x="758414" y="325034"/>
                    <a:pt x="758414" y="325034"/>
                  </a:cubicBezTo>
                  <a:lnTo>
                    <a:pt x="758414" y="325034"/>
                  </a:lnTo>
                  <a:cubicBezTo>
                    <a:pt x="759673" y="327554"/>
                    <a:pt x="760933" y="330074"/>
                    <a:pt x="762193" y="332593"/>
                  </a:cubicBezTo>
                  <a:cubicBezTo>
                    <a:pt x="763453" y="336373"/>
                    <a:pt x="765973" y="340152"/>
                    <a:pt x="767232" y="343932"/>
                  </a:cubicBezTo>
                  <a:cubicBezTo>
                    <a:pt x="768492" y="347711"/>
                    <a:pt x="769752" y="350231"/>
                    <a:pt x="771012" y="354010"/>
                  </a:cubicBezTo>
                  <a:lnTo>
                    <a:pt x="771012" y="355270"/>
                  </a:lnTo>
                  <a:cubicBezTo>
                    <a:pt x="772272" y="357790"/>
                    <a:pt x="773532" y="361569"/>
                    <a:pt x="774791" y="365349"/>
                  </a:cubicBezTo>
                  <a:lnTo>
                    <a:pt x="776051" y="367868"/>
                  </a:lnTo>
                  <a:cubicBezTo>
                    <a:pt x="777311" y="369128"/>
                    <a:pt x="777311" y="371648"/>
                    <a:pt x="778571" y="372908"/>
                  </a:cubicBezTo>
                  <a:cubicBezTo>
                    <a:pt x="778571" y="371648"/>
                    <a:pt x="778571" y="370388"/>
                    <a:pt x="778571" y="369128"/>
                  </a:cubicBezTo>
                  <a:cubicBezTo>
                    <a:pt x="778571" y="370388"/>
                    <a:pt x="778571" y="371648"/>
                    <a:pt x="778571" y="372908"/>
                  </a:cubicBezTo>
                  <a:cubicBezTo>
                    <a:pt x="778571" y="371648"/>
                    <a:pt x="778571" y="370388"/>
                    <a:pt x="777311" y="367868"/>
                  </a:cubicBezTo>
                  <a:cubicBezTo>
                    <a:pt x="777311" y="367868"/>
                    <a:pt x="777311" y="367868"/>
                    <a:pt x="777311" y="367868"/>
                  </a:cubicBezTo>
                  <a:cubicBezTo>
                    <a:pt x="777311" y="36786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lnTo>
                    <a:pt x="777311" y="362829"/>
                  </a:lnTo>
                  <a:cubicBezTo>
                    <a:pt x="777311" y="362829"/>
                    <a:pt x="777311" y="362829"/>
                    <a:pt x="777311" y="364089"/>
                  </a:cubicBezTo>
                  <a:cubicBezTo>
                    <a:pt x="777311" y="362829"/>
                    <a:pt x="777311" y="360309"/>
                    <a:pt x="776051" y="359050"/>
                  </a:cubicBezTo>
                  <a:cubicBezTo>
                    <a:pt x="774791" y="355270"/>
                    <a:pt x="774791" y="351491"/>
                    <a:pt x="773532" y="346451"/>
                  </a:cubicBezTo>
                  <a:cubicBezTo>
                    <a:pt x="772272" y="338892"/>
                    <a:pt x="771012" y="331333"/>
                    <a:pt x="769752" y="323775"/>
                  </a:cubicBezTo>
                  <a:cubicBezTo>
                    <a:pt x="769752" y="323775"/>
                    <a:pt x="769752" y="323775"/>
                    <a:pt x="769752" y="323775"/>
                  </a:cubicBezTo>
                  <a:cubicBezTo>
                    <a:pt x="768492" y="316216"/>
                    <a:pt x="767232" y="308657"/>
                    <a:pt x="765973" y="299838"/>
                  </a:cubicBezTo>
                  <a:cubicBezTo>
                    <a:pt x="764713" y="288499"/>
                    <a:pt x="763453" y="277161"/>
                    <a:pt x="762193" y="265823"/>
                  </a:cubicBezTo>
                  <a:cubicBezTo>
                    <a:pt x="762193" y="265823"/>
                    <a:pt x="762193" y="265823"/>
                    <a:pt x="762193" y="265823"/>
                  </a:cubicBezTo>
                  <a:lnTo>
                    <a:pt x="760933" y="262043"/>
                  </a:lnTo>
                  <a:cubicBezTo>
                    <a:pt x="759673" y="258264"/>
                    <a:pt x="759673" y="254484"/>
                    <a:pt x="758414" y="250705"/>
                  </a:cubicBezTo>
                  <a:cubicBezTo>
                    <a:pt x="757154" y="245666"/>
                    <a:pt x="755894" y="241886"/>
                    <a:pt x="754634" y="236847"/>
                  </a:cubicBezTo>
                  <a:cubicBezTo>
                    <a:pt x="753374" y="233067"/>
                    <a:pt x="752114" y="229288"/>
                    <a:pt x="750855" y="225508"/>
                  </a:cubicBezTo>
                  <a:lnTo>
                    <a:pt x="750855" y="221729"/>
                  </a:lnTo>
                  <a:lnTo>
                    <a:pt x="750855" y="217949"/>
                  </a:lnTo>
                  <a:cubicBezTo>
                    <a:pt x="750855" y="212910"/>
                    <a:pt x="750855" y="207871"/>
                    <a:pt x="749595" y="202831"/>
                  </a:cubicBezTo>
                  <a:lnTo>
                    <a:pt x="749595" y="201572"/>
                  </a:lnTo>
                  <a:cubicBezTo>
                    <a:pt x="749595" y="200312"/>
                    <a:pt x="749595" y="199052"/>
                    <a:pt x="748335" y="197792"/>
                  </a:cubicBezTo>
                  <a:lnTo>
                    <a:pt x="748335" y="197792"/>
                  </a:lnTo>
                  <a:lnTo>
                    <a:pt x="748335" y="197792"/>
                  </a:lnTo>
                  <a:cubicBezTo>
                    <a:pt x="747075" y="191493"/>
                    <a:pt x="745815" y="185194"/>
                    <a:pt x="743296" y="178895"/>
                  </a:cubicBezTo>
                  <a:cubicBezTo>
                    <a:pt x="742036" y="172596"/>
                    <a:pt x="739516" y="166297"/>
                    <a:pt x="736997" y="158738"/>
                  </a:cubicBezTo>
                  <a:cubicBezTo>
                    <a:pt x="735737" y="156218"/>
                    <a:pt x="735737" y="154958"/>
                    <a:pt x="734477" y="152439"/>
                  </a:cubicBezTo>
                  <a:cubicBezTo>
                    <a:pt x="733217" y="147399"/>
                    <a:pt x="730698" y="142360"/>
                    <a:pt x="729438" y="137321"/>
                  </a:cubicBezTo>
                  <a:cubicBezTo>
                    <a:pt x="726918" y="131022"/>
                    <a:pt x="724398" y="124722"/>
                    <a:pt x="721879" y="118423"/>
                  </a:cubicBezTo>
                  <a:lnTo>
                    <a:pt x="720619" y="117163"/>
                  </a:lnTo>
                  <a:cubicBezTo>
                    <a:pt x="719359" y="114644"/>
                    <a:pt x="718099" y="113384"/>
                    <a:pt x="718099" y="110864"/>
                  </a:cubicBezTo>
                  <a:cubicBezTo>
                    <a:pt x="716840" y="107085"/>
                    <a:pt x="714320" y="103305"/>
                    <a:pt x="713060" y="99526"/>
                  </a:cubicBezTo>
                  <a:lnTo>
                    <a:pt x="713060" y="98266"/>
                  </a:lnTo>
                  <a:cubicBezTo>
                    <a:pt x="710540" y="91967"/>
                    <a:pt x="708021" y="84408"/>
                    <a:pt x="702981" y="79369"/>
                  </a:cubicBezTo>
                  <a:cubicBezTo>
                    <a:pt x="700462" y="75589"/>
                    <a:pt x="697942" y="73070"/>
                    <a:pt x="695422" y="70550"/>
                  </a:cubicBezTo>
                  <a:cubicBezTo>
                    <a:pt x="692903" y="68030"/>
                    <a:pt x="690383" y="65511"/>
                    <a:pt x="687864" y="62991"/>
                  </a:cubicBezTo>
                  <a:lnTo>
                    <a:pt x="686604" y="61731"/>
                  </a:lnTo>
                  <a:cubicBezTo>
                    <a:pt x="684084" y="59212"/>
                    <a:pt x="681564" y="56692"/>
                    <a:pt x="679045" y="54172"/>
                  </a:cubicBezTo>
                  <a:cubicBezTo>
                    <a:pt x="676525" y="51653"/>
                    <a:pt x="672746" y="49133"/>
                    <a:pt x="670226" y="47873"/>
                  </a:cubicBezTo>
                  <a:cubicBezTo>
                    <a:pt x="666447" y="45354"/>
                    <a:pt x="662667" y="42834"/>
                    <a:pt x="660148" y="41574"/>
                  </a:cubicBezTo>
                  <a:cubicBezTo>
                    <a:pt x="656368" y="40314"/>
                    <a:pt x="652589" y="37795"/>
                    <a:pt x="650069" y="36535"/>
                  </a:cubicBezTo>
                  <a:lnTo>
                    <a:pt x="650069" y="36535"/>
                  </a:lnTo>
                  <a:cubicBezTo>
                    <a:pt x="647549" y="35275"/>
                    <a:pt x="643770" y="34015"/>
                    <a:pt x="641250" y="32755"/>
                  </a:cubicBezTo>
                  <a:cubicBezTo>
                    <a:pt x="639990" y="32755"/>
                    <a:pt x="638730" y="31496"/>
                    <a:pt x="637471" y="31496"/>
                  </a:cubicBezTo>
                  <a:cubicBezTo>
                    <a:pt x="634951" y="30236"/>
                    <a:pt x="633691" y="30236"/>
                    <a:pt x="631172" y="28976"/>
                  </a:cubicBezTo>
                  <a:lnTo>
                    <a:pt x="628652" y="27716"/>
                  </a:lnTo>
                  <a:cubicBezTo>
                    <a:pt x="628652" y="27716"/>
                    <a:pt x="628652" y="27716"/>
                    <a:pt x="627392" y="27716"/>
                  </a:cubicBezTo>
                  <a:cubicBezTo>
                    <a:pt x="626132" y="26456"/>
                    <a:pt x="624872" y="26456"/>
                    <a:pt x="622353" y="25196"/>
                  </a:cubicBezTo>
                  <a:cubicBezTo>
                    <a:pt x="618573" y="23937"/>
                    <a:pt x="613534" y="23937"/>
                    <a:pt x="609755" y="22677"/>
                  </a:cubicBezTo>
                  <a:cubicBezTo>
                    <a:pt x="604715" y="21417"/>
                    <a:pt x="599676" y="20157"/>
                    <a:pt x="595896" y="18897"/>
                  </a:cubicBezTo>
                  <a:lnTo>
                    <a:pt x="595896" y="18897"/>
                  </a:lnTo>
                  <a:lnTo>
                    <a:pt x="590857" y="17637"/>
                  </a:lnTo>
                  <a:cubicBezTo>
                    <a:pt x="585818" y="16378"/>
                    <a:pt x="579519" y="15118"/>
                    <a:pt x="574480" y="12598"/>
                  </a:cubicBezTo>
                  <a:cubicBezTo>
                    <a:pt x="570700" y="11338"/>
                    <a:pt x="565661" y="10078"/>
                    <a:pt x="561881" y="8819"/>
                  </a:cubicBezTo>
                  <a:cubicBezTo>
                    <a:pt x="558102" y="7559"/>
                    <a:pt x="555582" y="6299"/>
                    <a:pt x="551803" y="6299"/>
                  </a:cubicBezTo>
                  <a:lnTo>
                    <a:pt x="550543" y="6299"/>
                  </a:lnTo>
                  <a:cubicBezTo>
                    <a:pt x="546763" y="5039"/>
                    <a:pt x="544244" y="3779"/>
                    <a:pt x="540464" y="3779"/>
                  </a:cubicBezTo>
                  <a:cubicBezTo>
                    <a:pt x="537945" y="3779"/>
                    <a:pt x="535425" y="2520"/>
                    <a:pt x="534165" y="2520"/>
                  </a:cubicBezTo>
                  <a:cubicBezTo>
                    <a:pt x="532905" y="2520"/>
                    <a:pt x="531645" y="2520"/>
                    <a:pt x="530386" y="1260"/>
                  </a:cubicBezTo>
                  <a:cubicBezTo>
                    <a:pt x="529126" y="1260"/>
                    <a:pt x="527866" y="126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37945" y="13858"/>
                    <a:pt x="537945" y="15118"/>
                    <a:pt x="537945" y="16378"/>
                  </a:cubicBezTo>
                  <a:close/>
                  <a:moveTo>
                    <a:pt x="162517" y="388025"/>
                  </a:moveTo>
                  <a:lnTo>
                    <a:pt x="162517" y="388025"/>
                  </a:lnTo>
                  <a:lnTo>
                    <a:pt x="162517" y="388025"/>
                  </a:lnTo>
                  <a:lnTo>
                    <a:pt x="162517" y="388025"/>
                  </a:lnTo>
                  <a:close/>
                  <a:moveTo>
                    <a:pt x="354010" y="725658"/>
                  </a:moveTo>
                  <a:cubicBezTo>
                    <a:pt x="352751" y="725658"/>
                    <a:pt x="352751" y="726918"/>
                    <a:pt x="351491" y="726918"/>
                  </a:cubicBezTo>
                  <a:cubicBezTo>
                    <a:pt x="352751" y="725658"/>
                    <a:pt x="354010" y="725658"/>
                    <a:pt x="354010" y="72565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/>
          </p:nvSpPr>
          <p:spPr>
            <a:xfrm>
              <a:off x="8357259" y="3836489"/>
              <a:ext cx="231669" cy="497660"/>
            </a:xfrm>
            <a:custGeom>
              <a:avLst/>
              <a:gdLst>
                <a:gd name="connsiteX0" fmla="*/ 313696 w 340152"/>
                <a:gd name="connsiteY0" fmla="*/ 645030 h 730697"/>
                <a:gd name="connsiteX1" fmla="*/ 279681 w 340152"/>
                <a:gd name="connsiteY1" fmla="*/ 495110 h 730697"/>
                <a:gd name="connsiteX2" fmla="*/ 269602 w 340152"/>
                <a:gd name="connsiteY2" fmla="*/ 479993 h 730697"/>
                <a:gd name="connsiteX3" fmla="*/ 269602 w 340152"/>
                <a:gd name="connsiteY3" fmla="*/ 478733 h 730697"/>
                <a:gd name="connsiteX4" fmla="*/ 268342 w 340152"/>
                <a:gd name="connsiteY4" fmla="*/ 477473 h 730697"/>
                <a:gd name="connsiteX5" fmla="*/ 268342 w 340152"/>
                <a:gd name="connsiteY5" fmla="*/ 477473 h 730697"/>
                <a:gd name="connsiteX6" fmla="*/ 263303 w 340152"/>
                <a:gd name="connsiteY6" fmla="*/ 469914 h 730697"/>
                <a:gd name="connsiteX7" fmla="*/ 258264 w 340152"/>
                <a:gd name="connsiteY7" fmla="*/ 459836 h 730697"/>
                <a:gd name="connsiteX8" fmla="*/ 249445 w 340152"/>
                <a:gd name="connsiteY8" fmla="*/ 440938 h 730697"/>
                <a:gd name="connsiteX9" fmla="*/ 248185 w 340152"/>
                <a:gd name="connsiteY9" fmla="*/ 438418 h 730697"/>
                <a:gd name="connsiteX10" fmla="*/ 244406 w 340152"/>
                <a:gd name="connsiteY10" fmla="*/ 430860 h 730697"/>
                <a:gd name="connsiteX11" fmla="*/ 240626 w 340152"/>
                <a:gd name="connsiteY11" fmla="*/ 423301 h 730697"/>
                <a:gd name="connsiteX12" fmla="*/ 239366 w 340152"/>
                <a:gd name="connsiteY12" fmla="*/ 420781 h 730697"/>
                <a:gd name="connsiteX13" fmla="*/ 234327 w 340152"/>
                <a:gd name="connsiteY13" fmla="*/ 410702 h 730697"/>
                <a:gd name="connsiteX14" fmla="*/ 231808 w 340152"/>
                <a:gd name="connsiteY14" fmla="*/ 404403 h 730697"/>
                <a:gd name="connsiteX15" fmla="*/ 231808 w 340152"/>
                <a:gd name="connsiteY15" fmla="*/ 404403 h 730697"/>
                <a:gd name="connsiteX16" fmla="*/ 230548 w 340152"/>
                <a:gd name="connsiteY16" fmla="*/ 401884 h 730697"/>
                <a:gd name="connsiteX17" fmla="*/ 222989 w 340152"/>
                <a:gd name="connsiteY17" fmla="*/ 381726 h 730697"/>
                <a:gd name="connsiteX18" fmla="*/ 216690 w 340152"/>
                <a:gd name="connsiteY18" fmla="*/ 361569 h 730697"/>
                <a:gd name="connsiteX19" fmla="*/ 214170 w 340152"/>
                <a:gd name="connsiteY19" fmla="*/ 352751 h 730697"/>
                <a:gd name="connsiteX20" fmla="*/ 214170 w 340152"/>
                <a:gd name="connsiteY20" fmla="*/ 351491 h 730697"/>
                <a:gd name="connsiteX21" fmla="*/ 212910 w 340152"/>
                <a:gd name="connsiteY21" fmla="*/ 345192 h 730697"/>
                <a:gd name="connsiteX22" fmla="*/ 212910 w 340152"/>
                <a:gd name="connsiteY22" fmla="*/ 345192 h 730697"/>
                <a:gd name="connsiteX23" fmla="*/ 211650 w 340152"/>
                <a:gd name="connsiteY23" fmla="*/ 342672 h 730697"/>
                <a:gd name="connsiteX24" fmla="*/ 207871 w 340152"/>
                <a:gd name="connsiteY24" fmla="*/ 322515 h 730697"/>
                <a:gd name="connsiteX25" fmla="*/ 207871 w 340152"/>
                <a:gd name="connsiteY25" fmla="*/ 321255 h 730697"/>
                <a:gd name="connsiteX26" fmla="*/ 206611 w 340152"/>
                <a:gd name="connsiteY26" fmla="*/ 316216 h 730697"/>
                <a:gd name="connsiteX27" fmla="*/ 205351 w 340152"/>
                <a:gd name="connsiteY27" fmla="*/ 311176 h 730697"/>
                <a:gd name="connsiteX28" fmla="*/ 204092 w 340152"/>
                <a:gd name="connsiteY28" fmla="*/ 302358 h 730697"/>
                <a:gd name="connsiteX29" fmla="*/ 204092 w 340152"/>
                <a:gd name="connsiteY29" fmla="*/ 301098 h 730697"/>
                <a:gd name="connsiteX30" fmla="*/ 204092 w 340152"/>
                <a:gd name="connsiteY30" fmla="*/ 297318 h 730697"/>
                <a:gd name="connsiteX31" fmla="*/ 204092 w 340152"/>
                <a:gd name="connsiteY31" fmla="*/ 296058 h 730697"/>
                <a:gd name="connsiteX32" fmla="*/ 204092 w 340152"/>
                <a:gd name="connsiteY32" fmla="*/ 294799 h 730697"/>
                <a:gd name="connsiteX33" fmla="*/ 204092 w 340152"/>
                <a:gd name="connsiteY33" fmla="*/ 289759 h 730697"/>
                <a:gd name="connsiteX34" fmla="*/ 204092 w 340152"/>
                <a:gd name="connsiteY34" fmla="*/ 283460 h 730697"/>
                <a:gd name="connsiteX35" fmla="*/ 204092 w 340152"/>
                <a:gd name="connsiteY35" fmla="*/ 279681 h 730697"/>
                <a:gd name="connsiteX36" fmla="*/ 204092 w 340152"/>
                <a:gd name="connsiteY36" fmla="*/ 268342 h 730697"/>
                <a:gd name="connsiteX37" fmla="*/ 204092 w 340152"/>
                <a:gd name="connsiteY37" fmla="*/ 264563 h 730697"/>
                <a:gd name="connsiteX38" fmla="*/ 204092 w 340152"/>
                <a:gd name="connsiteY38" fmla="*/ 263303 h 730697"/>
                <a:gd name="connsiteX39" fmla="*/ 204092 w 340152"/>
                <a:gd name="connsiteY39" fmla="*/ 259523 h 730697"/>
                <a:gd name="connsiteX40" fmla="*/ 204092 w 340152"/>
                <a:gd name="connsiteY40" fmla="*/ 259523 h 730697"/>
                <a:gd name="connsiteX41" fmla="*/ 204092 w 340152"/>
                <a:gd name="connsiteY41" fmla="*/ 257004 h 730697"/>
                <a:gd name="connsiteX42" fmla="*/ 204092 w 340152"/>
                <a:gd name="connsiteY42" fmla="*/ 257004 h 730697"/>
                <a:gd name="connsiteX43" fmla="*/ 204092 w 340152"/>
                <a:gd name="connsiteY43" fmla="*/ 257004 h 730697"/>
                <a:gd name="connsiteX44" fmla="*/ 204092 w 340152"/>
                <a:gd name="connsiteY44" fmla="*/ 257004 h 730697"/>
                <a:gd name="connsiteX45" fmla="*/ 204092 w 340152"/>
                <a:gd name="connsiteY45" fmla="*/ 257004 h 730697"/>
                <a:gd name="connsiteX46" fmla="*/ 204092 w 340152"/>
                <a:gd name="connsiteY46" fmla="*/ 257004 h 730697"/>
                <a:gd name="connsiteX47" fmla="*/ 204092 w 340152"/>
                <a:gd name="connsiteY47" fmla="*/ 257004 h 730697"/>
                <a:gd name="connsiteX48" fmla="*/ 204092 w 340152"/>
                <a:gd name="connsiteY48" fmla="*/ 257004 h 730697"/>
                <a:gd name="connsiteX49" fmla="*/ 204092 w 340152"/>
                <a:gd name="connsiteY49" fmla="*/ 254484 h 730697"/>
                <a:gd name="connsiteX50" fmla="*/ 204092 w 340152"/>
                <a:gd name="connsiteY50" fmla="*/ 253224 h 730697"/>
                <a:gd name="connsiteX51" fmla="*/ 205351 w 340152"/>
                <a:gd name="connsiteY51" fmla="*/ 246925 h 730697"/>
                <a:gd name="connsiteX52" fmla="*/ 207871 w 340152"/>
                <a:gd name="connsiteY52" fmla="*/ 238107 h 730697"/>
                <a:gd name="connsiteX53" fmla="*/ 211650 w 340152"/>
                <a:gd name="connsiteY53" fmla="*/ 229288 h 730697"/>
                <a:gd name="connsiteX54" fmla="*/ 216690 w 340152"/>
                <a:gd name="connsiteY54" fmla="*/ 221729 h 730697"/>
                <a:gd name="connsiteX55" fmla="*/ 216690 w 340152"/>
                <a:gd name="connsiteY55" fmla="*/ 221729 h 730697"/>
                <a:gd name="connsiteX56" fmla="*/ 217949 w 340152"/>
                <a:gd name="connsiteY56" fmla="*/ 219209 h 730697"/>
                <a:gd name="connsiteX57" fmla="*/ 219209 w 340152"/>
                <a:gd name="connsiteY57" fmla="*/ 217949 h 730697"/>
                <a:gd name="connsiteX58" fmla="*/ 219209 w 340152"/>
                <a:gd name="connsiteY58" fmla="*/ 217949 h 730697"/>
                <a:gd name="connsiteX59" fmla="*/ 220469 w 340152"/>
                <a:gd name="connsiteY59" fmla="*/ 216690 h 730697"/>
                <a:gd name="connsiteX60" fmla="*/ 224249 w 340152"/>
                <a:gd name="connsiteY60" fmla="*/ 212910 h 730697"/>
                <a:gd name="connsiteX61" fmla="*/ 229288 w 340152"/>
                <a:gd name="connsiteY61" fmla="*/ 16378 h 730697"/>
                <a:gd name="connsiteX62" fmla="*/ 222989 w 340152"/>
                <a:gd name="connsiteY62" fmla="*/ 15118 h 730697"/>
                <a:gd name="connsiteX63" fmla="*/ 216690 w 340152"/>
                <a:gd name="connsiteY63" fmla="*/ 13858 h 730697"/>
                <a:gd name="connsiteX64" fmla="*/ 212910 w 340152"/>
                <a:gd name="connsiteY64" fmla="*/ 12598 h 730697"/>
                <a:gd name="connsiteX65" fmla="*/ 209131 w 340152"/>
                <a:gd name="connsiteY65" fmla="*/ 11338 h 730697"/>
                <a:gd name="connsiteX66" fmla="*/ 209131 w 340152"/>
                <a:gd name="connsiteY66" fmla="*/ 11338 h 730697"/>
                <a:gd name="connsiteX67" fmla="*/ 209131 w 340152"/>
                <a:gd name="connsiteY67" fmla="*/ 11338 h 730697"/>
                <a:gd name="connsiteX68" fmla="*/ 209131 w 340152"/>
                <a:gd name="connsiteY68" fmla="*/ 11338 h 730697"/>
                <a:gd name="connsiteX69" fmla="*/ 209131 w 340152"/>
                <a:gd name="connsiteY69" fmla="*/ 13858 h 730697"/>
                <a:gd name="connsiteX70" fmla="*/ 209131 w 340152"/>
                <a:gd name="connsiteY70" fmla="*/ 13858 h 730697"/>
                <a:gd name="connsiteX71" fmla="*/ 209131 w 340152"/>
                <a:gd name="connsiteY71" fmla="*/ 13858 h 730697"/>
                <a:gd name="connsiteX72" fmla="*/ 209131 w 340152"/>
                <a:gd name="connsiteY72" fmla="*/ 15118 h 730697"/>
                <a:gd name="connsiteX73" fmla="*/ 209131 w 340152"/>
                <a:gd name="connsiteY73" fmla="*/ 15118 h 730697"/>
                <a:gd name="connsiteX74" fmla="*/ 209131 w 340152"/>
                <a:gd name="connsiteY74" fmla="*/ 13858 h 730697"/>
                <a:gd name="connsiteX75" fmla="*/ 209131 w 340152"/>
                <a:gd name="connsiteY75" fmla="*/ 13858 h 730697"/>
                <a:gd name="connsiteX76" fmla="*/ 209131 w 340152"/>
                <a:gd name="connsiteY76" fmla="*/ 13858 h 730697"/>
                <a:gd name="connsiteX77" fmla="*/ 209131 w 340152"/>
                <a:gd name="connsiteY77" fmla="*/ 15118 h 730697"/>
                <a:gd name="connsiteX78" fmla="*/ 207871 w 340152"/>
                <a:gd name="connsiteY78" fmla="*/ 20157 h 730697"/>
                <a:gd name="connsiteX79" fmla="*/ 209131 w 340152"/>
                <a:gd name="connsiteY79" fmla="*/ 15118 h 730697"/>
                <a:gd name="connsiteX80" fmla="*/ 207871 w 340152"/>
                <a:gd name="connsiteY80" fmla="*/ 21417 h 730697"/>
                <a:gd name="connsiteX81" fmla="*/ 207871 w 340152"/>
                <a:gd name="connsiteY81" fmla="*/ 23937 h 730697"/>
                <a:gd name="connsiteX82" fmla="*/ 206611 w 340152"/>
                <a:gd name="connsiteY82" fmla="*/ 28976 h 730697"/>
                <a:gd name="connsiteX83" fmla="*/ 202832 w 340152"/>
                <a:gd name="connsiteY83" fmla="*/ 35275 h 730697"/>
                <a:gd name="connsiteX84" fmla="*/ 197792 w 340152"/>
                <a:gd name="connsiteY84" fmla="*/ 41574 h 730697"/>
                <a:gd name="connsiteX85" fmla="*/ 190233 w 340152"/>
                <a:gd name="connsiteY85" fmla="*/ 46613 h 730697"/>
                <a:gd name="connsiteX86" fmla="*/ 176375 w 340152"/>
                <a:gd name="connsiteY86" fmla="*/ 52913 h 730697"/>
                <a:gd name="connsiteX87" fmla="*/ 167557 w 340152"/>
                <a:gd name="connsiteY87" fmla="*/ 55432 h 730697"/>
                <a:gd name="connsiteX88" fmla="*/ 158738 w 340152"/>
                <a:gd name="connsiteY88" fmla="*/ 56692 h 730697"/>
                <a:gd name="connsiteX89" fmla="*/ 157478 w 340152"/>
                <a:gd name="connsiteY89" fmla="*/ 56692 h 730697"/>
                <a:gd name="connsiteX90" fmla="*/ 147399 w 340152"/>
                <a:gd name="connsiteY90" fmla="*/ 56692 h 730697"/>
                <a:gd name="connsiteX91" fmla="*/ 137321 w 340152"/>
                <a:gd name="connsiteY91" fmla="*/ 55432 h 730697"/>
                <a:gd name="connsiteX92" fmla="*/ 118424 w 340152"/>
                <a:gd name="connsiteY92" fmla="*/ 50393 h 730697"/>
                <a:gd name="connsiteX93" fmla="*/ 112124 w 340152"/>
                <a:gd name="connsiteY93" fmla="*/ 46613 h 730697"/>
                <a:gd name="connsiteX94" fmla="*/ 110864 w 340152"/>
                <a:gd name="connsiteY94" fmla="*/ 45354 h 730697"/>
                <a:gd name="connsiteX95" fmla="*/ 102046 w 340152"/>
                <a:gd name="connsiteY95" fmla="*/ 40314 h 730697"/>
                <a:gd name="connsiteX96" fmla="*/ 88188 w 340152"/>
                <a:gd name="connsiteY96" fmla="*/ 27716 h 730697"/>
                <a:gd name="connsiteX97" fmla="*/ 83148 w 340152"/>
                <a:gd name="connsiteY97" fmla="*/ 21417 h 730697"/>
                <a:gd name="connsiteX98" fmla="*/ 79369 w 340152"/>
                <a:gd name="connsiteY98" fmla="*/ 12598 h 730697"/>
                <a:gd name="connsiteX99" fmla="*/ 78109 w 340152"/>
                <a:gd name="connsiteY99" fmla="*/ 8819 h 730697"/>
                <a:gd name="connsiteX100" fmla="*/ 78109 w 340152"/>
                <a:gd name="connsiteY100" fmla="*/ 7559 h 730697"/>
                <a:gd name="connsiteX101" fmla="*/ 78109 w 340152"/>
                <a:gd name="connsiteY101" fmla="*/ 3779 h 730697"/>
                <a:gd name="connsiteX102" fmla="*/ 78109 w 340152"/>
                <a:gd name="connsiteY102" fmla="*/ 0 h 730697"/>
                <a:gd name="connsiteX103" fmla="*/ 78109 w 340152"/>
                <a:gd name="connsiteY103" fmla="*/ 0 h 730697"/>
                <a:gd name="connsiteX104" fmla="*/ 78109 w 340152"/>
                <a:gd name="connsiteY104" fmla="*/ 0 h 730697"/>
                <a:gd name="connsiteX105" fmla="*/ 78109 w 340152"/>
                <a:gd name="connsiteY105" fmla="*/ 0 h 730697"/>
                <a:gd name="connsiteX106" fmla="*/ 78109 w 340152"/>
                <a:gd name="connsiteY106" fmla="*/ 0 h 730697"/>
                <a:gd name="connsiteX107" fmla="*/ 78109 w 340152"/>
                <a:gd name="connsiteY107" fmla="*/ 0 h 730697"/>
                <a:gd name="connsiteX108" fmla="*/ 78109 w 340152"/>
                <a:gd name="connsiteY108" fmla="*/ 0 h 730697"/>
                <a:gd name="connsiteX109" fmla="*/ 78109 w 340152"/>
                <a:gd name="connsiteY109" fmla="*/ 0 h 730697"/>
                <a:gd name="connsiteX110" fmla="*/ 74330 w 340152"/>
                <a:gd name="connsiteY110" fmla="*/ 1260 h 730697"/>
                <a:gd name="connsiteX111" fmla="*/ 74330 w 340152"/>
                <a:gd name="connsiteY111" fmla="*/ 1260 h 730697"/>
                <a:gd name="connsiteX112" fmla="*/ 73070 w 340152"/>
                <a:gd name="connsiteY112" fmla="*/ 1260 h 730697"/>
                <a:gd name="connsiteX113" fmla="*/ 54172 w 340152"/>
                <a:gd name="connsiteY113" fmla="*/ 323775 h 730697"/>
                <a:gd name="connsiteX114" fmla="*/ 39055 w 340152"/>
                <a:gd name="connsiteY114" fmla="*/ 476213 h 730697"/>
                <a:gd name="connsiteX115" fmla="*/ 25196 w 340152"/>
                <a:gd name="connsiteY115" fmla="*/ 573220 h 730697"/>
                <a:gd name="connsiteX116" fmla="*/ 25196 w 340152"/>
                <a:gd name="connsiteY116" fmla="*/ 573220 h 730697"/>
                <a:gd name="connsiteX117" fmla="*/ 25196 w 340152"/>
                <a:gd name="connsiteY117" fmla="*/ 573220 h 730697"/>
                <a:gd name="connsiteX118" fmla="*/ 27716 w 340152"/>
                <a:gd name="connsiteY118" fmla="*/ 576999 h 730697"/>
                <a:gd name="connsiteX119" fmla="*/ 25196 w 340152"/>
                <a:gd name="connsiteY119" fmla="*/ 573220 h 730697"/>
                <a:gd name="connsiteX120" fmla="*/ 30236 w 340152"/>
                <a:gd name="connsiteY120" fmla="*/ 580778 h 730697"/>
                <a:gd name="connsiteX121" fmla="*/ 28976 w 340152"/>
                <a:gd name="connsiteY121" fmla="*/ 578259 h 730697"/>
                <a:gd name="connsiteX122" fmla="*/ 30236 w 340152"/>
                <a:gd name="connsiteY122" fmla="*/ 580778 h 730697"/>
                <a:gd name="connsiteX123" fmla="*/ 30236 w 340152"/>
                <a:gd name="connsiteY123" fmla="*/ 580778 h 730697"/>
                <a:gd name="connsiteX124" fmla="*/ 30236 w 340152"/>
                <a:gd name="connsiteY124" fmla="*/ 580778 h 730697"/>
                <a:gd name="connsiteX125" fmla="*/ 31496 w 340152"/>
                <a:gd name="connsiteY125" fmla="*/ 582038 h 730697"/>
                <a:gd name="connsiteX126" fmla="*/ 32755 w 340152"/>
                <a:gd name="connsiteY126" fmla="*/ 583298 h 730697"/>
                <a:gd name="connsiteX127" fmla="*/ 37795 w 340152"/>
                <a:gd name="connsiteY127" fmla="*/ 592117 h 730697"/>
                <a:gd name="connsiteX128" fmla="*/ 37795 w 340152"/>
                <a:gd name="connsiteY128" fmla="*/ 592117 h 730697"/>
                <a:gd name="connsiteX129" fmla="*/ 40314 w 340152"/>
                <a:gd name="connsiteY129" fmla="*/ 597156 h 730697"/>
                <a:gd name="connsiteX130" fmla="*/ 40314 w 340152"/>
                <a:gd name="connsiteY130" fmla="*/ 597156 h 730697"/>
                <a:gd name="connsiteX131" fmla="*/ 40314 w 340152"/>
                <a:gd name="connsiteY131" fmla="*/ 597156 h 730697"/>
                <a:gd name="connsiteX132" fmla="*/ 41574 w 340152"/>
                <a:gd name="connsiteY132" fmla="*/ 599676 h 730697"/>
                <a:gd name="connsiteX133" fmla="*/ 47873 w 340152"/>
                <a:gd name="connsiteY133" fmla="*/ 613534 h 730697"/>
                <a:gd name="connsiteX134" fmla="*/ 47873 w 340152"/>
                <a:gd name="connsiteY134" fmla="*/ 614794 h 730697"/>
                <a:gd name="connsiteX135" fmla="*/ 47873 w 340152"/>
                <a:gd name="connsiteY135" fmla="*/ 614794 h 730697"/>
                <a:gd name="connsiteX136" fmla="*/ 47873 w 340152"/>
                <a:gd name="connsiteY136" fmla="*/ 614794 h 730697"/>
                <a:gd name="connsiteX137" fmla="*/ 50393 w 340152"/>
                <a:gd name="connsiteY137" fmla="*/ 623613 h 730697"/>
                <a:gd name="connsiteX138" fmla="*/ 50393 w 340152"/>
                <a:gd name="connsiteY138" fmla="*/ 624872 h 730697"/>
                <a:gd name="connsiteX139" fmla="*/ 52913 w 340152"/>
                <a:gd name="connsiteY139" fmla="*/ 632431 h 730697"/>
                <a:gd name="connsiteX140" fmla="*/ 52913 w 340152"/>
                <a:gd name="connsiteY140" fmla="*/ 637471 h 730697"/>
                <a:gd name="connsiteX141" fmla="*/ 52913 w 340152"/>
                <a:gd name="connsiteY141" fmla="*/ 639990 h 730697"/>
                <a:gd name="connsiteX142" fmla="*/ 52913 w 340152"/>
                <a:gd name="connsiteY142" fmla="*/ 642510 h 730697"/>
                <a:gd name="connsiteX143" fmla="*/ 52913 w 340152"/>
                <a:gd name="connsiteY143" fmla="*/ 647549 h 730697"/>
                <a:gd name="connsiteX144" fmla="*/ 52913 w 340152"/>
                <a:gd name="connsiteY144" fmla="*/ 647549 h 730697"/>
                <a:gd name="connsiteX145" fmla="*/ 52913 w 340152"/>
                <a:gd name="connsiteY145" fmla="*/ 647549 h 730697"/>
                <a:gd name="connsiteX146" fmla="*/ 52913 w 340152"/>
                <a:gd name="connsiteY146" fmla="*/ 647549 h 730697"/>
                <a:gd name="connsiteX147" fmla="*/ 52913 w 340152"/>
                <a:gd name="connsiteY147" fmla="*/ 650069 h 730697"/>
                <a:gd name="connsiteX148" fmla="*/ 52913 w 340152"/>
                <a:gd name="connsiteY148" fmla="*/ 656368 h 730697"/>
                <a:gd name="connsiteX149" fmla="*/ 52913 w 340152"/>
                <a:gd name="connsiteY149" fmla="*/ 657628 h 730697"/>
                <a:gd name="connsiteX150" fmla="*/ 51653 w 340152"/>
                <a:gd name="connsiteY150" fmla="*/ 665187 h 730697"/>
                <a:gd name="connsiteX151" fmla="*/ 47873 w 340152"/>
                <a:gd name="connsiteY151" fmla="*/ 682824 h 730697"/>
                <a:gd name="connsiteX152" fmla="*/ 47873 w 340152"/>
                <a:gd name="connsiteY152" fmla="*/ 682824 h 730697"/>
                <a:gd name="connsiteX153" fmla="*/ 47873 w 340152"/>
                <a:gd name="connsiteY153" fmla="*/ 684084 h 730697"/>
                <a:gd name="connsiteX154" fmla="*/ 47873 w 340152"/>
                <a:gd name="connsiteY154" fmla="*/ 684084 h 730697"/>
                <a:gd name="connsiteX155" fmla="*/ 45354 w 340152"/>
                <a:gd name="connsiteY155" fmla="*/ 691643 h 730697"/>
                <a:gd name="connsiteX156" fmla="*/ 46614 w 340152"/>
                <a:gd name="connsiteY156" fmla="*/ 687863 h 730697"/>
                <a:gd name="connsiteX157" fmla="*/ 45354 w 340152"/>
                <a:gd name="connsiteY157" fmla="*/ 692903 h 730697"/>
                <a:gd name="connsiteX158" fmla="*/ 45354 w 340152"/>
                <a:gd name="connsiteY158" fmla="*/ 691643 h 730697"/>
                <a:gd name="connsiteX159" fmla="*/ 44094 w 340152"/>
                <a:gd name="connsiteY159" fmla="*/ 694163 h 730697"/>
                <a:gd name="connsiteX160" fmla="*/ 42834 w 340152"/>
                <a:gd name="connsiteY160" fmla="*/ 696682 h 730697"/>
                <a:gd name="connsiteX161" fmla="*/ 40314 w 340152"/>
                <a:gd name="connsiteY161" fmla="*/ 701722 h 730697"/>
                <a:gd name="connsiteX162" fmla="*/ 39055 w 340152"/>
                <a:gd name="connsiteY162" fmla="*/ 704241 h 730697"/>
                <a:gd name="connsiteX163" fmla="*/ 39055 w 340152"/>
                <a:gd name="connsiteY163" fmla="*/ 705501 h 730697"/>
                <a:gd name="connsiteX164" fmla="*/ 39055 w 340152"/>
                <a:gd name="connsiteY164" fmla="*/ 704241 h 730697"/>
                <a:gd name="connsiteX165" fmla="*/ 37795 w 340152"/>
                <a:gd name="connsiteY165" fmla="*/ 706761 h 730697"/>
                <a:gd name="connsiteX166" fmla="*/ 39055 w 340152"/>
                <a:gd name="connsiteY166" fmla="*/ 705501 h 730697"/>
                <a:gd name="connsiteX167" fmla="*/ 37795 w 340152"/>
                <a:gd name="connsiteY167" fmla="*/ 708021 h 730697"/>
                <a:gd name="connsiteX168" fmla="*/ 37795 w 340152"/>
                <a:gd name="connsiteY168" fmla="*/ 708021 h 730697"/>
                <a:gd name="connsiteX169" fmla="*/ 37795 w 340152"/>
                <a:gd name="connsiteY169" fmla="*/ 708021 h 730697"/>
                <a:gd name="connsiteX170" fmla="*/ 36535 w 340152"/>
                <a:gd name="connsiteY170" fmla="*/ 709280 h 730697"/>
                <a:gd name="connsiteX171" fmla="*/ 36535 w 340152"/>
                <a:gd name="connsiteY171" fmla="*/ 710540 h 730697"/>
                <a:gd name="connsiteX172" fmla="*/ 30236 w 340152"/>
                <a:gd name="connsiteY172" fmla="*/ 716839 h 730697"/>
                <a:gd name="connsiteX173" fmla="*/ 30236 w 340152"/>
                <a:gd name="connsiteY173" fmla="*/ 716839 h 730697"/>
                <a:gd name="connsiteX174" fmla="*/ 28976 w 340152"/>
                <a:gd name="connsiteY174" fmla="*/ 718099 h 730697"/>
                <a:gd name="connsiteX175" fmla="*/ 28976 w 340152"/>
                <a:gd name="connsiteY175" fmla="*/ 718099 h 730697"/>
                <a:gd name="connsiteX176" fmla="*/ 28976 w 340152"/>
                <a:gd name="connsiteY176" fmla="*/ 718099 h 730697"/>
                <a:gd name="connsiteX177" fmla="*/ 26456 w 340152"/>
                <a:gd name="connsiteY177" fmla="*/ 719359 h 730697"/>
                <a:gd name="connsiteX178" fmla="*/ 21417 w 340152"/>
                <a:gd name="connsiteY178" fmla="*/ 721879 h 730697"/>
                <a:gd name="connsiteX179" fmla="*/ 21417 w 340152"/>
                <a:gd name="connsiteY179" fmla="*/ 721879 h 730697"/>
                <a:gd name="connsiteX180" fmla="*/ 21417 w 340152"/>
                <a:gd name="connsiteY180" fmla="*/ 721879 h 730697"/>
                <a:gd name="connsiteX181" fmla="*/ 21417 w 340152"/>
                <a:gd name="connsiteY181" fmla="*/ 721879 h 730697"/>
                <a:gd name="connsiteX182" fmla="*/ 17638 w 340152"/>
                <a:gd name="connsiteY182" fmla="*/ 723139 h 730697"/>
                <a:gd name="connsiteX183" fmla="*/ 10079 w 340152"/>
                <a:gd name="connsiteY183" fmla="*/ 726918 h 730697"/>
                <a:gd name="connsiteX184" fmla="*/ 10079 w 340152"/>
                <a:gd name="connsiteY184" fmla="*/ 726918 h 730697"/>
                <a:gd name="connsiteX185" fmla="*/ 0 w 340152"/>
                <a:gd name="connsiteY185" fmla="*/ 729438 h 730697"/>
                <a:gd name="connsiteX186" fmla="*/ 0 w 340152"/>
                <a:gd name="connsiteY186" fmla="*/ 729438 h 730697"/>
                <a:gd name="connsiteX187" fmla="*/ 0 w 340152"/>
                <a:gd name="connsiteY187" fmla="*/ 729438 h 730697"/>
                <a:gd name="connsiteX188" fmla="*/ 0 w 340152"/>
                <a:gd name="connsiteY188" fmla="*/ 729438 h 730697"/>
                <a:gd name="connsiteX189" fmla="*/ 0 w 340152"/>
                <a:gd name="connsiteY189" fmla="*/ 729438 h 730697"/>
                <a:gd name="connsiteX190" fmla="*/ 0 w 340152"/>
                <a:gd name="connsiteY190" fmla="*/ 729438 h 730697"/>
                <a:gd name="connsiteX191" fmla="*/ 0 w 340152"/>
                <a:gd name="connsiteY191" fmla="*/ 729438 h 730697"/>
                <a:gd name="connsiteX192" fmla="*/ 0 w 340152"/>
                <a:gd name="connsiteY192" fmla="*/ 729438 h 730697"/>
                <a:gd name="connsiteX193" fmla="*/ 2520 w 340152"/>
                <a:gd name="connsiteY193" fmla="*/ 729438 h 730697"/>
                <a:gd name="connsiteX194" fmla="*/ 3780 w 340152"/>
                <a:gd name="connsiteY194" fmla="*/ 729438 h 730697"/>
                <a:gd name="connsiteX195" fmla="*/ 7559 w 340152"/>
                <a:gd name="connsiteY195" fmla="*/ 729438 h 730697"/>
                <a:gd name="connsiteX196" fmla="*/ 12598 w 340152"/>
                <a:gd name="connsiteY196" fmla="*/ 729438 h 730697"/>
                <a:gd name="connsiteX197" fmla="*/ 34015 w 340152"/>
                <a:gd name="connsiteY197" fmla="*/ 730698 h 730697"/>
                <a:gd name="connsiteX198" fmla="*/ 64251 w 340152"/>
                <a:gd name="connsiteY198" fmla="*/ 730698 h 730697"/>
                <a:gd name="connsiteX199" fmla="*/ 73070 w 340152"/>
                <a:gd name="connsiteY199" fmla="*/ 730698 h 730697"/>
                <a:gd name="connsiteX200" fmla="*/ 75589 w 340152"/>
                <a:gd name="connsiteY200" fmla="*/ 730698 h 730697"/>
                <a:gd name="connsiteX201" fmla="*/ 75589 w 340152"/>
                <a:gd name="connsiteY201" fmla="*/ 730698 h 730697"/>
                <a:gd name="connsiteX202" fmla="*/ 81889 w 340152"/>
                <a:gd name="connsiteY202" fmla="*/ 730698 h 730697"/>
                <a:gd name="connsiteX203" fmla="*/ 84408 w 340152"/>
                <a:gd name="connsiteY203" fmla="*/ 730698 h 730697"/>
                <a:gd name="connsiteX204" fmla="*/ 91967 w 340152"/>
                <a:gd name="connsiteY204" fmla="*/ 730698 h 730697"/>
                <a:gd name="connsiteX205" fmla="*/ 95747 w 340152"/>
                <a:gd name="connsiteY205" fmla="*/ 730698 h 730697"/>
                <a:gd name="connsiteX206" fmla="*/ 97007 w 340152"/>
                <a:gd name="connsiteY206" fmla="*/ 730698 h 730697"/>
                <a:gd name="connsiteX207" fmla="*/ 97007 w 340152"/>
                <a:gd name="connsiteY207" fmla="*/ 730698 h 730697"/>
                <a:gd name="connsiteX208" fmla="*/ 110864 w 340152"/>
                <a:gd name="connsiteY208" fmla="*/ 730698 h 730697"/>
                <a:gd name="connsiteX209" fmla="*/ 118424 w 340152"/>
                <a:gd name="connsiteY209" fmla="*/ 730698 h 730697"/>
                <a:gd name="connsiteX210" fmla="*/ 129762 w 340152"/>
                <a:gd name="connsiteY210" fmla="*/ 730698 h 730697"/>
                <a:gd name="connsiteX211" fmla="*/ 134801 w 340152"/>
                <a:gd name="connsiteY211" fmla="*/ 730698 h 730697"/>
                <a:gd name="connsiteX212" fmla="*/ 136061 w 340152"/>
                <a:gd name="connsiteY212" fmla="*/ 730698 h 730697"/>
                <a:gd name="connsiteX213" fmla="*/ 149919 w 340152"/>
                <a:gd name="connsiteY213" fmla="*/ 730698 h 730697"/>
                <a:gd name="connsiteX214" fmla="*/ 157478 w 340152"/>
                <a:gd name="connsiteY214" fmla="*/ 730698 h 730697"/>
                <a:gd name="connsiteX215" fmla="*/ 158738 w 340152"/>
                <a:gd name="connsiteY215" fmla="*/ 730698 h 730697"/>
                <a:gd name="connsiteX216" fmla="*/ 170076 w 340152"/>
                <a:gd name="connsiteY216" fmla="*/ 730698 h 730697"/>
                <a:gd name="connsiteX217" fmla="*/ 190233 w 340152"/>
                <a:gd name="connsiteY217" fmla="*/ 729438 h 730697"/>
                <a:gd name="connsiteX218" fmla="*/ 192753 w 340152"/>
                <a:gd name="connsiteY218" fmla="*/ 729438 h 730697"/>
                <a:gd name="connsiteX219" fmla="*/ 192753 w 340152"/>
                <a:gd name="connsiteY219" fmla="*/ 729438 h 730697"/>
                <a:gd name="connsiteX220" fmla="*/ 202832 w 340152"/>
                <a:gd name="connsiteY220" fmla="*/ 728178 h 730697"/>
                <a:gd name="connsiteX221" fmla="*/ 202832 w 340152"/>
                <a:gd name="connsiteY221" fmla="*/ 728178 h 730697"/>
                <a:gd name="connsiteX222" fmla="*/ 210391 w 340152"/>
                <a:gd name="connsiteY222" fmla="*/ 726918 h 730697"/>
                <a:gd name="connsiteX223" fmla="*/ 212910 w 340152"/>
                <a:gd name="connsiteY223" fmla="*/ 726918 h 730697"/>
                <a:gd name="connsiteX224" fmla="*/ 212910 w 340152"/>
                <a:gd name="connsiteY224" fmla="*/ 726918 h 730697"/>
                <a:gd name="connsiteX225" fmla="*/ 221729 w 340152"/>
                <a:gd name="connsiteY225" fmla="*/ 726918 h 730697"/>
                <a:gd name="connsiteX226" fmla="*/ 229288 w 340152"/>
                <a:gd name="connsiteY226" fmla="*/ 726918 h 730697"/>
                <a:gd name="connsiteX227" fmla="*/ 231808 w 340152"/>
                <a:gd name="connsiteY227" fmla="*/ 726918 h 730697"/>
                <a:gd name="connsiteX228" fmla="*/ 235587 w 340152"/>
                <a:gd name="connsiteY228" fmla="*/ 726918 h 730697"/>
                <a:gd name="connsiteX229" fmla="*/ 235587 w 340152"/>
                <a:gd name="connsiteY229" fmla="*/ 726918 h 730697"/>
                <a:gd name="connsiteX230" fmla="*/ 235587 w 340152"/>
                <a:gd name="connsiteY230" fmla="*/ 726918 h 730697"/>
                <a:gd name="connsiteX231" fmla="*/ 236847 w 340152"/>
                <a:gd name="connsiteY231" fmla="*/ 726918 h 730697"/>
                <a:gd name="connsiteX232" fmla="*/ 240626 w 340152"/>
                <a:gd name="connsiteY232" fmla="*/ 726918 h 730697"/>
                <a:gd name="connsiteX233" fmla="*/ 246925 w 340152"/>
                <a:gd name="connsiteY233" fmla="*/ 726918 h 730697"/>
                <a:gd name="connsiteX234" fmla="*/ 249445 w 340152"/>
                <a:gd name="connsiteY234" fmla="*/ 726918 h 730697"/>
                <a:gd name="connsiteX235" fmla="*/ 249445 w 340152"/>
                <a:gd name="connsiteY235" fmla="*/ 726918 h 730697"/>
                <a:gd name="connsiteX236" fmla="*/ 250705 w 340152"/>
                <a:gd name="connsiteY236" fmla="*/ 726918 h 730697"/>
                <a:gd name="connsiteX237" fmla="*/ 262043 w 340152"/>
                <a:gd name="connsiteY237" fmla="*/ 726918 h 730697"/>
                <a:gd name="connsiteX238" fmla="*/ 267083 w 340152"/>
                <a:gd name="connsiteY238" fmla="*/ 726918 h 730697"/>
                <a:gd name="connsiteX239" fmla="*/ 272122 w 340152"/>
                <a:gd name="connsiteY239" fmla="*/ 726918 h 730697"/>
                <a:gd name="connsiteX240" fmla="*/ 273382 w 340152"/>
                <a:gd name="connsiteY240" fmla="*/ 726918 h 730697"/>
                <a:gd name="connsiteX241" fmla="*/ 274642 w 340152"/>
                <a:gd name="connsiteY241" fmla="*/ 726918 h 730697"/>
                <a:gd name="connsiteX242" fmla="*/ 280941 w 340152"/>
                <a:gd name="connsiteY242" fmla="*/ 726918 h 730697"/>
                <a:gd name="connsiteX243" fmla="*/ 280941 w 340152"/>
                <a:gd name="connsiteY243" fmla="*/ 726918 h 730697"/>
                <a:gd name="connsiteX244" fmla="*/ 280941 w 340152"/>
                <a:gd name="connsiteY244" fmla="*/ 726918 h 730697"/>
                <a:gd name="connsiteX245" fmla="*/ 312436 w 340152"/>
                <a:gd name="connsiteY245" fmla="*/ 729438 h 730697"/>
                <a:gd name="connsiteX246" fmla="*/ 331334 w 340152"/>
                <a:gd name="connsiteY246" fmla="*/ 729438 h 730697"/>
                <a:gd name="connsiteX247" fmla="*/ 332593 w 340152"/>
                <a:gd name="connsiteY247" fmla="*/ 729438 h 730697"/>
                <a:gd name="connsiteX248" fmla="*/ 335113 w 340152"/>
                <a:gd name="connsiteY248" fmla="*/ 729438 h 730697"/>
                <a:gd name="connsiteX249" fmla="*/ 336373 w 340152"/>
                <a:gd name="connsiteY249" fmla="*/ 729438 h 730697"/>
                <a:gd name="connsiteX250" fmla="*/ 341412 w 340152"/>
                <a:gd name="connsiteY250" fmla="*/ 729438 h 730697"/>
                <a:gd name="connsiteX251" fmla="*/ 345192 w 340152"/>
                <a:gd name="connsiteY251" fmla="*/ 729438 h 730697"/>
                <a:gd name="connsiteX252" fmla="*/ 348971 w 340152"/>
                <a:gd name="connsiteY252" fmla="*/ 729438 h 730697"/>
                <a:gd name="connsiteX253" fmla="*/ 348971 w 340152"/>
                <a:gd name="connsiteY253" fmla="*/ 729438 h 730697"/>
                <a:gd name="connsiteX254" fmla="*/ 350231 w 340152"/>
                <a:gd name="connsiteY254" fmla="*/ 729438 h 730697"/>
                <a:gd name="connsiteX255" fmla="*/ 313696 w 340152"/>
                <a:gd name="connsiteY255" fmla="*/ 645030 h 7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340152" h="730697">
                  <a:moveTo>
                    <a:pt x="313696" y="645030"/>
                  </a:moveTo>
                  <a:cubicBezTo>
                    <a:pt x="299838" y="600936"/>
                    <a:pt x="282201" y="553062"/>
                    <a:pt x="279681" y="495110"/>
                  </a:cubicBezTo>
                  <a:cubicBezTo>
                    <a:pt x="275901" y="490071"/>
                    <a:pt x="273382" y="485032"/>
                    <a:pt x="269602" y="479993"/>
                  </a:cubicBezTo>
                  <a:lnTo>
                    <a:pt x="269602" y="478733"/>
                  </a:lnTo>
                  <a:lnTo>
                    <a:pt x="268342" y="477473"/>
                  </a:lnTo>
                  <a:lnTo>
                    <a:pt x="268342" y="477473"/>
                  </a:lnTo>
                  <a:cubicBezTo>
                    <a:pt x="267083" y="474953"/>
                    <a:pt x="264563" y="472434"/>
                    <a:pt x="263303" y="469914"/>
                  </a:cubicBezTo>
                  <a:cubicBezTo>
                    <a:pt x="262043" y="466135"/>
                    <a:pt x="259524" y="463615"/>
                    <a:pt x="258264" y="459836"/>
                  </a:cubicBezTo>
                  <a:cubicBezTo>
                    <a:pt x="255744" y="452277"/>
                    <a:pt x="251965" y="447237"/>
                    <a:pt x="249445" y="440938"/>
                  </a:cubicBezTo>
                  <a:lnTo>
                    <a:pt x="248185" y="438418"/>
                  </a:lnTo>
                  <a:cubicBezTo>
                    <a:pt x="246925" y="435899"/>
                    <a:pt x="245666" y="433379"/>
                    <a:pt x="244406" y="430860"/>
                  </a:cubicBezTo>
                  <a:cubicBezTo>
                    <a:pt x="243146" y="428340"/>
                    <a:pt x="241886" y="425820"/>
                    <a:pt x="240626" y="423301"/>
                  </a:cubicBezTo>
                  <a:lnTo>
                    <a:pt x="239366" y="420781"/>
                  </a:lnTo>
                  <a:cubicBezTo>
                    <a:pt x="238107" y="418261"/>
                    <a:pt x="235587" y="414482"/>
                    <a:pt x="234327" y="410702"/>
                  </a:cubicBezTo>
                  <a:cubicBezTo>
                    <a:pt x="233067" y="408183"/>
                    <a:pt x="233067" y="406923"/>
                    <a:pt x="231808" y="404403"/>
                  </a:cubicBezTo>
                  <a:lnTo>
                    <a:pt x="231808" y="404403"/>
                  </a:lnTo>
                  <a:cubicBezTo>
                    <a:pt x="231808" y="403143"/>
                    <a:pt x="230548" y="403143"/>
                    <a:pt x="230548" y="401884"/>
                  </a:cubicBezTo>
                  <a:cubicBezTo>
                    <a:pt x="228028" y="394325"/>
                    <a:pt x="225508" y="388025"/>
                    <a:pt x="222989" y="381726"/>
                  </a:cubicBezTo>
                  <a:cubicBezTo>
                    <a:pt x="220469" y="375427"/>
                    <a:pt x="217949" y="369128"/>
                    <a:pt x="216690" y="361569"/>
                  </a:cubicBezTo>
                  <a:cubicBezTo>
                    <a:pt x="215430" y="359050"/>
                    <a:pt x="215430" y="355270"/>
                    <a:pt x="214170" y="352751"/>
                  </a:cubicBezTo>
                  <a:lnTo>
                    <a:pt x="214170" y="351491"/>
                  </a:lnTo>
                  <a:cubicBezTo>
                    <a:pt x="214170" y="348971"/>
                    <a:pt x="212910" y="347711"/>
                    <a:pt x="212910" y="345192"/>
                  </a:cubicBezTo>
                  <a:lnTo>
                    <a:pt x="212910" y="345192"/>
                  </a:lnTo>
                  <a:cubicBezTo>
                    <a:pt x="212910" y="343932"/>
                    <a:pt x="212910" y="342672"/>
                    <a:pt x="211650" y="342672"/>
                  </a:cubicBezTo>
                  <a:cubicBezTo>
                    <a:pt x="210391" y="336373"/>
                    <a:pt x="209131" y="328814"/>
                    <a:pt x="207871" y="322515"/>
                  </a:cubicBezTo>
                  <a:lnTo>
                    <a:pt x="207871" y="321255"/>
                  </a:lnTo>
                  <a:cubicBezTo>
                    <a:pt x="207871" y="319995"/>
                    <a:pt x="207871" y="317475"/>
                    <a:pt x="206611" y="316216"/>
                  </a:cubicBezTo>
                  <a:cubicBezTo>
                    <a:pt x="206611" y="314956"/>
                    <a:pt x="206611" y="312436"/>
                    <a:pt x="205351" y="311176"/>
                  </a:cubicBezTo>
                  <a:cubicBezTo>
                    <a:pt x="205351" y="307397"/>
                    <a:pt x="204092" y="304877"/>
                    <a:pt x="204092" y="302358"/>
                  </a:cubicBezTo>
                  <a:lnTo>
                    <a:pt x="204092" y="301098"/>
                  </a:lnTo>
                  <a:cubicBezTo>
                    <a:pt x="204092" y="299838"/>
                    <a:pt x="204092" y="298578"/>
                    <a:pt x="204092" y="297318"/>
                  </a:cubicBezTo>
                  <a:lnTo>
                    <a:pt x="204092" y="296058"/>
                  </a:lnTo>
                  <a:lnTo>
                    <a:pt x="204092" y="294799"/>
                  </a:lnTo>
                  <a:cubicBezTo>
                    <a:pt x="204092" y="293539"/>
                    <a:pt x="204092" y="292279"/>
                    <a:pt x="204092" y="289759"/>
                  </a:cubicBezTo>
                  <a:cubicBezTo>
                    <a:pt x="204092" y="287240"/>
                    <a:pt x="204092" y="284720"/>
                    <a:pt x="204092" y="283460"/>
                  </a:cubicBezTo>
                  <a:cubicBezTo>
                    <a:pt x="204092" y="282200"/>
                    <a:pt x="204092" y="280940"/>
                    <a:pt x="204092" y="279681"/>
                  </a:cubicBezTo>
                  <a:cubicBezTo>
                    <a:pt x="204092" y="275901"/>
                    <a:pt x="204092" y="272122"/>
                    <a:pt x="204092" y="268342"/>
                  </a:cubicBezTo>
                  <a:cubicBezTo>
                    <a:pt x="204092" y="267083"/>
                    <a:pt x="204092" y="265823"/>
                    <a:pt x="204092" y="264563"/>
                  </a:cubicBezTo>
                  <a:cubicBezTo>
                    <a:pt x="204092" y="264563"/>
                    <a:pt x="204092" y="264563"/>
                    <a:pt x="204092" y="263303"/>
                  </a:cubicBezTo>
                  <a:cubicBezTo>
                    <a:pt x="204092" y="262043"/>
                    <a:pt x="204092" y="260783"/>
                    <a:pt x="204092" y="259523"/>
                  </a:cubicBezTo>
                  <a:cubicBezTo>
                    <a:pt x="204092" y="259523"/>
                    <a:pt x="204092" y="259523"/>
                    <a:pt x="204092" y="259523"/>
                  </a:cubicBezTo>
                  <a:cubicBezTo>
                    <a:pt x="204092" y="258264"/>
                    <a:pt x="204092" y="258264"/>
                    <a:pt x="204092" y="257004"/>
                  </a:cubicBezTo>
                  <a:lnTo>
                    <a:pt x="204092" y="257004"/>
                  </a:lnTo>
                  <a:lnTo>
                    <a:pt x="204092" y="257004"/>
                  </a:ln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5744"/>
                    <a:pt x="204092" y="255744"/>
                    <a:pt x="204092" y="254484"/>
                  </a:cubicBezTo>
                  <a:lnTo>
                    <a:pt x="204092" y="253224"/>
                  </a:lnTo>
                  <a:cubicBezTo>
                    <a:pt x="204092" y="250705"/>
                    <a:pt x="204092" y="248185"/>
                    <a:pt x="205351" y="246925"/>
                  </a:cubicBezTo>
                  <a:cubicBezTo>
                    <a:pt x="205351" y="244406"/>
                    <a:pt x="206611" y="241886"/>
                    <a:pt x="207871" y="238107"/>
                  </a:cubicBezTo>
                  <a:cubicBezTo>
                    <a:pt x="209131" y="234327"/>
                    <a:pt x="210391" y="231807"/>
                    <a:pt x="211650" y="229288"/>
                  </a:cubicBezTo>
                  <a:cubicBezTo>
                    <a:pt x="212910" y="226768"/>
                    <a:pt x="215430" y="224248"/>
                    <a:pt x="216690" y="221729"/>
                  </a:cubicBezTo>
                  <a:cubicBezTo>
                    <a:pt x="216690" y="221729"/>
                    <a:pt x="216690" y="221729"/>
                    <a:pt x="216690" y="221729"/>
                  </a:cubicBezTo>
                  <a:cubicBezTo>
                    <a:pt x="216690" y="220469"/>
                    <a:pt x="217949" y="220469"/>
                    <a:pt x="217949" y="219209"/>
                  </a:cubicBezTo>
                  <a:cubicBezTo>
                    <a:pt x="217949" y="219209"/>
                    <a:pt x="219209" y="217949"/>
                    <a:pt x="219209" y="217949"/>
                  </a:cubicBezTo>
                  <a:cubicBezTo>
                    <a:pt x="219209" y="217949"/>
                    <a:pt x="219209" y="217949"/>
                    <a:pt x="219209" y="217949"/>
                  </a:cubicBezTo>
                  <a:cubicBezTo>
                    <a:pt x="219209" y="217949"/>
                    <a:pt x="219209" y="216690"/>
                    <a:pt x="220469" y="216690"/>
                  </a:cubicBezTo>
                  <a:cubicBezTo>
                    <a:pt x="221729" y="215430"/>
                    <a:pt x="222989" y="214170"/>
                    <a:pt x="224249" y="212910"/>
                  </a:cubicBezTo>
                  <a:cubicBezTo>
                    <a:pt x="217949" y="144880"/>
                    <a:pt x="220469" y="78109"/>
                    <a:pt x="229288" y="16378"/>
                  </a:cubicBezTo>
                  <a:cubicBezTo>
                    <a:pt x="226768" y="15118"/>
                    <a:pt x="224249" y="15118"/>
                    <a:pt x="222989" y="15118"/>
                  </a:cubicBezTo>
                  <a:cubicBezTo>
                    <a:pt x="220469" y="15118"/>
                    <a:pt x="217949" y="13858"/>
                    <a:pt x="216690" y="13858"/>
                  </a:cubicBezTo>
                  <a:cubicBezTo>
                    <a:pt x="215430" y="13858"/>
                    <a:pt x="214170" y="13858"/>
                    <a:pt x="212910" y="12598"/>
                  </a:cubicBezTo>
                  <a:cubicBezTo>
                    <a:pt x="211650" y="12598"/>
                    <a:pt x="210391" y="1259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2598"/>
                    <a:pt x="209131" y="13858"/>
                    <a:pt x="209131" y="13858"/>
                  </a:cubicBezTo>
                  <a:cubicBezTo>
                    <a:pt x="209131" y="13858"/>
                    <a:pt x="209131" y="13858"/>
                    <a:pt x="209131" y="13858"/>
                  </a:cubicBez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5118"/>
                    <a:pt x="209131" y="15118"/>
                    <a:pt x="209131" y="15118"/>
                  </a:cubicBezTo>
                  <a:cubicBezTo>
                    <a:pt x="209131" y="15118"/>
                    <a:pt x="209131" y="13858"/>
                    <a:pt x="209131" y="13858"/>
                  </a:cubicBezTo>
                  <a:lnTo>
                    <a:pt x="209131" y="13858"/>
                  </a:ln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6378"/>
                    <a:pt x="209131" y="18897"/>
                    <a:pt x="207871" y="20157"/>
                  </a:cubicBezTo>
                  <a:cubicBezTo>
                    <a:pt x="207871" y="18897"/>
                    <a:pt x="207871" y="16378"/>
                    <a:pt x="209131" y="15118"/>
                  </a:cubicBezTo>
                  <a:cubicBezTo>
                    <a:pt x="209131" y="17637"/>
                    <a:pt x="209131" y="18897"/>
                    <a:pt x="207871" y="21417"/>
                  </a:cubicBezTo>
                  <a:cubicBezTo>
                    <a:pt x="207871" y="22677"/>
                    <a:pt x="207871" y="22677"/>
                    <a:pt x="207871" y="23937"/>
                  </a:cubicBezTo>
                  <a:cubicBezTo>
                    <a:pt x="207871" y="25196"/>
                    <a:pt x="206611" y="27716"/>
                    <a:pt x="206611" y="28976"/>
                  </a:cubicBezTo>
                  <a:cubicBezTo>
                    <a:pt x="205351" y="30236"/>
                    <a:pt x="205351" y="32755"/>
                    <a:pt x="202832" y="35275"/>
                  </a:cubicBezTo>
                  <a:cubicBezTo>
                    <a:pt x="201572" y="36535"/>
                    <a:pt x="200312" y="39054"/>
                    <a:pt x="197792" y="41574"/>
                  </a:cubicBezTo>
                  <a:cubicBezTo>
                    <a:pt x="195273" y="42834"/>
                    <a:pt x="194013" y="44094"/>
                    <a:pt x="190233" y="46613"/>
                  </a:cubicBezTo>
                  <a:cubicBezTo>
                    <a:pt x="185194" y="49133"/>
                    <a:pt x="181415" y="51653"/>
                    <a:pt x="176375" y="52913"/>
                  </a:cubicBezTo>
                  <a:cubicBezTo>
                    <a:pt x="173856" y="54172"/>
                    <a:pt x="171336" y="55432"/>
                    <a:pt x="167557" y="55432"/>
                  </a:cubicBezTo>
                  <a:cubicBezTo>
                    <a:pt x="163777" y="56692"/>
                    <a:pt x="161257" y="56692"/>
                    <a:pt x="158738" y="56692"/>
                  </a:cubicBezTo>
                  <a:cubicBezTo>
                    <a:pt x="158738" y="56692"/>
                    <a:pt x="157478" y="56692"/>
                    <a:pt x="157478" y="56692"/>
                  </a:cubicBezTo>
                  <a:cubicBezTo>
                    <a:pt x="153699" y="56692"/>
                    <a:pt x="151179" y="56692"/>
                    <a:pt x="147399" y="56692"/>
                  </a:cubicBezTo>
                  <a:cubicBezTo>
                    <a:pt x="143620" y="56692"/>
                    <a:pt x="141100" y="56692"/>
                    <a:pt x="137321" y="55432"/>
                  </a:cubicBezTo>
                  <a:cubicBezTo>
                    <a:pt x="129762" y="54172"/>
                    <a:pt x="123463" y="52913"/>
                    <a:pt x="118424" y="50393"/>
                  </a:cubicBezTo>
                  <a:cubicBezTo>
                    <a:pt x="115904" y="49133"/>
                    <a:pt x="113384" y="47873"/>
                    <a:pt x="112124" y="46613"/>
                  </a:cubicBezTo>
                  <a:lnTo>
                    <a:pt x="110864" y="45354"/>
                  </a:lnTo>
                  <a:cubicBezTo>
                    <a:pt x="107085" y="44094"/>
                    <a:pt x="104565" y="41574"/>
                    <a:pt x="102046" y="40314"/>
                  </a:cubicBezTo>
                  <a:cubicBezTo>
                    <a:pt x="97007" y="36535"/>
                    <a:pt x="91967" y="32755"/>
                    <a:pt x="88188" y="27716"/>
                  </a:cubicBezTo>
                  <a:cubicBezTo>
                    <a:pt x="85668" y="25196"/>
                    <a:pt x="84408" y="23937"/>
                    <a:pt x="83148" y="21417"/>
                  </a:cubicBezTo>
                  <a:cubicBezTo>
                    <a:pt x="81889" y="18897"/>
                    <a:pt x="80629" y="15118"/>
                    <a:pt x="79369" y="12598"/>
                  </a:cubicBezTo>
                  <a:cubicBezTo>
                    <a:pt x="79369" y="11338"/>
                    <a:pt x="78109" y="10078"/>
                    <a:pt x="78109" y="8819"/>
                  </a:cubicBezTo>
                  <a:lnTo>
                    <a:pt x="78109" y="7559"/>
                  </a:lnTo>
                  <a:cubicBezTo>
                    <a:pt x="78109" y="6299"/>
                    <a:pt x="76849" y="5039"/>
                    <a:pt x="78109" y="3779"/>
                  </a:cubicBezTo>
                  <a:cubicBezTo>
                    <a:pt x="78109" y="2520"/>
                    <a:pt x="78109" y="126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cubicBezTo>
                    <a:pt x="78109" y="0"/>
                    <a:pt x="78109" y="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cubicBezTo>
                    <a:pt x="76849" y="0"/>
                    <a:pt x="75589" y="1260"/>
                    <a:pt x="74330" y="1260"/>
                  </a:cubicBezTo>
                  <a:lnTo>
                    <a:pt x="74330" y="1260"/>
                  </a:lnTo>
                  <a:lnTo>
                    <a:pt x="73070" y="1260"/>
                  </a:lnTo>
                  <a:cubicBezTo>
                    <a:pt x="84408" y="105825"/>
                    <a:pt x="80629" y="217949"/>
                    <a:pt x="54172" y="323775"/>
                  </a:cubicBezTo>
                  <a:cubicBezTo>
                    <a:pt x="49133" y="374167"/>
                    <a:pt x="45354" y="425820"/>
                    <a:pt x="39055" y="476213"/>
                  </a:cubicBezTo>
                  <a:cubicBezTo>
                    <a:pt x="35275" y="507709"/>
                    <a:pt x="31496" y="540464"/>
                    <a:pt x="25196" y="573220"/>
                  </a:cubicBezTo>
                  <a:lnTo>
                    <a:pt x="25196" y="573220"/>
                  </a:lnTo>
                  <a:cubicBezTo>
                    <a:pt x="25196" y="573220"/>
                    <a:pt x="25196" y="573220"/>
                    <a:pt x="25196" y="573220"/>
                  </a:cubicBezTo>
                  <a:cubicBezTo>
                    <a:pt x="26456" y="574479"/>
                    <a:pt x="26456" y="575739"/>
                    <a:pt x="27716" y="576999"/>
                  </a:cubicBezTo>
                  <a:cubicBezTo>
                    <a:pt x="26456" y="575739"/>
                    <a:pt x="26456" y="574479"/>
                    <a:pt x="25196" y="573220"/>
                  </a:cubicBezTo>
                  <a:cubicBezTo>
                    <a:pt x="26456" y="575739"/>
                    <a:pt x="28976" y="578259"/>
                    <a:pt x="30236" y="580778"/>
                  </a:cubicBezTo>
                  <a:cubicBezTo>
                    <a:pt x="30236" y="579519"/>
                    <a:pt x="28976" y="579519"/>
                    <a:pt x="28976" y="578259"/>
                  </a:cubicBezTo>
                  <a:cubicBezTo>
                    <a:pt x="28976" y="579519"/>
                    <a:pt x="30236" y="579519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2038"/>
                    <a:pt x="31496" y="582038"/>
                  </a:cubicBezTo>
                  <a:cubicBezTo>
                    <a:pt x="31496" y="582038"/>
                    <a:pt x="32755" y="583298"/>
                    <a:pt x="32755" y="583298"/>
                  </a:cubicBezTo>
                  <a:cubicBezTo>
                    <a:pt x="34015" y="585818"/>
                    <a:pt x="36535" y="588337"/>
                    <a:pt x="37795" y="592117"/>
                  </a:cubicBezTo>
                  <a:cubicBezTo>
                    <a:pt x="37795" y="592117"/>
                    <a:pt x="37795" y="592117"/>
                    <a:pt x="37795" y="592117"/>
                  </a:cubicBezTo>
                  <a:cubicBezTo>
                    <a:pt x="39055" y="593377"/>
                    <a:pt x="40314" y="595896"/>
                    <a:pt x="40314" y="597156"/>
                  </a:cubicBezTo>
                  <a:lnTo>
                    <a:pt x="40314" y="597156"/>
                  </a:lnTo>
                  <a:lnTo>
                    <a:pt x="40314" y="597156"/>
                  </a:lnTo>
                  <a:cubicBezTo>
                    <a:pt x="40314" y="598416"/>
                    <a:pt x="41574" y="598416"/>
                    <a:pt x="41574" y="599676"/>
                  </a:cubicBezTo>
                  <a:cubicBezTo>
                    <a:pt x="44094" y="604715"/>
                    <a:pt x="45354" y="608495"/>
                    <a:pt x="47873" y="613534"/>
                  </a:cubicBezTo>
                  <a:cubicBezTo>
                    <a:pt x="47873" y="613534"/>
                    <a:pt x="47873" y="614794"/>
                    <a:pt x="47873" y="614794"/>
                  </a:cubicBezTo>
                  <a:lnTo>
                    <a:pt x="47873" y="614794"/>
                  </a:lnTo>
                  <a:lnTo>
                    <a:pt x="47873" y="614794"/>
                  </a:lnTo>
                  <a:cubicBezTo>
                    <a:pt x="49133" y="617313"/>
                    <a:pt x="50393" y="621093"/>
                    <a:pt x="50393" y="623613"/>
                  </a:cubicBezTo>
                  <a:lnTo>
                    <a:pt x="50393" y="624872"/>
                  </a:lnTo>
                  <a:cubicBezTo>
                    <a:pt x="51653" y="627392"/>
                    <a:pt x="51653" y="629912"/>
                    <a:pt x="52913" y="632431"/>
                  </a:cubicBezTo>
                  <a:cubicBezTo>
                    <a:pt x="52913" y="633691"/>
                    <a:pt x="52913" y="634951"/>
                    <a:pt x="52913" y="637471"/>
                  </a:cubicBezTo>
                  <a:lnTo>
                    <a:pt x="52913" y="639990"/>
                  </a:lnTo>
                  <a:lnTo>
                    <a:pt x="52913" y="642510"/>
                  </a:lnTo>
                  <a:cubicBezTo>
                    <a:pt x="52913" y="643770"/>
                    <a:pt x="52913" y="646289"/>
                    <a:pt x="52913" y="647549"/>
                  </a:cubicBezTo>
                  <a:cubicBezTo>
                    <a:pt x="52913" y="647549"/>
                    <a:pt x="52913" y="647549"/>
                    <a:pt x="52913" y="647549"/>
                  </a:cubicBezTo>
                  <a:lnTo>
                    <a:pt x="52913" y="647549"/>
                  </a:lnTo>
                  <a:lnTo>
                    <a:pt x="52913" y="647549"/>
                  </a:lnTo>
                  <a:lnTo>
                    <a:pt x="52913" y="650069"/>
                  </a:lnTo>
                  <a:cubicBezTo>
                    <a:pt x="52913" y="652588"/>
                    <a:pt x="52913" y="653848"/>
                    <a:pt x="52913" y="656368"/>
                  </a:cubicBezTo>
                  <a:lnTo>
                    <a:pt x="52913" y="657628"/>
                  </a:lnTo>
                  <a:cubicBezTo>
                    <a:pt x="52913" y="660147"/>
                    <a:pt x="52913" y="662667"/>
                    <a:pt x="51653" y="665187"/>
                  </a:cubicBezTo>
                  <a:cubicBezTo>
                    <a:pt x="50393" y="672746"/>
                    <a:pt x="49133" y="677785"/>
                    <a:pt x="47873" y="682824"/>
                  </a:cubicBezTo>
                  <a:cubicBezTo>
                    <a:pt x="47873" y="682824"/>
                    <a:pt x="47873" y="682824"/>
                    <a:pt x="47873" y="682824"/>
                  </a:cubicBezTo>
                  <a:lnTo>
                    <a:pt x="47873" y="684084"/>
                  </a:lnTo>
                  <a:cubicBezTo>
                    <a:pt x="47873" y="684084"/>
                    <a:pt x="47873" y="684084"/>
                    <a:pt x="47873" y="684084"/>
                  </a:cubicBezTo>
                  <a:cubicBezTo>
                    <a:pt x="46614" y="686604"/>
                    <a:pt x="46614" y="689123"/>
                    <a:pt x="45354" y="691643"/>
                  </a:cubicBezTo>
                  <a:cubicBezTo>
                    <a:pt x="45354" y="690383"/>
                    <a:pt x="46614" y="689123"/>
                    <a:pt x="46614" y="687863"/>
                  </a:cubicBezTo>
                  <a:cubicBezTo>
                    <a:pt x="46614" y="689123"/>
                    <a:pt x="45354" y="690383"/>
                    <a:pt x="45354" y="692903"/>
                  </a:cubicBezTo>
                  <a:cubicBezTo>
                    <a:pt x="45354" y="692903"/>
                    <a:pt x="45354" y="692903"/>
                    <a:pt x="45354" y="691643"/>
                  </a:cubicBezTo>
                  <a:cubicBezTo>
                    <a:pt x="45354" y="692903"/>
                    <a:pt x="45354" y="692903"/>
                    <a:pt x="44094" y="694163"/>
                  </a:cubicBezTo>
                  <a:cubicBezTo>
                    <a:pt x="44094" y="695422"/>
                    <a:pt x="42834" y="695422"/>
                    <a:pt x="42834" y="696682"/>
                  </a:cubicBezTo>
                  <a:cubicBezTo>
                    <a:pt x="41574" y="697942"/>
                    <a:pt x="41574" y="699202"/>
                    <a:pt x="40314" y="701722"/>
                  </a:cubicBezTo>
                  <a:cubicBezTo>
                    <a:pt x="40314" y="702981"/>
                    <a:pt x="39055" y="702981"/>
                    <a:pt x="39055" y="704241"/>
                  </a:cubicBezTo>
                  <a:cubicBezTo>
                    <a:pt x="39055" y="704241"/>
                    <a:pt x="39055" y="704241"/>
                    <a:pt x="39055" y="705501"/>
                  </a:cubicBezTo>
                  <a:cubicBezTo>
                    <a:pt x="39055" y="705501"/>
                    <a:pt x="39055" y="705501"/>
                    <a:pt x="39055" y="704241"/>
                  </a:cubicBezTo>
                  <a:cubicBezTo>
                    <a:pt x="39055" y="705501"/>
                    <a:pt x="37795" y="705501"/>
                    <a:pt x="37795" y="706761"/>
                  </a:cubicBezTo>
                  <a:cubicBezTo>
                    <a:pt x="37795" y="706761"/>
                    <a:pt x="39055" y="705501"/>
                    <a:pt x="39055" y="705501"/>
                  </a:cubicBezTo>
                  <a:cubicBezTo>
                    <a:pt x="39055" y="706761"/>
                    <a:pt x="37795" y="70676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9280"/>
                    <a:pt x="36535" y="709280"/>
                    <a:pt x="36535" y="709280"/>
                  </a:cubicBezTo>
                  <a:lnTo>
                    <a:pt x="36535" y="710540"/>
                  </a:lnTo>
                  <a:cubicBezTo>
                    <a:pt x="34015" y="713060"/>
                    <a:pt x="32755" y="715580"/>
                    <a:pt x="30236" y="716839"/>
                  </a:cubicBezTo>
                  <a:lnTo>
                    <a:pt x="30236" y="716839"/>
                  </a:lnTo>
                  <a:cubicBezTo>
                    <a:pt x="30236" y="71683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7716" y="718099"/>
                    <a:pt x="27716" y="719359"/>
                    <a:pt x="26456" y="719359"/>
                  </a:cubicBezTo>
                  <a:cubicBezTo>
                    <a:pt x="25196" y="720619"/>
                    <a:pt x="22677" y="721879"/>
                    <a:pt x="21417" y="721879"/>
                  </a:cubicBezTo>
                  <a:lnTo>
                    <a:pt x="21417" y="721879"/>
                  </a:lnTo>
                  <a:lnTo>
                    <a:pt x="21417" y="721879"/>
                  </a:lnTo>
                  <a:lnTo>
                    <a:pt x="21417" y="721879"/>
                  </a:lnTo>
                  <a:cubicBezTo>
                    <a:pt x="20157" y="721879"/>
                    <a:pt x="18897" y="723139"/>
                    <a:pt x="17638" y="723139"/>
                  </a:cubicBezTo>
                  <a:cubicBezTo>
                    <a:pt x="15118" y="724398"/>
                    <a:pt x="12598" y="725658"/>
                    <a:pt x="10079" y="726918"/>
                  </a:cubicBezTo>
                  <a:lnTo>
                    <a:pt x="10079" y="726918"/>
                  </a:lnTo>
                  <a:cubicBezTo>
                    <a:pt x="6299" y="728178"/>
                    <a:pt x="378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lnTo>
                    <a:pt x="0" y="729438"/>
                  </a:lnTo>
                  <a:lnTo>
                    <a:pt x="0" y="729438"/>
                  </a:lnTo>
                  <a:cubicBezTo>
                    <a:pt x="0" y="729438"/>
                    <a:pt x="0" y="729438"/>
                    <a:pt x="0" y="729438"/>
                  </a:cubicBezTo>
                  <a:cubicBezTo>
                    <a:pt x="1260" y="729438"/>
                    <a:pt x="1260" y="729438"/>
                    <a:pt x="2520" y="729438"/>
                  </a:cubicBezTo>
                  <a:lnTo>
                    <a:pt x="3780" y="729438"/>
                  </a:lnTo>
                  <a:cubicBezTo>
                    <a:pt x="5039" y="729438"/>
                    <a:pt x="6299" y="729438"/>
                    <a:pt x="7559" y="729438"/>
                  </a:cubicBezTo>
                  <a:cubicBezTo>
                    <a:pt x="8819" y="729438"/>
                    <a:pt x="11339" y="729438"/>
                    <a:pt x="12598" y="729438"/>
                  </a:cubicBezTo>
                  <a:cubicBezTo>
                    <a:pt x="18897" y="729438"/>
                    <a:pt x="26456" y="730698"/>
                    <a:pt x="34015" y="730698"/>
                  </a:cubicBezTo>
                  <a:cubicBezTo>
                    <a:pt x="44094" y="730698"/>
                    <a:pt x="54172" y="730698"/>
                    <a:pt x="64251" y="730698"/>
                  </a:cubicBezTo>
                  <a:cubicBezTo>
                    <a:pt x="66771" y="730698"/>
                    <a:pt x="69290" y="730698"/>
                    <a:pt x="73070" y="730698"/>
                  </a:cubicBezTo>
                  <a:lnTo>
                    <a:pt x="75589" y="730698"/>
                  </a:lnTo>
                  <a:lnTo>
                    <a:pt x="75589" y="730698"/>
                  </a:lnTo>
                  <a:cubicBezTo>
                    <a:pt x="78109" y="730698"/>
                    <a:pt x="79369" y="730698"/>
                    <a:pt x="81889" y="730698"/>
                  </a:cubicBezTo>
                  <a:cubicBezTo>
                    <a:pt x="83148" y="730698"/>
                    <a:pt x="83148" y="730698"/>
                    <a:pt x="84408" y="730698"/>
                  </a:cubicBezTo>
                  <a:cubicBezTo>
                    <a:pt x="86928" y="730698"/>
                    <a:pt x="89448" y="730698"/>
                    <a:pt x="91967" y="730698"/>
                  </a:cubicBezTo>
                  <a:cubicBezTo>
                    <a:pt x="93227" y="730698"/>
                    <a:pt x="94487" y="730698"/>
                    <a:pt x="95747" y="730698"/>
                  </a:cubicBezTo>
                  <a:cubicBezTo>
                    <a:pt x="95747" y="730698"/>
                    <a:pt x="97007" y="730698"/>
                    <a:pt x="97007" y="730698"/>
                  </a:cubicBezTo>
                  <a:lnTo>
                    <a:pt x="97007" y="730698"/>
                  </a:lnTo>
                  <a:cubicBezTo>
                    <a:pt x="102046" y="730698"/>
                    <a:pt x="107085" y="730698"/>
                    <a:pt x="110864" y="730698"/>
                  </a:cubicBezTo>
                  <a:cubicBezTo>
                    <a:pt x="113384" y="730698"/>
                    <a:pt x="115904" y="730698"/>
                    <a:pt x="118424" y="730698"/>
                  </a:cubicBezTo>
                  <a:cubicBezTo>
                    <a:pt x="122203" y="730698"/>
                    <a:pt x="125982" y="730698"/>
                    <a:pt x="129762" y="730698"/>
                  </a:cubicBezTo>
                  <a:lnTo>
                    <a:pt x="134801" y="730698"/>
                  </a:lnTo>
                  <a:lnTo>
                    <a:pt x="136061" y="730698"/>
                  </a:lnTo>
                  <a:cubicBezTo>
                    <a:pt x="141100" y="730698"/>
                    <a:pt x="144880" y="730698"/>
                    <a:pt x="149919" y="730698"/>
                  </a:cubicBezTo>
                  <a:cubicBezTo>
                    <a:pt x="152439" y="730698"/>
                    <a:pt x="154958" y="730698"/>
                    <a:pt x="157478" y="730698"/>
                  </a:cubicBezTo>
                  <a:cubicBezTo>
                    <a:pt x="157478" y="730698"/>
                    <a:pt x="158738" y="730698"/>
                    <a:pt x="158738" y="730698"/>
                  </a:cubicBezTo>
                  <a:cubicBezTo>
                    <a:pt x="162517" y="730698"/>
                    <a:pt x="166297" y="730698"/>
                    <a:pt x="170076" y="730698"/>
                  </a:cubicBezTo>
                  <a:cubicBezTo>
                    <a:pt x="176375" y="730698"/>
                    <a:pt x="182674" y="730698"/>
                    <a:pt x="190233" y="729438"/>
                  </a:cubicBezTo>
                  <a:cubicBezTo>
                    <a:pt x="191493" y="729438"/>
                    <a:pt x="191493" y="729438"/>
                    <a:pt x="192753" y="729438"/>
                  </a:cubicBezTo>
                  <a:lnTo>
                    <a:pt x="192753" y="729438"/>
                  </a:lnTo>
                  <a:cubicBezTo>
                    <a:pt x="196533" y="729438"/>
                    <a:pt x="199052" y="729438"/>
                    <a:pt x="202832" y="728178"/>
                  </a:cubicBezTo>
                  <a:lnTo>
                    <a:pt x="202832" y="728178"/>
                  </a:lnTo>
                  <a:cubicBezTo>
                    <a:pt x="205351" y="728178"/>
                    <a:pt x="207871" y="728178"/>
                    <a:pt x="210391" y="726918"/>
                  </a:cubicBezTo>
                  <a:cubicBezTo>
                    <a:pt x="211650" y="726918"/>
                    <a:pt x="211650" y="726918"/>
                    <a:pt x="212910" y="726918"/>
                  </a:cubicBezTo>
                  <a:lnTo>
                    <a:pt x="212910" y="726918"/>
                  </a:lnTo>
                  <a:cubicBezTo>
                    <a:pt x="215430" y="726918"/>
                    <a:pt x="219209" y="726918"/>
                    <a:pt x="221729" y="726918"/>
                  </a:cubicBezTo>
                  <a:cubicBezTo>
                    <a:pt x="224249" y="726918"/>
                    <a:pt x="226768" y="726918"/>
                    <a:pt x="229288" y="726918"/>
                  </a:cubicBezTo>
                  <a:cubicBezTo>
                    <a:pt x="230548" y="726918"/>
                    <a:pt x="231808" y="726918"/>
                    <a:pt x="231808" y="726918"/>
                  </a:cubicBezTo>
                  <a:cubicBezTo>
                    <a:pt x="233067" y="726918"/>
                    <a:pt x="234327" y="726918"/>
                    <a:pt x="235587" y="726918"/>
                  </a:cubicBezTo>
                  <a:lnTo>
                    <a:pt x="235587" y="726918"/>
                  </a:lnTo>
                  <a:lnTo>
                    <a:pt x="235587" y="726918"/>
                  </a:lnTo>
                  <a:cubicBezTo>
                    <a:pt x="235587" y="726918"/>
                    <a:pt x="236847" y="726918"/>
                    <a:pt x="236847" y="726918"/>
                  </a:cubicBezTo>
                  <a:cubicBezTo>
                    <a:pt x="238107" y="726918"/>
                    <a:pt x="239366" y="726918"/>
                    <a:pt x="240626" y="726918"/>
                  </a:cubicBezTo>
                  <a:cubicBezTo>
                    <a:pt x="243146" y="726918"/>
                    <a:pt x="244406" y="726918"/>
                    <a:pt x="246925" y="726918"/>
                  </a:cubicBezTo>
                  <a:cubicBezTo>
                    <a:pt x="248185" y="726918"/>
                    <a:pt x="249445" y="726918"/>
                    <a:pt x="249445" y="726918"/>
                  </a:cubicBezTo>
                  <a:lnTo>
                    <a:pt x="249445" y="726918"/>
                  </a:lnTo>
                  <a:cubicBezTo>
                    <a:pt x="249445" y="726918"/>
                    <a:pt x="250705" y="726918"/>
                    <a:pt x="250705" y="726918"/>
                  </a:cubicBezTo>
                  <a:cubicBezTo>
                    <a:pt x="254484" y="726918"/>
                    <a:pt x="258264" y="726918"/>
                    <a:pt x="262043" y="726918"/>
                  </a:cubicBezTo>
                  <a:cubicBezTo>
                    <a:pt x="263303" y="726918"/>
                    <a:pt x="265823" y="726918"/>
                    <a:pt x="267083" y="726918"/>
                  </a:cubicBezTo>
                  <a:cubicBezTo>
                    <a:pt x="268342" y="726918"/>
                    <a:pt x="270862" y="726918"/>
                    <a:pt x="272122" y="726918"/>
                  </a:cubicBezTo>
                  <a:lnTo>
                    <a:pt x="273382" y="726918"/>
                  </a:lnTo>
                  <a:cubicBezTo>
                    <a:pt x="273382" y="726918"/>
                    <a:pt x="274642" y="726918"/>
                    <a:pt x="274642" y="726918"/>
                  </a:cubicBezTo>
                  <a:cubicBezTo>
                    <a:pt x="277161" y="726918"/>
                    <a:pt x="278421" y="726918"/>
                    <a:pt x="280941" y="726918"/>
                  </a:cubicBezTo>
                  <a:lnTo>
                    <a:pt x="280941" y="726918"/>
                  </a:lnTo>
                  <a:lnTo>
                    <a:pt x="280941" y="726918"/>
                  </a:lnTo>
                  <a:cubicBezTo>
                    <a:pt x="291019" y="728178"/>
                    <a:pt x="302358" y="728178"/>
                    <a:pt x="312436" y="729438"/>
                  </a:cubicBezTo>
                  <a:cubicBezTo>
                    <a:pt x="319995" y="729438"/>
                    <a:pt x="325034" y="729438"/>
                    <a:pt x="331334" y="729438"/>
                  </a:cubicBezTo>
                  <a:cubicBezTo>
                    <a:pt x="331334" y="729438"/>
                    <a:pt x="331334" y="729438"/>
                    <a:pt x="332593" y="729438"/>
                  </a:cubicBezTo>
                  <a:cubicBezTo>
                    <a:pt x="333853" y="729438"/>
                    <a:pt x="333853" y="729438"/>
                    <a:pt x="335113" y="729438"/>
                  </a:cubicBezTo>
                  <a:lnTo>
                    <a:pt x="336373" y="729438"/>
                  </a:lnTo>
                  <a:cubicBezTo>
                    <a:pt x="337633" y="729438"/>
                    <a:pt x="340152" y="729438"/>
                    <a:pt x="341412" y="729438"/>
                  </a:cubicBezTo>
                  <a:cubicBezTo>
                    <a:pt x="342672" y="729438"/>
                    <a:pt x="343932" y="729438"/>
                    <a:pt x="345192" y="729438"/>
                  </a:cubicBezTo>
                  <a:cubicBezTo>
                    <a:pt x="346451" y="729438"/>
                    <a:pt x="347711" y="729438"/>
                    <a:pt x="348971" y="729438"/>
                  </a:cubicBezTo>
                  <a:lnTo>
                    <a:pt x="348971" y="729438"/>
                  </a:lnTo>
                  <a:cubicBezTo>
                    <a:pt x="348971" y="729438"/>
                    <a:pt x="350231" y="729438"/>
                    <a:pt x="350231" y="729438"/>
                  </a:cubicBezTo>
                  <a:cubicBezTo>
                    <a:pt x="333853" y="705501"/>
                    <a:pt x="323775" y="676525"/>
                    <a:pt x="313696" y="645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/>
          </p:nvSpPr>
          <p:spPr>
            <a:xfrm>
              <a:off x="8371845" y="4330717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2520 w 0"/>
                <a:gd name="connsiteY1" fmla="*/ 0 h 0"/>
                <a:gd name="connsiteX2" fmla="*/ 0 w 0"/>
                <a:gd name="connsiteY2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1260" y="1260"/>
                    <a:pt x="1260" y="0"/>
                    <a:pt x="2520" y="0"/>
                  </a:cubicBezTo>
                  <a:cubicBezTo>
                    <a:pt x="2520" y="0"/>
                    <a:pt x="1260" y="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/>
            <p:cNvSpPr/>
            <p:nvPr/>
          </p:nvSpPr>
          <p:spPr>
            <a:xfrm>
              <a:off x="8668725" y="4092183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/>
            <p:cNvSpPr/>
            <p:nvPr/>
          </p:nvSpPr>
          <p:spPr>
            <a:xfrm>
              <a:off x="8613811" y="3996941"/>
              <a:ext cx="60063" cy="231669"/>
            </a:xfrm>
            <a:custGeom>
              <a:avLst/>
              <a:gdLst>
                <a:gd name="connsiteX0" fmla="*/ 61731 w 88187"/>
                <a:gd name="connsiteY0" fmla="*/ 103305 h 340152"/>
                <a:gd name="connsiteX1" fmla="*/ 61731 w 88187"/>
                <a:gd name="connsiteY1" fmla="*/ 103305 h 340152"/>
                <a:gd name="connsiteX2" fmla="*/ 59212 w 88187"/>
                <a:gd name="connsiteY2" fmla="*/ 97006 h 340152"/>
                <a:gd name="connsiteX3" fmla="*/ 59212 w 88187"/>
                <a:gd name="connsiteY3" fmla="*/ 97006 h 340152"/>
                <a:gd name="connsiteX4" fmla="*/ 59212 w 88187"/>
                <a:gd name="connsiteY4" fmla="*/ 97006 h 340152"/>
                <a:gd name="connsiteX5" fmla="*/ 56692 w 88187"/>
                <a:gd name="connsiteY5" fmla="*/ 91967 h 340152"/>
                <a:gd name="connsiteX6" fmla="*/ 54172 w 88187"/>
                <a:gd name="connsiteY6" fmla="*/ 86928 h 340152"/>
                <a:gd name="connsiteX7" fmla="*/ 51653 w 88187"/>
                <a:gd name="connsiteY7" fmla="*/ 81889 h 340152"/>
                <a:gd name="connsiteX8" fmla="*/ 49133 w 88187"/>
                <a:gd name="connsiteY8" fmla="*/ 75589 h 340152"/>
                <a:gd name="connsiteX9" fmla="*/ 39054 w 88187"/>
                <a:gd name="connsiteY9" fmla="*/ 56692 h 340152"/>
                <a:gd name="connsiteX10" fmla="*/ 36535 w 88187"/>
                <a:gd name="connsiteY10" fmla="*/ 52913 h 340152"/>
                <a:gd name="connsiteX11" fmla="*/ 32755 w 88187"/>
                <a:gd name="connsiteY11" fmla="*/ 46613 h 340152"/>
                <a:gd name="connsiteX12" fmla="*/ 31496 w 88187"/>
                <a:gd name="connsiteY12" fmla="*/ 45354 h 340152"/>
                <a:gd name="connsiteX13" fmla="*/ 27716 w 88187"/>
                <a:gd name="connsiteY13" fmla="*/ 39054 h 340152"/>
                <a:gd name="connsiteX14" fmla="*/ 26456 w 88187"/>
                <a:gd name="connsiteY14" fmla="*/ 36535 h 340152"/>
                <a:gd name="connsiteX15" fmla="*/ 22677 w 88187"/>
                <a:gd name="connsiteY15" fmla="*/ 28976 h 340152"/>
                <a:gd name="connsiteX16" fmla="*/ 22677 w 88187"/>
                <a:gd name="connsiteY16" fmla="*/ 28976 h 340152"/>
                <a:gd name="connsiteX17" fmla="*/ 21417 w 88187"/>
                <a:gd name="connsiteY17" fmla="*/ 26456 h 340152"/>
                <a:gd name="connsiteX18" fmla="*/ 18897 w 88187"/>
                <a:gd name="connsiteY18" fmla="*/ 22677 h 340152"/>
                <a:gd name="connsiteX19" fmla="*/ 10079 w 88187"/>
                <a:gd name="connsiteY19" fmla="*/ 3780 h 340152"/>
                <a:gd name="connsiteX20" fmla="*/ 7559 w 88187"/>
                <a:gd name="connsiteY20" fmla="*/ 1260 h 340152"/>
                <a:gd name="connsiteX21" fmla="*/ 7559 w 88187"/>
                <a:gd name="connsiteY21" fmla="*/ 1260 h 340152"/>
                <a:gd name="connsiteX22" fmla="*/ 6299 w 88187"/>
                <a:gd name="connsiteY22" fmla="*/ 1260 h 340152"/>
                <a:gd name="connsiteX23" fmla="*/ 6299 w 88187"/>
                <a:gd name="connsiteY23" fmla="*/ 1260 h 340152"/>
                <a:gd name="connsiteX24" fmla="*/ 6299 w 88187"/>
                <a:gd name="connsiteY24" fmla="*/ 1260 h 340152"/>
                <a:gd name="connsiteX25" fmla="*/ 6299 w 88187"/>
                <a:gd name="connsiteY25" fmla="*/ 1260 h 340152"/>
                <a:gd name="connsiteX26" fmla="*/ 6299 w 88187"/>
                <a:gd name="connsiteY26" fmla="*/ 0 h 340152"/>
                <a:gd name="connsiteX27" fmla="*/ 6299 w 88187"/>
                <a:gd name="connsiteY27" fmla="*/ 0 h 340152"/>
                <a:gd name="connsiteX28" fmla="*/ 6299 w 88187"/>
                <a:gd name="connsiteY28" fmla="*/ 0 h 340152"/>
                <a:gd name="connsiteX29" fmla="*/ 6299 w 88187"/>
                <a:gd name="connsiteY29" fmla="*/ 0 h 340152"/>
                <a:gd name="connsiteX30" fmla="*/ 6299 w 88187"/>
                <a:gd name="connsiteY30" fmla="*/ 0 h 340152"/>
                <a:gd name="connsiteX31" fmla="*/ 6299 w 88187"/>
                <a:gd name="connsiteY31" fmla="*/ 0 h 340152"/>
                <a:gd name="connsiteX32" fmla="*/ 6299 w 88187"/>
                <a:gd name="connsiteY32" fmla="*/ 0 h 340152"/>
                <a:gd name="connsiteX33" fmla="*/ 5039 w 88187"/>
                <a:gd name="connsiteY33" fmla="*/ 0 h 340152"/>
                <a:gd name="connsiteX34" fmla="*/ 3780 w 88187"/>
                <a:gd name="connsiteY34" fmla="*/ 0 h 340152"/>
                <a:gd name="connsiteX35" fmla="*/ 2520 w 88187"/>
                <a:gd name="connsiteY35" fmla="*/ 2520 h 340152"/>
                <a:gd name="connsiteX36" fmla="*/ 2520 w 88187"/>
                <a:gd name="connsiteY36" fmla="*/ 3780 h 340152"/>
                <a:gd name="connsiteX37" fmla="*/ 1260 w 88187"/>
                <a:gd name="connsiteY37" fmla="*/ 7559 h 340152"/>
                <a:gd name="connsiteX38" fmla="*/ 1260 w 88187"/>
                <a:gd name="connsiteY38" fmla="*/ 8819 h 340152"/>
                <a:gd name="connsiteX39" fmla="*/ 0 w 88187"/>
                <a:gd name="connsiteY39" fmla="*/ 11338 h 340152"/>
                <a:gd name="connsiteX40" fmla="*/ 0 w 88187"/>
                <a:gd name="connsiteY40" fmla="*/ 11338 h 340152"/>
                <a:gd name="connsiteX41" fmla="*/ 0 w 88187"/>
                <a:gd name="connsiteY41" fmla="*/ 12598 h 340152"/>
                <a:gd name="connsiteX42" fmla="*/ 0 w 88187"/>
                <a:gd name="connsiteY42" fmla="*/ 13858 h 340152"/>
                <a:gd name="connsiteX43" fmla="*/ 0 w 88187"/>
                <a:gd name="connsiteY43" fmla="*/ 18897 h 340152"/>
                <a:gd name="connsiteX44" fmla="*/ 0 w 88187"/>
                <a:gd name="connsiteY44" fmla="*/ 18897 h 340152"/>
                <a:gd name="connsiteX45" fmla="*/ 0 w 88187"/>
                <a:gd name="connsiteY45" fmla="*/ 18897 h 340152"/>
                <a:gd name="connsiteX46" fmla="*/ 0 w 88187"/>
                <a:gd name="connsiteY46" fmla="*/ 22677 h 340152"/>
                <a:gd name="connsiteX47" fmla="*/ 0 w 88187"/>
                <a:gd name="connsiteY47" fmla="*/ 27716 h 340152"/>
                <a:gd name="connsiteX48" fmla="*/ 0 w 88187"/>
                <a:gd name="connsiteY48" fmla="*/ 37795 h 340152"/>
                <a:gd name="connsiteX49" fmla="*/ 0 w 88187"/>
                <a:gd name="connsiteY49" fmla="*/ 41574 h 340152"/>
                <a:gd name="connsiteX50" fmla="*/ 0 w 88187"/>
                <a:gd name="connsiteY50" fmla="*/ 41574 h 340152"/>
                <a:gd name="connsiteX51" fmla="*/ 0 w 88187"/>
                <a:gd name="connsiteY51" fmla="*/ 47873 h 340152"/>
                <a:gd name="connsiteX52" fmla="*/ 0 w 88187"/>
                <a:gd name="connsiteY52" fmla="*/ 50393 h 340152"/>
                <a:gd name="connsiteX53" fmla="*/ 0 w 88187"/>
                <a:gd name="connsiteY53" fmla="*/ 51653 h 340152"/>
                <a:gd name="connsiteX54" fmla="*/ 0 w 88187"/>
                <a:gd name="connsiteY54" fmla="*/ 52913 h 340152"/>
                <a:gd name="connsiteX55" fmla="*/ 0 w 88187"/>
                <a:gd name="connsiteY55" fmla="*/ 61731 h 340152"/>
                <a:gd name="connsiteX56" fmla="*/ 0 w 88187"/>
                <a:gd name="connsiteY56" fmla="*/ 70550 h 340152"/>
                <a:gd name="connsiteX57" fmla="*/ 0 w 88187"/>
                <a:gd name="connsiteY57" fmla="*/ 74330 h 340152"/>
                <a:gd name="connsiteX58" fmla="*/ 0 w 88187"/>
                <a:gd name="connsiteY58" fmla="*/ 78109 h 340152"/>
                <a:gd name="connsiteX59" fmla="*/ 0 w 88187"/>
                <a:gd name="connsiteY59" fmla="*/ 88188 h 340152"/>
                <a:gd name="connsiteX60" fmla="*/ 0 w 88187"/>
                <a:gd name="connsiteY60" fmla="*/ 91967 h 340152"/>
                <a:gd name="connsiteX61" fmla="*/ 0 w 88187"/>
                <a:gd name="connsiteY61" fmla="*/ 93227 h 340152"/>
                <a:gd name="connsiteX62" fmla="*/ 0 w 88187"/>
                <a:gd name="connsiteY62" fmla="*/ 94487 h 340152"/>
                <a:gd name="connsiteX63" fmla="*/ 0 w 88187"/>
                <a:gd name="connsiteY63" fmla="*/ 99526 h 340152"/>
                <a:gd name="connsiteX64" fmla="*/ 0 w 88187"/>
                <a:gd name="connsiteY64" fmla="*/ 104565 h 340152"/>
                <a:gd name="connsiteX65" fmla="*/ 0 w 88187"/>
                <a:gd name="connsiteY65" fmla="*/ 105825 h 340152"/>
                <a:gd name="connsiteX66" fmla="*/ 0 w 88187"/>
                <a:gd name="connsiteY66" fmla="*/ 109605 h 340152"/>
                <a:gd name="connsiteX67" fmla="*/ 0 w 88187"/>
                <a:gd name="connsiteY67" fmla="*/ 112124 h 340152"/>
                <a:gd name="connsiteX68" fmla="*/ 0 w 88187"/>
                <a:gd name="connsiteY68" fmla="*/ 113384 h 340152"/>
                <a:gd name="connsiteX69" fmla="*/ 0 w 88187"/>
                <a:gd name="connsiteY69" fmla="*/ 119683 h 340152"/>
                <a:gd name="connsiteX70" fmla="*/ 0 w 88187"/>
                <a:gd name="connsiteY70" fmla="*/ 119683 h 340152"/>
                <a:gd name="connsiteX71" fmla="*/ 0 w 88187"/>
                <a:gd name="connsiteY71" fmla="*/ 120943 h 340152"/>
                <a:gd name="connsiteX72" fmla="*/ 0 w 88187"/>
                <a:gd name="connsiteY72" fmla="*/ 129762 h 340152"/>
                <a:gd name="connsiteX73" fmla="*/ 0 w 88187"/>
                <a:gd name="connsiteY73" fmla="*/ 129762 h 340152"/>
                <a:gd name="connsiteX74" fmla="*/ 0 w 88187"/>
                <a:gd name="connsiteY74" fmla="*/ 134801 h 340152"/>
                <a:gd name="connsiteX75" fmla="*/ 0 w 88187"/>
                <a:gd name="connsiteY75" fmla="*/ 136061 h 340152"/>
                <a:gd name="connsiteX76" fmla="*/ 0 w 88187"/>
                <a:gd name="connsiteY76" fmla="*/ 139840 h 340152"/>
                <a:gd name="connsiteX77" fmla="*/ 0 w 88187"/>
                <a:gd name="connsiteY77" fmla="*/ 143620 h 340152"/>
                <a:gd name="connsiteX78" fmla="*/ 0 w 88187"/>
                <a:gd name="connsiteY78" fmla="*/ 151179 h 340152"/>
                <a:gd name="connsiteX79" fmla="*/ 0 w 88187"/>
                <a:gd name="connsiteY79" fmla="*/ 152439 h 340152"/>
                <a:gd name="connsiteX80" fmla="*/ 1260 w 88187"/>
                <a:gd name="connsiteY80" fmla="*/ 154958 h 340152"/>
                <a:gd name="connsiteX81" fmla="*/ 1260 w 88187"/>
                <a:gd name="connsiteY81" fmla="*/ 154958 h 340152"/>
                <a:gd name="connsiteX82" fmla="*/ 2520 w 88187"/>
                <a:gd name="connsiteY82" fmla="*/ 157478 h 340152"/>
                <a:gd name="connsiteX83" fmla="*/ 5039 w 88187"/>
                <a:gd name="connsiteY83" fmla="*/ 161257 h 340152"/>
                <a:gd name="connsiteX84" fmla="*/ 5039 w 88187"/>
                <a:gd name="connsiteY84" fmla="*/ 161257 h 340152"/>
                <a:gd name="connsiteX85" fmla="*/ 7559 w 88187"/>
                <a:gd name="connsiteY85" fmla="*/ 163777 h 340152"/>
                <a:gd name="connsiteX86" fmla="*/ 11338 w 88187"/>
                <a:gd name="connsiteY86" fmla="*/ 167557 h 340152"/>
                <a:gd name="connsiteX87" fmla="*/ 12598 w 88187"/>
                <a:gd name="connsiteY87" fmla="*/ 168816 h 340152"/>
                <a:gd name="connsiteX88" fmla="*/ 12598 w 88187"/>
                <a:gd name="connsiteY88" fmla="*/ 168816 h 340152"/>
                <a:gd name="connsiteX89" fmla="*/ 20157 w 88187"/>
                <a:gd name="connsiteY89" fmla="*/ 178895 h 340152"/>
                <a:gd name="connsiteX90" fmla="*/ 22677 w 88187"/>
                <a:gd name="connsiteY90" fmla="*/ 182674 h 340152"/>
                <a:gd name="connsiteX91" fmla="*/ 31496 w 88187"/>
                <a:gd name="connsiteY91" fmla="*/ 196532 h 340152"/>
                <a:gd name="connsiteX92" fmla="*/ 34015 w 88187"/>
                <a:gd name="connsiteY92" fmla="*/ 201572 h 340152"/>
                <a:gd name="connsiteX93" fmla="*/ 36535 w 88187"/>
                <a:gd name="connsiteY93" fmla="*/ 205351 h 340152"/>
                <a:gd name="connsiteX94" fmla="*/ 36535 w 88187"/>
                <a:gd name="connsiteY94" fmla="*/ 206611 h 340152"/>
                <a:gd name="connsiteX95" fmla="*/ 37795 w 88187"/>
                <a:gd name="connsiteY95" fmla="*/ 207871 h 340152"/>
                <a:gd name="connsiteX96" fmla="*/ 37795 w 88187"/>
                <a:gd name="connsiteY96" fmla="*/ 207871 h 340152"/>
                <a:gd name="connsiteX97" fmla="*/ 37795 w 88187"/>
                <a:gd name="connsiteY97" fmla="*/ 207871 h 340152"/>
                <a:gd name="connsiteX98" fmla="*/ 41574 w 88187"/>
                <a:gd name="connsiteY98" fmla="*/ 212910 h 340152"/>
                <a:gd name="connsiteX99" fmla="*/ 47873 w 88187"/>
                <a:gd name="connsiteY99" fmla="*/ 225508 h 340152"/>
                <a:gd name="connsiteX100" fmla="*/ 47873 w 88187"/>
                <a:gd name="connsiteY100" fmla="*/ 225508 h 340152"/>
                <a:gd name="connsiteX101" fmla="*/ 47873 w 88187"/>
                <a:gd name="connsiteY101" fmla="*/ 225508 h 340152"/>
                <a:gd name="connsiteX102" fmla="*/ 47873 w 88187"/>
                <a:gd name="connsiteY102" fmla="*/ 225508 h 340152"/>
                <a:gd name="connsiteX103" fmla="*/ 50393 w 88187"/>
                <a:gd name="connsiteY103" fmla="*/ 228028 h 340152"/>
                <a:gd name="connsiteX104" fmla="*/ 50393 w 88187"/>
                <a:gd name="connsiteY104" fmla="*/ 228028 h 340152"/>
                <a:gd name="connsiteX105" fmla="*/ 50393 w 88187"/>
                <a:gd name="connsiteY105" fmla="*/ 228028 h 340152"/>
                <a:gd name="connsiteX106" fmla="*/ 51653 w 88187"/>
                <a:gd name="connsiteY106" fmla="*/ 229288 h 340152"/>
                <a:gd name="connsiteX107" fmla="*/ 55432 w 88187"/>
                <a:gd name="connsiteY107" fmla="*/ 234327 h 340152"/>
                <a:gd name="connsiteX108" fmla="*/ 56692 w 88187"/>
                <a:gd name="connsiteY108" fmla="*/ 236847 h 340152"/>
                <a:gd name="connsiteX109" fmla="*/ 60472 w 88187"/>
                <a:gd name="connsiteY109" fmla="*/ 243146 h 340152"/>
                <a:gd name="connsiteX110" fmla="*/ 60472 w 88187"/>
                <a:gd name="connsiteY110" fmla="*/ 243146 h 340152"/>
                <a:gd name="connsiteX111" fmla="*/ 64251 w 88187"/>
                <a:gd name="connsiteY111" fmla="*/ 250705 h 340152"/>
                <a:gd name="connsiteX112" fmla="*/ 65511 w 88187"/>
                <a:gd name="connsiteY112" fmla="*/ 251965 h 340152"/>
                <a:gd name="connsiteX113" fmla="*/ 66771 w 88187"/>
                <a:gd name="connsiteY113" fmla="*/ 254484 h 340152"/>
                <a:gd name="connsiteX114" fmla="*/ 66771 w 88187"/>
                <a:gd name="connsiteY114" fmla="*/ 254484 h 340152"/>
                <a:gd name="connsiteX115" fmla="*/ 66771 w 88187"/>
                <a:gd name="connsiteY115" fmla="*/ 255744 h 340152"/>
                <a:gd name="connsiteX116" fmla="*/ 70550 w 88187"/>
                <a:gd name="connsiteY116" fmla="*/ 263303 h 340152"/>
                <a:gd name="connsiteX117" fmla="*/ 74329 w 88187"/>
                <a:gd name="connsiteY117" fmla="*/ 270862 h 340152"/>
                <a:gd name="connsiteX118" fmla="*/ 78109 w 88187"/>
                <a:gd name="connsiteY118" fmla="*/ 277161 h 340152"/>
                <a:gd name="connsiteX119" fmla="*/ 84408 w 88187"/>
                <a:gd name="connsiteY119" fmla="*/ 289759 h 340152"/>
                <a:gd name="connsiteX120" fmla="*/ 84408 w 88187"/>
                <a:gd name="connsiteY120" fmla="*/ 291019 h 340152"/>
                <a:gd name="connsiteX121" fmla="*/ 85668 w 88187"/>
                <a:gd name="connsiteY121" fmla="*/ 293539 h 340152"/>
                <a:gd name="connsiteX122" fmla="*/ 85668 w 88187"/>
                <a:gd name="connsiteY122" fmla="*/ 294799 h 340152"/>
                <a:gd name="connsiteX123" fmla="*/ 93227 w 88187"/>
                <a:gd name="connsiteY123" fmla="*/ 313696 h 340152"/>
                <a:gd name="connsiteX124" fmla="*/ 94487 w 88187"/>
                <a:gd name="connsiteY124" fmla="*/ 317475 h 340152"/>
                <a:gd name="connsiteX125" fmla="*/ 94487 w 88187"/>
                <a:gd name="connsiteY125" fmla="*/ 318735 h 340152"/>
                <a:gd name="connsiteX126" fmla="*/ 95746 w 88187"/>
                <a:gd name="connsiteY126" fmla="*/ 323775 h 340152"/>
                <a:gd name="connsiteX127" fmla="*/ 95746 w 88187"/>
                <a:gd name="connsiteY127" fmla="*/ 323775 h 340152"/>
                <a:gd name="connsiteX128" fmla="*/ 95746 w 88187"/>
                <a:gd name="connsiteY128" fmla="*/ 323775 h 340152"/>
                <a:gd name="connsiteX129" fmla="*/ 95746 w 88187"/>
                <a:gd name="connsiteY129" fmla="*/ 326294 h 340152"/>
                <a:gd name="connsiteX130" fmla="*/ 97006 w 88187"/>
                <a:gd name="connsiteY130" fmla="*/ 331334 h 340152"/>
                <a:gd name="connsiteX131" fmla="*/ 97006 w 88187"/>
                <a:gd name="connsiteY131" fmla="*/ 333853 h 340152"/>
                <a:gd name="connsiteX132" fmla="*/ 97006 w 88187"/>
                <a:gd name="connsiteY132" fmla="*/ 333853 h 340152"/>
                <a:gd name="connsiteX133" fmla="*/ 97006 w 88187"/>
                <a:gd name="connsiteY133" fmla="*/ 336373 h 340152"/>
                <a:gd name="connsiteX134" fmla="*/ 97006 w 88187"/>
                <a:gd name="connsiteY134" fmla="*/ 338892 h 340152"/>
                <a:gd name="connsiteX135" fmla="*/ 97006 w 88187"/>
                <a:gd name="connsiteY135" fmla="*/ 341412 h 340152"/>
                <a:gd name="connsiteX136" fmla="*/ 97006 w 88187"/>
                <a:gd name="connsiteY136" fmla="*/ 342672 h 340152"/>
                <a:gd name="connsiteX137" fmla="*/ 97006 w 88187"/>
                <a:gd name="connsiteY137" fmla="*/ 342672 h 340152"/>
                <a:gd name="connsiteX138" fmla="*/ 97006 w 88187"/>
                <a:gd name="connsiteY138" fmla="*/ 343932 h 340152"/>
                <a:gd name="connsiteX139" fmla="*/ 97006 w 88187"/>
                <a:gd name="connsiteY139" fmla="*/ 343932 h 340152"/>
                <a:gd name="connsiteX140" fmla="*/ 97006 w 88187"/>
                <a:gd name="connsiteY140" fmla="*/ 343932 h 340152"/>
                <a:gd name="connsiteX141" fmla="*/ 97006 w 88187"/>
                <a:gd name="connsiteY141" fmla="*/ 343932 h 340152"/>
                <a:gd name="connsiteX142" fmla="*/ 97006 w 88187"/>
                <a:gd name="connsiteY142" fmla="*/ 343932 h 340152"/>
                <a:gd name="connsiteX143" fmla="*/ 97006 w 88187"/>
                <a:gd name="connsiteY143" fmla="*/ 343932 h 340152"/>
                <a:gd name="connsiteX144" fmla="*/ 97006 w 88187"/>
                <a:gd name="connsiteY144" fmla="*/ 342672 h 340152"/>
                <a:gd name="connsiteX145" fmla="*/ 98266 w 88187"/>
                <a:gd name="connsiteY145" fmla="*/ 332593 h 340152"/>
                <a:gd name="connsiteX146" fmla="*/ 98266 w 88187"/>
                <a:gd name="connsiteY146" fmla="*/ 332593 h 340152"/>
                <a:gd name="connsiteX147" fmla="*/ 98266 w 88187"/>
                <a:gd name="connsiteY147" fmla="*/ 331334 h 340152"/>
                <a:gd name="connsiteX148" fmla="*/ 98266 w 88187"/>
                <a:gd name="connsiteY148" fmla="*/ 330074 h 340152"/>
                <a:gd name="connsiteX149" fmla="*/ 98266 w 88187"/>
                <a:gd name="connsiteY149" fmla="*/ 321255 h 340152"/>
                <a:gd name="connsiteX150" fmla="*/ 98266 w 88187"/>
                <a:gd name="connsiteY150" fmla="*/ 321255 h 340152"/>
                <a:gd name="connsiteX151" fmla="*/ 98266 w 88187"/>
                <a:gd name="connsiteY151" fmla="*/ 309916 h 340152"/>
                <a:gd name="connsiteX152" fmla="*/ 98266 w 88187"/>
                <a:gd name="connsiteY152" fmla="*/ 307397 h 340152"/>
                <a:gd name="connsiteX153" fmla="*/ 98266 w 88187"/>
                <a:gd name="connsiteY153" fmla="*/ 303617 h 340152"/>
                <a:gd name="connsiteX154" fmla="*/ 98266 w 88187"/>
                <a:gd name="connsiteY154" fmla="*/ 289759 h 340152"/>
                <a:gd name="connsiteX155" fmla="*/ 98266 w 88187"/>
                <a:gd name="connsiteY155" fmla="*/ 280941 h 340152"/>
                <a:gd name="connsiteX156" fmla="*/ 98266 w 88187"/>
                <a:gd name="connsiteY156" fmla="*/ 272122 h 340152"/>
                <a:gd name="connsiteX157" fmla="*/ 98266 w 88187"/>
                <a:gd name="connsiteY157" fmla="*/ 268342 h 340152"/>
                <a:gd name="connsiteX158" fmla="*/ 97006 w 88187"/>
                <a:gd name="connsiteY158" fmla="*/ 248185 h 340152"/>
                <a:gd name="connsiteX159" fmla="*/ 95746 w 88187"/>
                <a:gd name="connsiteY159" fmla="*/ 226768 h 340152"/>
                <a:gd name="connsiteX160" fmla="*/ 95746 w 88187"/>
                <a:gd name="connsiteY160" fmla="*/ 219209 h 340152"/>
                <a:gd name="connsiteX161" fmla="*/ 94487 w 88187"/>
                <a:gd name="connsiteY161" fmla="*/ 210390 h 340152"/>
                <a:gd name="connsiteX162" fmla="*/ 91967 w 88187"/>
                <a:gd name="connsiteY162" fmla="*/ 190233 h 340152"/>
                <a:gd name="connsiteX163" fmla="*/ 89447 w 88187"/>
                <a:gd name="connsiteY163" fmla="*/ 168816 h 340152"/>
                <a:gd name="connsiteX164" fmla="*/ 88188 w 88187"/>
                <a:gd name="connsiteY164" fmla="*/ 152439 h 340152"/>
                <a:gd name="connsiteX165" fmla="*/ 85668 w 88187"/>
                <a:gd name="connsiteY165" fmla="*/ 147399 h 340152"/>
                <a:gd name="connsiteX166" fmla="*/ 84408 w 88187"/>
                <a:gd name="connsiteY166" fmla="*/ 144880 h 340152"/>
                <a:gd name="connsiteX167" fmla="*/ 80629 w 88187"/>
                <a:gd name="connsiteY167" fmla="*/ 134801 h 340152"/>
                <a:gd name="connsiteX168" fmla="*/ 80629 w 88187"/>
                <a:gd name="connsiteY168" fmla="*/ 133541 h 340152"/>
                <a:gd name="connsiteX169" fmla="*/ 76849 w 88187"/>
                <a:gd name="connsiteY169" fmla="*/ 123463 h 340152"/>
                <a:gd name="connsiteX170" fmla="*/ 71810 w 88187"/>
                <a:gd name="connsiteY170" fmla="*/ 112124 h 340152"/>
                <a:gd name="connsiteX171" fmla="*/ 61731 w 88187"/>
                <a:gd name="connsiteY171" fmla="*/ 103305 h 340152"/>
                <a:gd name="connsiteX172" fmla="*/ 61731 w 88187"/>
                <a:gd name="connsiteY172" fmla="*/ 103305 h 340152"/>
                <a:gd name="connsiteX173" fmla="*/ 61731 w 88187"/>
                <a:gd name="connsiteY173" fmla="*/ 103305 h 340152"/>
                <a:gd name="connsiteX174" fmla="*/ 7559 w 88187"/>
                <a:gd name="connsiteY174" fmla="*/ 142360 h 340152"/>
                <a:gd name="connsiteX175" fmla="*/ 7559 w 88187"/>
                <a:gd name="connsiteY175" fmla="*/ 142360 h 340152"/>
                <a:gd name="connsiteX176" fmla="*/ 7559 w 88187"/>
                <a:gd name="connsiteY176" fmla="*/ 142360 h 34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88187" h="340152">
                  <a:moveTo>
                    <a:pt x="61731" y="103305"/>
                  </a:moveTo>
                  <a:lnTo>
                    <a:pt x="61731" y="103305"/>
                  </a:lnTo>
                  <a:cubicBezTo>
                    <a:pt x="60472" y="100786"/>
                    <a:pt x="59212" y="99526"/>
                    <a:pt x="59212" y="97006"/>
                  </a:cubicBezTo>
                  <a:lnTo>
                    <a:pt x="59212" y="97006"/>
                  </a:lnTo>
                  <a:lnTo>
                    <a:pt x="59212" y="97006"/>
                  </a:lnTo>
                  <a:cubicBezTo>
                    <a:pt x="57952" y="95746"/>
                    <a:pt x="57952" y="93227"/>
                    <a:pt x="56692" y="91967"/>
                  </a:cubicBezTo>
                  <a:cubicBezTo>
                    <a:pt x="55432" y="90707"/>
                    <a:pt x="55432" y="89447"/>
                    <a:pt x="54172" y="86928"/>
                  </a:cubicBezTo>
                  <a:cubicBezTo>
                    <a:pt x="52913" y="85668"/>
                    <a:pt x="52913" y="83148"/>
                    <a:pt x="51653" y="81889"/>
                  </a:cubicBezTo>
                  <a:cubicBezTo>
                    <a:pt x="50393" y="79369"/>
                    <a:pt x="49133" y="78109"/>
                    <a:pt x="49133" y="75589"/>
                  </a:cubicBezTo>
                  <a:cubicBezTo>
                    <a:pt x="45354" y="69290"/>
                    <a:pt x="42834" y="62991"/>
                    <a:pt x="39054" y="56692"/>
                  </a:cubicBezTo>
                  <a:lnTo>
                    <a:pt x="36535" y="52913"/>
                  </a:lnTo>
                  <a:cubicBezTo>
                    <a:pt x="35275" y="50393"/>
                    <a:pt x="34015" y="49133"/>
                    <a:pt x="32755" y="46613"/>
                  </a:cubicBezTo>
                  <a:lnTo>
                    <a:pt x="31496" y="45354"/>
                  </a:lnTo>
                  <a:cubicBezTo>
                    <a:pt x="30236" y="42834"/>
                    <a:pt x="28976" y="41574"/>
                    <a:pt x="27716" y="39054"/>
                  </a:cubicBezTo>
                  <a:lnTo>
                    <a:pt x="26456" y="36535"/>
                  </a:lnTo>
                  <a:cubicBezTo>
                    <a:pt x="25196" y="34015"/>
                    <a:pt x="23937" y="31496"/>
                    <a:pt x="22677" y="28976"/>
                  </a:cubicBezTo>
                  <a:lnTo>
                    <a:pt x="22677" y="28976"/>
                  </a:lnTo>
                  <a:cubicBezTo>
                    <a:pt x="22677" y="27716"/>
                    <a:pt x="21417" y="27716"/>
                    <a:pt x="21417" y="26456"/>
                  </a:cubicBezTo>
                  <a:cubicBezTo>
                    <a:pt x="20157" y="25196"/>
                    <a:pt x="20157" y="23937"/>
                    <a:pt x="18897" y="22677"/>
                  </a:cubicBezTo>
                  <a:cubicBezTo>
                    <a:pt x="16378" y="16378"/>
                    <a:pt x="13858" y="11338"/>
                    <a:pt x="10079" y="3780"/>
                  </a:cubicBezTo>
                  <a:cubicBezTo>
                    <a:pt x="10079" y="2520"/>
                    <a:pt x="8819" y="1260"/>
                    <a:pt x="7559" y="1260"/>
                  </a:cubicBezTo>
                  <a:lnTo>
                    <a:pt x="7559" y="1260"/>
                  </a:lnTo>
                  <a:cubicBezTo>
                    <a:pt x="7559" y="1260"/>
                    <a:pt x="755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5039" y="0"/>
                  </a:cubicBezTo>
                  <a:cubicBezTo>
                    <a:pt x="5039" y="0"/>
                    <a:pt x="3780" y="0"/>
                    <a:pt x="3780" y="0"/>
                  </a:cubicBezTo>
                  <a:cubicBezTo>
                    <a:pt x="2520" y="0"/>
                    <a:pt x="2520" y="1260"/>
                    <a:pt x="2520" y="2520"/>
                  </a:cubicBezTo>
                  <a:cubicBezTo>
                    <a:pt x="2520" y="2520"/>
                    <a:pt x="2520" y="2520"/>
                    <a:pt x="2520" y="3780"/>
                  </a:cubicBezTo>
                  <a:cubicBezTo>
                    <a:pt x="1260" y="5039"/>
                    <a:pt x="1260" y="6299"/>
                    <a:pt x="1260" y="7559"/>
                  </a:cubicBezTo>
                  <a:lnTo>
                    <a:pt x="1260" y="8819"/>
                  </a:lnTo>
                  <a:cubicBezTo>
                    <a:pt x="1260" y="8819"/>
                    <a:pt x="1260" y="10079"/>
                    <a:pt x="0" y="11338"/>
                  </a:cubicBezTo>
                  <a:cubicBezTo>
                    <a:pt x="0" y="11338"/>
                    <a:pt x="0" y="11338"/>
                    <a:pt x="0" y="11338"/>
                  </a:cubicBezTo>
                  <a:lnTo>
                    <a:pt x="0" y="12598"/>
                  </a:lnTo>
                  <a:cubicBezTo>
                    <a:pt x="0" y="12598"/>
                    <a:pt x="0" y="13858"/>
                    <a:pt x="0" y="13858"/>
                  </a:cubicBezTo>
                  <a:cubicBezTo>
                    <a:pt x="0" y="15118"/>
                    <a:pt x="0" y="17637"/>
                    <a:pt x="0" y="18897"/>
                  </a:cubicBezTo>
                  <a:lnTo>
                    <a:pt x="0" y="18897"/>
                  </a:lnTo>
                  <a:lnTo>
                    <a:pt x="0" y="18897"/>
                  </a:lnTo>
                  <a:cubicBezTo>
                    <a:pt x="0" y="20157"/>
                    <a:pt x="0" y="21417"/>
                    <a:pt x="0" y="22677"/>
                  </a:cubicBezTo>
                  <a:cubicBezTo>
                    <a:pt x="0" y="23937"/>
                    <a:pt x="0" y="26456"/>
                    <a:pt x="0" y="27716"/>
                  </a:cubicBezTo>
                  <a:cubicBezTo>
                    <a:pt x="0" y="31496"/>
                    <a:pt x="0" y="35275"/>
                    <a:pt x="0" y="37795"/>
                  </a:cubicBezTo>
                  <a:cubicBezTo>
                    <a:pt x="0" y="39054"/>
                    <a:pt x="0" y="40314"/>
                    <a:pt x="0" y="41574"/>
                  </a:cubicBezTo>
                  <a:lnTo>
                    <a:pt x="0" y="41574"/>
                  </a:lnTo>
                  <a:cubicBezTo>
                    <a:pt x="0" y="44094"/>
                    <a:pt x="0" y="45354"/>
                    <a:pt x="0" y="47873"/>
                  </a:cubicBezTo>
                  <a:cubicBezTo>
                    <a:pt x="0" y="49133"/>
                    <a:pt x="0" y="50393"/>
                    <a:pt x="0" y="50393"/>
                  </a:cubicBezTo>
                  <a:lnTo>
                    <a:pt x="0" y="51653"/>
                  </a:lnTo>
                  <a:cubicBezTo>
                    <a:pt x="0" y="51653"/>
                    <a:pt x="0" y="52913"/>
                    <a:pt x="0" y="52913"/>
                  </a:cubicBezTo>
                  <a:cubicBezTo>
                    <a:pt x="0" y="55432"/>
                    <a:pt x="0" y="57952"/>
                    <a:pt x="0" y="61731"/>
                  </a:cubicBezTo>
                  <a:cubicBezTo>
                    <a:pt x="0" y="64251"/>
                    <a:pt x="0" y="68030"/>
                    <a:pt x="0" y="70550"/>
                  </a:cubicBezTo>
                  <a:cubicBezTo>
                    <a:pt x="0" y="71810"/>
                    <a:pt x="0" y="73070"/>
                    <a:pt x="0" y="74330"/>
                  </a:cubicBezTo>
                  <a:cubicBezTo>
                    <a:pt x="0" y="75589"/>
                    <a:pt x="0" y="76849"/>
                    <a:pt x="0" y="78109"/>
                  </a:cubicBezTo>
                  <a:cubicBezTo>
                    <a:pt x="0" y="80629"/>
                    <a:pt x="0" y="84408"/>
                    <a:pt x="0" y="88188"/>
                  </a:cubicBezTo>
                  <a:cubicBezTo>
                    <a:pt x="0" y="89447"/>
                    <a:pt x="0" y="90707"/>
                    <a:pt x="0" y="91967"/>
                  </a:cubicBezTo>
                  <a:lnTo>
                    <a:pt x="0" y="93227"/>
                  </a:lnTo>
                  <a:lnTo>
                    <a:pt x="0" y="94487"/>
                  </a:lnTo>
                  <a:cubicBezTo>
                    <a:pt x="0" y="95746"/>
                    <a:pt x="0" y="98266"/>
                    <a:pt x="0" y="99526"/>
                  </a:cubicBezTo>
                  <a:cubicBezTo>
                    <a:pt x="0" y="100786"/>
                    <a:pt x="0" y="103305"/>
                    <a:pt x="0" y="104565"/>
                  </a:cubicBezTo>
                  <a:lnTo>
                    <a:pt x="0" y="105825"/>
                  </a:lnTo>
                  <a:cubicBezTo>
                    <a:pt x="0" y="107085"/>
                    <a:pt x="0" y="108345"/>
                    <a:pt x="0" y="109605"/>
                  </a:cubicBezTo>
                  <a:cubicBezTo>
                    <a:pt x="0" y="110864"/>
                    <a:pt x="0" y="110864"/>
                    <a:pt x="0" y="112124"/>
                  </a:cubicBezTo>
                  <a:lnTo>
                    <a:pt x="0" y="113384"/>
                  </a:lnTo>
                  <a:cubicBezTo>
                    <a:pt x="0" y="115904"/>
                    <a:pt x="0" y="117164"/>
                    <a:pt x="0" y="119683"/>
                  </a:cubicBezTo>
                  <a:lnTo>
                    <a:pt x="0" y="119683"/>
                  </a:lnTo>
                  <a:lnTo>
                    <a:pt x="0" y="120943"/>
                  </a:lnTo>
                  <a:cubicBezTo>
                    <a:pt x="0" y="123463"/>
                    <a:pt x="0" y="125982"/>
                    <a:pt x="0" y="129762"/>
                  </a:cubicBezTo>
                  <a:lnTo>
                    <a:pt x="0" y="129762"/>
                  </a:lnTo>
                  <a:cubicBezTo>
                    <a:pt x="0" y="131022"/>
                    <a:pt x="0" y="133541"/>
                    <a:pt x="0" y="134801"/>
                  </a:cubicBezTo>
                  <a:lnTo>
                    <a:pt x="0" y="136061"/>
                  </a:lnTo>
                  <a:cubicBezTo>
                    <a:pt x="0" y="137321"/>
                    <a:pt x="0" y="138581"/>
                    <a:pt x="0" y="139840"/>
                  </a:cubicBezTo>
                  <a:cubicBezTo>
                    <a:pt x="0" y="141100"/>
                    <a:pt x="0" y="142360"/>
                    <a:pt x="0" y="143620"/>
                  </a:cubicBezTo>
                  <a:cubicBezTo>
                    <a:pt x="0" y="146139"/>
                    <a:pt x="0" y="148659"/>
                    <a:pt x="0" y="151179"/>
                  </a:cubicBezTo>
                  <a:cubicBezTo>
                    <a:pt x="0" y="151179"/>
                    <a:pt x="0" y="151179"/>
                    <a:pt x="0" y="152439"/>
                  </a:cubicBezTo>
                  <a:cubicBezTo>
                    <a:pt x="0" y="153698"/>
                    <a:pt x="1260" y="153698"/>
                    <a:pt x="1260" y="154958"/>
                  </a:cubicBezTo>
                  <a:lnTo>
                    <a:pt x="1260" y="154958"/>
                  </a:lnTo>
                  <a:cubicBezTo>
                    <a:pt x="1260" y="156218"/>
                    <a:pt x="2520" y="156218"/>
                    <a:pt x="2520" y="157478"/>
                  </a:cubicBezTo>
                  <a:cubicBezTo>
                    <a:pt x="3780" y="158738"/>
                    <a:pt x="5039" y="159998"/>
                    <a:pt x="5039" y="161257"/>
                  </a:cubicBezTo>
                  <a:lnTo>
                    <a:pt x="5039" y="161257"/>
                  </a:lnTo>
                  <a:cubicBezTo>
                    <a:pt x="6299" y="162517"/>
                    <a:pt x="6299" y="163777"/>
                    <a:pt x="7559" y="163777"/>
                  </a:cubicBezTo>
                  <a:cubicBezTo>
                    <a:pt x="8819" y="165037"/>
                    <a:pt x="10079" y="166297"/>
                    <a:pt x="11338" y="167557"/>
                  </a:cubicBezTo>
                  <a:cubicBezTo>
                    <a:pt x="11338" y="167557"/>
                    <a:pt x="12598" y="168816"/>
                    <a:pt x="12598" y="168816"/>
                  </a:cubicBezTo>
                  <a:lnTo>
                    <a:pt x="12598" y="168816"/>
                  </a:lnTo>
                  <a:cubicBezTo>
                    <a:pt x="15118" y="171336"/>
                    <a:pt x="17637" y="175115"/>
                    <a:pt x="20157" y="178895"/>
                  </a:cubicBezTo>
                  <a:cubicBezTo>
                    <a:pt x="21417" y="180155"/>
                    <a:pt x="21417" y="181414"/>
                    <a:pt x="22677" y="182674"/>
                  </a:cubicBezTo>
                  <a:cubicBezTo>
                    <a:pt x="26456" y="187714"/>
                    <a:pt x="28976" y="191493"/>
                    <a:pt x="31496" y="196532"/>
                  </a:cubicBezTo>
                  <a:cubicBezTo>
                    <a:pt x="32755" y="197792"/>
                    <a:pt x="32755" y="199052"/>
                    <a:pt x="34015" y="201572"/>
                  </a:cubicBezTo>
                  <a:cubicBezTo>
                    <a:pt x="35275" y="202831"/>
                    <a:pt x="35275" y="204091"/>
                    <a:pt x="36535" y="205351"/>
                  </a:cubicBezTo>
                  <a:lnTo>
                    <a:pt x="36535" y="206611"/>
                  </a:lnTo>
                  <a:lnTo>
                    <a:pt x="37795" y="207871"/>
                  </a:lnTo>
                  <a:lnTo>
                    <a:pt x="37795" y="207871"/>
                  </a:lnTo>
                  <a:lnTo>
                    <a:pt x="37795" y="207871"/>
                  </a:lnTo>
                  <a:cubicBezTo>
                    <a:pt x="39054" y="209131"/>
                    <a:pt x="40314" y="211650"/>
                    <a:pt x="41574" y="212910"/>
                  </a:cubicBezTo>
                  <a:cubicBezTo>
                    <a:pt x="44094" y="216690"/>
                    <a:pt x="45354" y="220469"/>
                    <a:pt x="47873" y="225508"/>
                  </a:cubicBezTo>
                  <a:lnTo>
                    <a:pt x="47873" y="225508"/>
                  </a:lnTo>
                  <a:lnTo>
                    <a:pt x="47873" y="225508"/>
                  </a:lnTo>
                  <a:lnTo>
                    <a:pt x="47873" y="225508"/>
                  </a:lnTo>
                  <a:cubicBezTo>
                    <a:pt x="49133" y="226768"/>
                    <a:pt x="49133" y="226768"/>
                    <a:pt x="50393" y="228028"/>
                  </a:cubicBezTo>
                  <a:lnTo>
                    <a:pt x="50393" y="228028"/>
                  </a:lnTo>
                  <a:lnTo>
                    <a:pt x="50393" y="228028"/>
                  </a:lnTo>
                  <a:cubicBezTo>
                    <a:pt x="50393" y="228028"/>
                    <a:pt x="51653" y="229288"/>
                    <a:pt x="51653" y="229288"/>
                  </a:cubicBezTo>
                  <a:cubicBezTo>
                    <a:pt x="52913" y="230548"/>
                    <a:pt x="54172" y="231807"/>
                    <a:pt x="55432" y="234327"/>
                  </a:cubicBezTo>
                  <a:cubicBezTo>
                    <a:pt x="55432" y="235587"/>
                    <a:pt x="56692" y="235587"/>
                    <a:pt x="56692" y="236847"/>
                  </a:cubicBezTo>
                  <a:cubicBezTo>
                    <a:pt x="57952" y="238107"/>
                    <a:pt x="59212" y="240626"/>
                    <a:pt x="60472" y="243146"/>
                  </a:cubicBezTo>
                  <a:cubicBezTo>
                    <a:pt x="60472" y="243146"/>
                    <a:pt x="60472" y="243146"/>
                    <a:pt x="60472" y="243146"/>
                  </a:cubicBezTo>
                  <a:cubicBezTo>
                    <a:pt x="61731" y="245666"/>
                    <a:pt x="62991" y="248185"/>
                    <a:pt x="64251" y="250705"/>
                  </a:cubicBezTo>
                  <a:lnTo>
                    <a:pt x="65511" y="251965"/>
                  </a:lnTo>
                  <a:lnTo>
                    <a:pt x="66771" y="254484"/>
                  </a:lnTo>
                  <a:lnTo>
                    <a:pt x="66771" y="254484"/>
                  </a:lnTo>
                  <a:lnTo>
                    <a:pt x="66771" y="255744"/>
                  </a:lnTo>
                  <a:cubicBezTo>
                    <a:pt x="68030" y="258264"/>
                    <a:pt x="69290" y="260783"/>
                    <a:pt x="70550" y="263303"/>
                  </a:cubicBezTo>
                  <a:cubicBezTo>
                    <a:pt x="71810" y="265823"/>
                    <a:pt x="73070" y="268342"/>
                    <a:pt x="74329" y="270862"/>
                  </a:cubicBezTo>
                  <a:cubicBezTo>
                    <a:pt x="75589" y="273382"/>
                    <a:pt x="76849" y="274642"/>
                    <a:pt x="78109" y="277161"/>
                  </a:cubicBezTo>
                  <a:cubicBezTo>
                    <a:pt x="80629" y="280941"/>
                    <a:pt x="81889" y="285980"/>
                    <a:pt x="84408" y="289759"/>
                  </a:cubicBezTo>
                  <a:lnTo>
                    <a:pt x="84408" y="291019"/>
                  </a:lnTo>
                  <a:cubicBezTo>
                    <a:pt x="84408" y="292279"/>
                    <a:pt x="85668" y="292279"/>
                    <a:pt x="85668" y="293539"/>
                  </a:cubicBezTo>
                  <a:cubicBezTo>
                    <a:pt x="85668" y="293539"/>
                    <a:pt x="85668" y="294799"/>
                    <a:pt x="85668" y="294799"/>
                  </a:cubicBezTo>
                  <a:cubicBezTo>
                    <a:pt x="88188" y="301098"/>
                    <a:pt x="90707" y="307397"/>
                    <a:pt x="93227" y="313696"/>
                  </a:cubicBezTo>
                  <a:cubicBezTo>
                    <a:pt x="93227" y="314956"/>
                    <a:pt x="94487" y="316216"/>
                    <a:pt x="94487" y="317475"/>
                  </a:cubicBezTo>
                  <a:cubicBezTo>
                    <a:pt x="94487" y="317475"/>
                    <a:pt x="94487" y="317475"/>
                    <a:pt x="94487" y="318735"/>
                  </a:cubicBezTo>
                  <a:cubicBezTo>
                    <a:pt x="94487" y="319995"/>
                    <a:pt x="95746" y="321255"/>
                    <a:pt x="95746" y="323775"/>
                  </a:cubicBezTo>
                  <a:lnTo>
                    <a:pt x="95746" y="323775"/>
                  </a:lnTo>
                  <a:lnTo>
                    <a:pt x="95746" y="323775"/>
                  </a:lnTo>
                  <a:cubicBezTo>
                    <a:pt x="95746" y="325034"/>
                    <a:pt x="95746" y="325034"/>
                    <a:pt x="95746" y="326294"/>
                  </a:cubicBezTo>
                  <a:cubicBezTo>
                    <a:pt x="95746" y="327554"/>
                    <a:pt x="95746" y="330074"/>
                    <a:pt x="97006" y="331334"/>
                  </a:cubicBezTo>
                  <a:cubicBezTo>
                    <a:pt x="97006" y="332593"/>
                    <a:pt x="97006" y="333853"/>
                    <a:pt x="97006" y="333853"/>
                  </a:cubicBezTo>
                  <a:cubicBezTo>
                    <a:pt x="97006" y="333853"/>
                    <a:pt x="97006" y="333853"/>
                    <a:pt x="97006" y="333853"/>
                  </a:cubicBezTo>
                  <a:cubicBezTo>
                    <a:pt x="97006" y="335113"/>
                    <a:pt x="97006" y="335113"/>
                    <a:pt x="97006" y="336373"/>
                  </a:cubicBezTo>
                  <a:cubicBezTo>
                    <a:pt x="97006" y="337633"/>
                    <a:pt x="97006" y="338892"/>
                    <a:pt x="97006" y="338892"/>
                  </a:cubicBezTo>
                  <a:cubicBezTo>
                    <a:pt x="97006" y="340152"/>
                    <a:pt x="97006" y="340152"/>
                    <a:pt x="97006" y="341412"/>
                  </a:cubicBezTo>
                  <a:lnTo>
                    <a:pt x="97006" y="342672"/>
                  </a:lnTo>
                  <a:lnTo>
                    <a:pt x="97006" y="342672"/>
                  </a:lnTo>
                  <a:cubicBezTo>
                    <a:pt x="97006" y="342672"/>
                    <a:pt x="97006" y="343932"/>
                    <a:pt x="97006" y="343932"/>
                  </a:cubicBezTo>
                  <a:lnTo>
                    <a:pt x="97006" y="343932"/>
                  </a:lnTo>
                  <a:lnTo>
                    <a:pt x="97006" y="343932"/>
                  </a:ln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2672"/>
                  </a:cubicBezTo>
                  <a:cubicBezTo>
                    <a:pt x="97006" y="338892"/>
                    <a:pt x="98266" y="336373"/>
                    <a:pt x="98266" y="332593"/>
                  </a:cubicBezTo>
                  <a:cubicBezTo>
                    <a:pt x="98266" y="332593"/>
                    <a:pt x="98266" y="332593"/>
                    <a:pt x="98266" y="332593"/>
                  </a:cubicBezTo>
                  <a:cubicBezTo>
                    <a:pt x="98266" y="332593"/>
                    <a:pt x="98266" y="331334"/>
                    <a:pt x="98266" y="331334"/>
                  </a:cubicBezTo>
                  <a:cubicBezTo>
                    <a:pt x="98266" y="331334"/>
                    <a:pt x="98266" y="331334"/>
                    <a:pt x="98266" y="330074"/>
                  </a:cubicBezTo>
                  <a:cubicBezTo>
                    <a:pt x="98266" y="327554"/>
                    <a:pt x="98266" y="323775"/>
                    <a:pt x="98266" y="321255"/>
                  </a:cubicBezTo>
                  <a:cubicBezTo>
                    <a:pt x="98266" y="321255"/>
                    <a:pt x="98266" y="321255"/>
                    <a:pt x="98266" y="321255"/>
                  </a:cubicBezTo>
                  <a:cubicBezTo>
                    <a:pt x="98266" y="317475"/>
                    <a:pt x="98266" y="313696"/>
                    <a:pt x="98266" y="309916"/>
                  </a:cubicBezTo>
                  <a:cubicBezTo>
                    <a:pt x="98266" y="308657"/>
                    <a:pt x="98266" y="307397"/>
                    <a:pt x="98266" y="307397"/>
                  </a:cubicBezTo>
                  <a:cubicBezTo>
                    <a:pt x="98266" y="306137"/>
                    <a:pt x="98266" y="304877"/>
                    <a:pt x="98266" y="303617"/>
                  </a:cubicBezTo>
                  <a:cubicBezTo>
                    <a:pt x="98266" y="298578"/>
                    <a:pt x="98266" y="294799"/>
                    <a:pt x="98266" y="289759"/>
                  </a:cubicBezTo>
                  <a:cubicBezTo>
                    <a:pt x="98266" y="287240"/>
                    <a:pt x="98266" y="284720"/>
                    <a:pt x="98266" y="280941"/>
                  </a:cubicBezTo>
                  <a:cubicBezTo>
                    <a:pt x="98266" y="278421"/>
                    <a:pt x="98266" y="274642"/>
                    <a:pt x="98266" y="272122"/>
                  </a:cubicBezTo>
                  <a:cubicBezTo>
                    <a:pt x="98266" y="270862"/>
                    <a:pt x="98266" y="269602"/>
                    <a:pt x="98266" y="268342"/>
                  </a:cubicBezTo>
                  <a:cubicBezTo>
                    <a:pt x="98266" y="262043"/>
                    <a:pt x="97006" y="254484"/>
                    <a:pt x="97006" y="248185"/>
                  </a:cubicBezTo>
                  <a:cubicBezTo>
                    <a:pt x="97006" y="241886"/>
                    <a:pt x="95746" y="234327"/>
                    <a:pt x="95746" y="226768"/>
                  </a:cubicBezTo>
                  <a:cubicBezTo>
                    <a:pt x="95746" y="224249"/>
                    <a:pt x="95746" y="221729"/>
                    <a:pt x="95746" y="219209"/>
                  </a:cubicBezTo>
                  <a:cubicBezTo>
                    <a:pt x="95746" y="216690"/>
                    <a:pt x="94487" y="212910"/>
                    <a:pt x="94487" y="210390"/>
                  </a:cubicBezTo>
                  <a:cubicBezTo>
                    <a:pt x="93227" y="204091"/>
                    <a:pt x="93227" y="196532"/>
                    <a:pt x="91967" y="190233"/>
                  </a:cubicBezTo>
                  <a:cubicBezTo>
                    <a:pt x="90707" y="182674"/>
                    <a:pt x="90707" y="176375"/>
                    <a:pt x="89447" y="168816"/>
                  </a:cubicBezTo>
                  <a:cubicBezTo>
                    <a:pt x="89447" y="163777"/>
                    <a:pt x="88188" y="157478"/>
                    <a:pt x="88188" y="152439"/>
                  </a:cubicBezTo>
                  <a:cubicBezTo>
                    <a:pt x="86928" y="151179"/>
                    <a:pt x="86928" y="148659"/>
                    <a:pt x="85668" y="147399"/>
                  </a:cubicBezTo>
                  <a:lnTo>
                    <a:pt x="84408" y="144880"/>
                  </a:lnTo>
                  <a:cubicBezTo>
                    <a:pt x="83148" y="141100"/>
                    <a:pt x="81889" y="138581"/>
                    <a:pt x="80629" y="134801"/>
                  </a:cubicBezTo>
                  <a:lnTo>
                    <a:pt x="80629" y="133541"/>
                  </a:lnTo>
                  <a:cubicBezTo>
                    <a:pt x="79369" y="129762"/>
                    <a:pt x="78109" y="127242"/>
                    <a:pt x="76849" y="123463"/>
                  </a:cubicBezTo>
                  <a:cubicBezTo>
                    <a:pt x="75589" y="119683"/>
                    <a:pt x="73070" y="115904"/>
                    <a:pt x="71810" y="112124"/>
                  </a:cubicBezTo>
                  <a:cubicBezTo>
                    <a:pt x="64251" y="108345"/>
                    <a:pt x="62991" y="105825"/>
                    <a:pt x="61731" y="103305"/>
                  </a:cubicBezTo>
                  <a:cubicBezTo>
                    <a:pt x="61731" y="103305"/>
                    <a:pt x="61731" y="103305"/>
                    <a:pt x="61731" y="103305"/>
                  </a:cubicBezTo>
                  <a:lnTo>
                    <a:pt x="61731" y="103305"/>
                  </a:lnTo>
                  <a:close/>
                  <a:moveTo>
                    <a:pt x="7559" y="142360"/>
                  </a:moveTo>
                  <a:cubicBezTo>
                    <a:pt x="7559" y="142360"/>
                    <a:pt x="7559" y="142360"/>
                    <a:pt x="7559" y="142360"/>
                  </a:cubicBezTo>
                  <a:cubicBezTo>
                    <a:pt x="7559" y="142360"/>
                    <a:pt x="7559" y="142360"/>
                    <a:pt x="7559" y="142360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/>
            <p:cNvSpPr/>
            <p:nvPr/>
          </p:nvSpPr>
          <p:spPr>
            <a:xfrm>
              <a:off x="8672157" y="4242339"/>
              <a:ext cx="8580" cy="8580"/>
            </a:xfrm>
            <a:custGeom>
              <a:avLst/>
              <a:gdLst>
                <a:gd name="connsiteX0" fmla="*/ 1260 w 0"/>
                <a:gd name="connsiteY0" fmla="*/ 2520 h 0"/>
                <a:gd name="connsiteX1" fmla="*/ 1260 w 0"/>
                <a:gd name="connsiteY1" fmla="*/ 2520 h 0"/>
                <a:gd name="connsiteX2" fmla="*/ 0 w 0"/>
                <a:gd name="connsiteY2" fmla="*/ 6299 h 0"/>
                <a:gd name="connsiteX3" fmla="*/ 0 w 0"/>
                <a:gd name="connsiteY3" fmla="*/ 6299 h 0"/>
                <a:gd name="connsiteX4" fmla="*/ 1260 w 0"/>
                <a:gd name="connsiteY4" fmla="*/ 5039 h 0"/>
                <a:gd name="connsiteX5" fmla="*/ 1260 w 0"/>
                <a:gd name="connsiteY5" fmla="*/ 2520 h 0"/>
                <a:gd name="connsiteX6" fmla="*/ 1260 w 0"/>
                <a:gd name="connsiteY6" fmla="*/ 2520 h 0"/>
                <a:gd name="connsiteX7" fmla="*/ 1260 w 0"/>
                <a:gd name="connsiteY7" fmla="*/ 2520 h 0"/>
                <a:gd name="connsiteX8" fmla="*/ 2520 w 0"/>
                <a:gd name="connsiteY8" fmla="*/ 0 h 0"/>
                <a:gd name="connsiteX9" fmla="*/ 2520 w 0"/>
                <a:gd name="connsiteY9" fmla="*/ 0 h 0"/>
                <a:gd name="connsiteX10" fmla="*/ 2520 w 0"/>
                <a:gd name="connsiteY10" fmla="*/ 0 h 0"/>
                <a:gd name="connsiteX11" fmla="*/ 2520 w 0"/>
                <a:gd name="connsiteY11" fmla="*/ 0 h 0"/>
                <a:gd name="connsiteX12" fmla="*/ 2520 w 0"/>
                <a:gd name="connsiteY12" fmla="*/ 0 h 0"/>
                <a:gd name="connsiteX13" fmla="*/ 2520 w 0"/>
                <a:gd name="connsiteY13" fmla="*/ 0 h 0"/>
                <a:gd name="connsiteX14" fmla="*/ 1260 w 0"/>
                <a:gd name="connsiteY14" fmla="*/ 2520 h 0"/>
                <a:gd name="connsiteX15" fmla="*/ 1260 w 0"/>
                <a:gd name="connsiteY15" fmla="*/ 25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>
                  <a:moveTo>
                    <a:pt x="1260" y="2520"/>
                  </a:moveTo>
                  <a:cubicBezTo>
                    <a:pt x="1260" y="2520"/>
                    <a:pt x="1260" y="3780"/>
                    <a:pt x="1260" y="2520"/>
                  </a:cubicBezTo>
                  <a:cubicBezTo>
                    <a:pt x="0" y="3780"/>
                    <a:pt x="0" y="5039"/>
                    <a:pt x="0" y="6299"/>
                  </a:cubicBezTo>
                  <a:cubicBezTo>
                    <a:pt x="0" y="6299"/>
                    <a:pt x="0" y="6299"/>
                    <a:pt x="0" y="6299"/>
                  </a:cubicBezTo>
                  <a:cubicBezTo>
                    <a:pt x="0" y="6299"/>
                    <a:pt x="1260" y="5039"/>
                    <a:pt x="1260" y="5039"/>
                  </a:cubicBezTo>
                  <a:cubicBezTo>
                    <a:pt x="1260" y="3780"/>
                    <a:pt x="1260" y="3780"/>
                    <a:pt x="1260" y="2520"/>
                  </a:cubicBezTo>
                  <a:lnTo>
                    <a:pt x="1260" y="2520"/>
                  </a:lnTo>
                  <a:cubicBezTo>
                    <a:pt x="1260" y="3780"/>
                    <a:pt x="2520" y="3780"/>
                    <a:pt x="1260" y="2520"/>
                  </a:cubicBezTo>
                  <a:cubicBezTo>
                    <a:pt x="2520" y="2520"/>
                    <a:pt x="2520" y="126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lnTo>
                    <a:pt x="2520" y="0"/>
                  </a:lnTo>
                  <a:lnTo>
                    <a:pt x="2520" y="0"/>
                  </a:ln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1260"/>
                    <a:pt x="1260" y="2520"/>
                  </a:cubicBezTo>
                  <a:lnTo>
                    <a:pt x="1260" y="2520"/>
                  </a:ln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/>
            <p:cNvSpPr/>
            <p:nvPr/>
          </p:nvSpPr>
          <p:spPr>
            <a:xfrm>
              <a:off x="8352110" y="3471824"/>
              <a:ext cx="300312" cy="248830"/>
            </a:xfrm>
            <a:custGeom>
              <a:avLst/>
              <a:gdLst>
                <a:gd name="connsiteX0" fmla="*/ 449757 w 440938"/>
                <a:gd name="connsiteY0" fmla="*/ 84408 h 365348"/>
                <a:gd name="connsiteX1" fmla="*/ 447237 w 440938"/>
                <a:gd name="connsiteY1" fmla="*/ 73070 h 365348"/>
                <a:gd name="connsiteX2" fmla="*/ 442198 w 440938"/>
                <a:gd name="connsiteY2" fmla="*/ 62991 h 365348"/>
                <a:gd name="connsiteX3" fmla="*/ 442198 w 440938"/>
                <a:gd name="connsiteY3" fmla="*/ 61731 h 365348"/>
                <a:gd name="connsiteX4" fmla="*/ 437159 w 440938"/>
                <a:gd name="connsiteY4" fmla="*/ 52913 h 365348"/>
                <a:gd name="connsiteX5" fmla="*/ 430860 w 440938"/>
                <a:gd name="connsiteY5" fmla="*/ 42834 h 365348"/>
                <a:gd name="connsiteX6" fmla="*/ 415742 w 440938"/>
                <a:gd name="connsiteY6" fmla="*/ 26456 h 365348"/>
                <a:gd name="connsiteX7" fmla="*/ 395584 w 440938"/>
                <a:gd name="connsiteY7" fmla="*/ 12598 h 365348"/>
                <a:gd name="connsiteX8" fmla="*/ 385506 w 440938"/>
                <a:gd name="connsiteY8" fmla="*/ 7559 h 365348"/>
                <a:gd name="connsiteX9" fmla="*/ 380467 w 440938"/>
                <a:gd name="connsiteY9" fmla="*/ 5039 h 365348"/>
                <a:gd name="connsiteX10" fmla="*/ 372908 w 440938"/>
                <a:gd name="connsiteY10" fmla="*/ 2520 h 365348"/>
                <a:gd name="connsiteX11" fmla="*/ 360309 w 440938"/>
                <a:gd name="connsiteY11" fmla="*/ 0 h 365348"/>
                <a:gd name="connsiteX12" fmla="*/ 345192 w 440938"/>
                <a:gd name="connsiteY12" fmla="*/ 0 h 365348"/>
                <a:gd name="connsiteX13" fmla="*/ 343932 w 440938"/>
                <a:gd name="connsiteY13" fmla="*/ 0 h 365348"/>
                <a:gd name="connsiteX14" fmla="*/ 340152 w 440938"/>
                <a:gd name="connsiteY14" fmla="*/ 0 h 365348"/>
                <a:gd name="connsiteX15" fmla="*/ 332593 w 440938"/>
                <a:gd name="connsiteY15" fmla="*/ 1260 h 365348"/>
                <a:gd name="connsiteX16" fmla="*/ 322515 w 440938"/>
                <a:gd name="connsiteY16" fmla="*/ 3779 h 365348"/>
                <a:gd name="connsiteX17" fmla="*/ 312436 w 440938"/>
                <a:gd name="connsiteY17" fmla="*/ 6299 h 365348"/>
                <a:gd name="connsiteX18" fmla="*/ 309916 w 440938"/>
                <a:gd name="connsiteY18" fmla="*/ 7559 h 365348"/>
                <a:gd name="connsiteX19" fmla="*/ 302358 w 440938"/>
                <a:gd name="connsiteY19" fmla="*/ 8819 h 365348"/>
                <a:gd name="connsiteX20" fmla="*/ 282200 w 440938"/>
                <a:gd name="connsiteY20" fmla="*/ 17637 h 365348"/>
                <a:gd name="connsiteX21" fmla="*/ 273382 w 440938"/>
                <a:gd name="connsiteY21" fmla="*/ 23937 h 365348"/>
                <a:gd name="connsiteX22" fmla="*/ 272122 w 440938"/>
                <a:gd name="connsiteY22" fmla="*/ 25196 h 365348"/>
                <a:gd name="connsiteX23" fmla="*/ 269602 w 440938"/>
                <a:gd name="connsiteY23" fmla="*/ 22677 h 365348"/>
                <a:gd name="connsiteX24" fmla="*/ 259523 w 440938"/>
                <a:gd name="connsiteY24" fmla="*/ 16378 h 365348"/>
                <a:gd name="connsiteX25" fmla="*/ 236847 w 440938"/>
                <a:gd name="connsiteY25" fmla="*/ 11338 h 365348"/>
                <a:gd name="connsiteX26" fmla="*/ 210390 w 440938"/>
                <a:gd name="connsiteY26" fmla="*/ 8819 h 365348"/>
                <a:gd name="connsiteX27" fmla="*/ 186454 w 440938"/>
                <a:gd name="connsiteY27" fmla="*/ 8819 h 365348"/>
                <a:gd name="connsiteX28" fmla="*/ 185194 w 440938"/>
                <a:gd name="connsiteY28" fmla="*/ 8819 h 365348"/>
                <a:gd name="connsiteX29" fmla="*/ 167557 w 440938"/>
                <a:gd name="connsiteY29" fmla="*/ 8819 h 365348"/>
                <a:gd name="connsiteX30" fmla="*/ 162517 w 440938"/>
                <a:gd name="connsiteY30" fmla="*/ 8819 h 365348"/>
                <a:gd name="connsiteX31" fmla="*/ 138581 w 440938"/>
                <a:gd name="connsiteY31" fmla="*/ 15118 h 365348"/>
                <a:gd name="connsiteX32" fmla="*/ 128502 w 440938"/>
                <a:gd name="connsiteY32" fmla="*/ 20157 h 365348"/>
                <a:gd name="connsiteX33" fmla="*/ 119683 w 440938"/>
                <a:gd name="connsiteY33" fmla="*/ 25196 h 365348"/>
                <a:gd name="connsiteX34" fmla="*/ 118423 w 440938"/>
                <a:gd name="connsiteY34" fmla="*/ 26456 h 365348"/>
                <a:gd name="connsiteX35" fmla="*/ 113384 w 440938"/>
                <a:gd name="connsiteY35" fmla="*/ 28976 h 365348"/>
                <a:gd name="connsiteX36" fmla="*/ 108345 w 440938"/>
                <a:gd name="connsiteY36" fmla="*/ 31496 h 365348"/>
                <a:gd name="connsiteX37" fmla="*/ 98266 w 440938"/>
                <a:gd name="connsiteY37" fmla="*/ 36535 h 365348"/>
                <a:gd name="connsiteX38" fmla="*/ 93227 w 440938"/>
                <a:gd name="connsiteY38" fmla="*/ 39054 h 365348"/>
                <a:gd name="connsiteX39" fmla="*/ 86928 w 440938"/>
                <a:gd name="connsiteY39" fmla="*/ 42834 h 365348"/>
                <a:gd name="connsiteX40" fmla="*/ 78109 w 440938"/>
                <a:gd name="connsiteY40" fmla="*/ 49133 h 365348"/>
                <a:gd name="connsiteX41" fmla="*/ 61731 w 440938"/>
                <a:gd name="connsiteY41" fmla="*/ 64251 h 365348"/>
                <a:gd name="connsiteX42" fmla="*/ 46613 w 440938"/>
                <a:gd name="connsiteY42" fmla="*/ 81889 h 365348"/>
                <a:gd name="connsiteX43" fmla="*/ 44094 w 440938"/>
                <a:gd name="connsiteY43" fmla="*/ 84408 h 365348"/>
                <a:gd name="connsiteX44" fmla="*/ 42834 w 440938"/>
                <a:gd name="connsiteY44" fmla="*/ 85668 h 365348"/>
                <a:gd name="connsiteX45" fmla="*/ 39054 w 440938"/>
                <a:gd name="connsiteY45" fmla="*/ 90707 h 365348"/>
                <a:gd name="connsiteX46" fmla="*/ 34015 w 440938"/>
                <a:gd name="connsiteY46" fmla="*/ 98266 h 365348"/>
                <a:gd name="connsiteX47" fmla="*/ 32755 w 440938"/>
                <a:gd name="connsiteY47" fmla="*/ 100786 h 365348"/>
                <a:gd name="connsiteX48" fmla="*/ 32755 w 440938"/>
                <a:gd name="connsiteY48" fmla="*/ 100786 h 365348"/>
                <a:gd name="connsiteX49" fmla="*/ 31496 w 440938"/>
                <a:gd name="connsiteY49" fmla="*/ 102046 h 365348"/>
                <a:gd name="connsiteX50" fmla="*/ 30236 w 440938"/>
                <a:gd name="connsiteY50" fmla="*/ 104565 h 365348"/>
                <a:gd name="connsiteX51" fmla="*/ 25196 w 440938"/>
                <a:gd name="connsiteY51" fmla="*/ 113384 h 365348"/>
                <a:gd name="connsiteX52" fmla="*/ 21417 w 440938"/>
                <a:gd name="connsiteY52" fmla="*/ 123463 h 365348"/>
                <a:gd name="connsiteX53" fmla="*/ 18897 w 440938"/>
                <a:gd name="connsiteY53" fmla="*/ 129762 h 365348"/>
                <a:gd name="connsiteX54" fmla="*/ 17637 w 440938"/>
                <a:gd name="connsiteY54" fmla="*/ 132281 h 365348"/>
                <a:gd name="connsiteX55" fmla="*/ 16378 w 440938"/>
                <a:gd name="connsiteY55" fmla="*/ 134801 h 365348"/>
                <a:gd name="connsiteX56" fmla="*/ 12598 w 440938"/>
                <a:gd name="connsiteY56" fmla="*/ 144880 h 365348"/>
                <a:gd name="connsiteX57" fmla="*/ 11338 w 440938"/>
                <a:gd name="connsiteY57" fmla="*/ 152439 h 365348"/>
                <a:gd name="connsiteX58" fmla="*/ 11338 w 440938"/>
                <a:gd name="connsiteY58" fmla="*/ 152439 h 365348"/>
                <a:gd name="connsiteX59" fmla="*/ 11338 w 440938"/>
                <a:gd name="connsiteY59" fmla="*/ 154958 h 365348"/>
                <a:gd name="connsiteX60" fmla="*/ 8819 w 440938"/>
                <a:gd name="connsiteY60" fmla="*/ 165037 h 365348"/>
                <a:gd name="connsiteX61" fmla="*/ 8819 w 440938"/>
                <a:gd name="connsiteY61" fmla="*/ 168816 h 365348"/>
                <a:gd name="connsiteX62" fmla="*/ 8819 w 440938"/>
                <a:gd name="connsiteY62" fmla="*/ 168816 h 365348"/>
                <a:gd name="connsiteX63" fmla="*/ 7559 w 440938"/>
                <a:gd name="connsiteY63" fmla="*/ 172596 h 365348"/>
                <a:gd name="connsiteX64" fmla="*/ 3780 w 440938"/>
                <a:gd name="connsiteY64" fmla="*/ 188974 h 365348"/>
                <a:gd name="connsiteX65" fmla="*/ 2520 w 440938"/>
                <a:gd name="connsiteY65" fmla="*/ 201572 h 365348"/>
                <a:gd name="connsiteX66" fmla="*/ 2520 w 440938"/>
                <a:gd name="connsiteY66" fmla="*/ 201572 h 365348"/>
                <a:gd name="connsiteX67" fmla="*/ 2520 w 440938"/>
                <a:gd name="connsiteY67" fmla="*/ 202831 h 365348"/>
                <a:gd name="connsiteX68" fmla="*/ 1260 w 440938"/>
                <a:gd name="connsiteY68" fmla="*/ 211650 h 365348"/>
                <a:gd name="connsiteX69" fmla="*/ 0 w 440938"/>
                <a:gd name="connsiteY69" fmla="*/ 233067 h 365348"/>
                <a:gd name="connsiteX70" fmla="*/ 0 w 440938"/>
                <a:gd name="connsiteY70" fmla="*/ 244406 h 365348"/>
                <a:gd name="connsiteX71" fmla="*/ 1260 w 440938"/>
                <a:gd name="connsiteY71" fmla="*/ 254484 h 365348"/>
                <a:gd name="connsiteX72" fmla="*/ 1260 w 440938"/>
                <a:gd name="connsiteY72" fmla="*/ 255744 h 365348"/>
                <a:gd name="connsiteX73" fmla="*/ 3780 w 440938"/>
                <a:gd name="connsiteY73" fmla="*/ 267083 h 365348"/>
                <a:gd name="connsiteX74" fmla="*/ 3780 w 440938"/>
                <a:gd name="connsiteY74" fmla="*/ 268342 h 365348"/>
                <a:gd name="connsiteX75" fmla="*/ 6299 w 440938"/>
                <a:gd name="connsiteY75" fmla="*/ 277161 h 365348"/>
                <a:gd name="connsiteX76" fmla="*/ 10079 w 440938"/>
                <a:gd name="connsiteY76" fmla="*/ 287240 h 365348"/>
                <a:gd name="connsiteX77" fmla="*/ 13858 w 440938"/>
                <a:gd name="connsiteY77" fmla="*/ 296058 h 365348"/>
                <a:gd name="connsiteX78" fmla="*/ 13858 w 440938"/>
                <a:gd name="connsiteY78" fmla="*/ 297318 h 365348"/>
                <a:gd name="connsiteX79" fmla="*/ 23937 w 440938"/>
                <a:gd name="connsiteY79" fmla="*/ 316216 h 365348"/>
                <a:gd name="connsiteX80" fmla="*/ 25196 w 440938"/>
                <a:gd name="connsiteY80" fmla="*/ 317475 h 365348"/>
                <a:gd name="connsiteX81" fmla="*/ 36535 w 440938"/>
                <a:gd name="connsiteY81" fmla="*/ 335113 h 365348"/>
                <a:gd name="connsiteX82" fmla="*/ 50393 w 440938"/>
                <a:gd name="connsiteY82" fmla="*/ 352751 h 365348"/>
                <a:gd name="connsiteX83" fmla="*/ 59212 w 440938"/>
                <a:gd name="connsiteY83" fmla="*/ 361569 h 365348"/>
                <a:gd name="connsiteX84" fmla="*/ 65511 w 440938"/>
                <a:gd name="connsiteY84" fmla="*/ 366608 h 365348"/>
                <a:gd name="connsiteX85" fmla="*/ 66771 w 440938"/>
                <a:gd name="connsiteY85" fmla="*/ 367868 h 365348"/>
                <a:gd name="connsiteX86" fmla="*/ 73070 w 440938"/>
                <a:gd name="connsiteY86" fmla="*/ 372908 h 365348"/>
                <a:gd name="connsiteX87" fmla="*/ 71810 w 440938"/>
                <a:gd name="connsiteY87" fmla="*/ 369128 h 365348"/>
                <a:gd name="connsiteX88" fmla="*/ 68030 w 440938"/>
                <a:gd name="connsiteY88" fmla="*/ 348971 h 365348"/>
                <a:gd name="connsiteX89" fmla="*/ 65511 w 440938"/>
                <a:gd name="connsiteY89" fmla="*/ 331333 h 365348"/>
                <a:gd name="connsiteX90" fmla="*/ 61731 w 440938"/>
                <a:gd name="connsiteY90" fmla="*/ 294799 h 365348"/>
                <a:gd name="connsiteX91" fmla="*/ 60472 w 440938"/>
                <a:gd name="connsiteY91" fmla="*/ 277161 h 365348"/>
                <a:gd name="connsiteX92" fmla="*/ 60472 w 440938"/>
                <a:gd name="connsiteY92" fmla="*/ 260783 h 365348"/>
                <a:gd name="connsiteX93" fmla="*/ 60472 w 440938"/>
                <a:gd name="connsiteY93" fmla="*/ 257004 h 365348"/>
                <a:gd name="connsiteX94" fmla="*/ 60472 w 440938"/>
                <a:gd name="connsiteY94" fmla="*/ 255744 h 365348"/>
                <a:gd name="connsiteX95" fmla="*/ 60472 w 440938"/>
                <a:gd name="connsiteY95" fmla="*/ 255744 h 365348"/>
                <a:gd name="connsiteX96" fmla="*/ 59212 w 440938"/>
                <a:gd name="connsiteY96" fmla="*/ 245666 h 365348"/>
                <a:gd name="connsiteX97" fmla="*/ 59212 w 440938"/>
                <a:gd name="connsiteY97" fmla="*/ 238107 h 365348"/>
                <a:gd name="connsiteX98" fmla="*/ 59212 w 440938"/>
                <a:gd name="connsiteY98" fmla="*/ 234327 h 365348"/>
                <a:gd name="connsiteX99" fmla="*/ 59212 w 440938"/>
                <a:gd name="connsiteY99" fmla="*/ 234327 h 365348"/>
                <a:gd name="connsiteX100" fmla="*/ 62991 w 440938"/>
                <a:gd name="connsiteY100" fmla="*/ 233067 h 365348"/>
                <a:gd name="connsiteX101" fmla="*/ 70550 w 440938"/>
                <a:gd name="connsiteY101" fmla="*/ 230548 h 365348"/>
                <a:gd name="connsiteX102" fmla="*/ 78109 w 440938"/>
                <a:gd name="connsiteY102" fmla="*/ 228028 h 365348"/>
                <a:gd name="connsiteX103" fmla="*/ 94487 w 440938"/>
                <a:gd name="connsiteY103" fmla="*/ 221729 h 365348"/>
                <a:gd name="connsiteX104" fmla="*/ 119683 w 440938"/>
                <a:gd name="connsiteY104" fmla="*/ 212910 h 365348"/>
                <a:gd name="connsiteX105" fmla="*/ 138581 w 440938"/>
                <a:gd name="connsiteY105" fmla="*/ 200312 h 365348"/>
                <a:gd name="connsiteX106" fmla="*/ 151179 w 440938"/>
                <a:gd name="connsiteY106" fmla="*/ 190233 h 365348"/>
                <a:gd name="connsiteX107" fmla="*/ 153698 w 440938"/>
                <a:gd name="connsiteY107" fmla="*/ 186454 h 365348"/>
                <a:gd name="connsiteX108" fmla="*/ 156218 w 440938"/>
                <a:gd name="connsiteY108" fmla="*/ 181414 h 365348"/>
                <a:gd name="connsiteX109" fmla="*/ 161257 w 440938"/>
                <a:gd name="connsiteY109" fmla="*/ 170076 h 365348"/>
                <a:gd name="connsiteX110" fmla="*/ 162517 w 440938"/>
                <a:gd name="connsiteY110" fmla="*/ 167556 h 365348"/>
                <a:gd name="connsiteX111" fmla="*/ 163777 w 440938"/>
                <a:gd name="connsiteY111" fmla="*/ 166297 h 365348"/>
                <a:gd name="connsiteX112" fmla="*/ 166297 w 440938"/>
                <a:gd name="connsiteY112" fmla="*/ 161257 h 365348"/>
                <a:gd name="connsiteX113" fmla="*/ 166297 w 440938"/>
                <a:gd name="connsiteY113" fmla="*/ 161257 h 365348"/>
                <a:gd name="connsiteX114" fmla="*/ 171336 w 440938"/>
                <a:gd name="connsiteY114" fmla="*/ 166297 h 365348"/>
                <a:gd name="connsiteX115" fmla="*/ 173856 w 440938"/>
                <a:gd name="connsiteY115" fmla="*/ 168816 h 365348"/>
                <a:gd name="connsiteX116" fmla="*/ 175115 w 440938"/>
                <a:gd name="connsiteY116" fmla="*/ 170076 h 365348"/>
                <a:gd name="connsiteX117" fmla="*/ 175115 w 440938"/>
                <a:gd name="connsiteY117" fmla="*/ 170076 h 365348"/>
                <a:gd name="connsiteX118" fmla="*/ 175115 w 440938"/>
                <a:gd name="connsiteY118" fmla="*/ 170076 h 365348"/>
                <a:gd name="connsiteX119" fmla="*/ 175115 w 440938"/>
                <a:gd name="connsiteY119" fmla="*/ 170076 h 365348"/>
                <a:gd name="connsiteX120" fmla="*/ 175115 w 440938"/>
                <a:gd name="connsiteY120" fmla="*/ 170076 h 365348"/>
                <a:gd name="connsiteX121" fmla="*/ 180155 w 440938"/>
                <a:gd name="connsiteY121" fmla="*/ 175115 h 365348"/>
                <a:gd name="connsiteX122" fmla="*/ 182674 w 440938"/>
                <a:gd name="connsiteY122" fmla="*/ 177635 h 365348"/>
                <a:gd name="connsiteX123" fmla="*/ 186454 w 440938"/>
                <a:gd name="connsiteY123" fmla="*/ 181414 h 365348"/>
                <a:gd name="connsiteX124" fmla="*/ 187714 w 440938"/>
                <a:gd name="connsiteY124" fmla="*/ 182674 h 365348"/>
                <a:gd name="connsiteX125" fmla="*/ 190233 w 440938"/>
                <a:gd name="connsiteY125" fmla="*/ 183934 h 365348"/>
                <a:gd name="connsiteX126" fmla="*/ 197792 w 440938"/>
                <a:gd name="connsiteY126" fmla="*/ 188974 h 365348"/>
                <a:gd name="connsiteX127" fmla="*/ 197792 w 440938"/>
                <a:gd name="connsiteY127" fmla="*/ 188974 h 365348"/>
                <a:gd name="connsiteX128" fmla="*/ 197792 w 440938"/>
                <a:gd name="connsiteY128" fmla="*/ 188974 h 365348"/>
                <a:gd name="connsiteX129" fmla="*/ 209131 w 440938"/>
                <a:gd name="connsiteY129" fmla="*/ 194013 h 365348"/>
                <a:gd name="connsiteX130" fmla="*/ 233067 w 440938"/>
                <a:gd name="connsiteY130" fmla="*/ 202831 h 365348"/>
                <a:gd name="connsiteX131" fmla="*/ 254484 w 440938"/>
                <a:gd name="connsiteY131" fmla="*/ 209131 h 365348"/>
                <a:gd name="connsiteX132" fmla="*/ 257004 w 440938"/>
                <a:gd name="connsiteY132" fmla="*/ 209131 h 365348"/>
                <a:gd name="connsiteX133" fmla="*/ 258264 w 440938"/>
                <a:gd name="connsiteY133" fmla="*/ 209131 h 365348"/>
                <a:gd name="connsiteX134" fmla="*/ 267083 w 440938"/>
                <a:gd name="connsiteY134" fmla="*/ 210390 h 365348"/>
                <a:gd name="connsiteX135" fmla="*/ 268342 w 440938"/>
                <a:gd name="connsiteY135" fmla="*/ 210390 h 365348"/>
                <a:gd name="connsiteX136" fmla="*/ 268342 w 440938"/>
                <a:gd name="connsiteY136" fmla="*/ 210390 h 365348"/>
                <a:gd name="connsiteX137" fmla="*/ 272122 w 440938"/>
                <a:gd name="connsiteY137" fmla="*/ 210390 h 365348"/>
                <a:gd name="connsiteX138" fmla="*/ 274642 w 440938"/>
                <a:gd name="connsiteY138" fmla="*/ 210390 h 365348"/>
                <a:gd name="connsiteX139" fmla="*/ 274642 w 440938"/>
                <a:gd name="connsiteY139" fmla="*/ 210390 h 365348"/>
                <a:gd name="connsiteX140" fmla="*/ 278421 w 440938"/>
                <a:gd name="connsiteY140" fmla="*/ 210390 h 365348"/>
                <a:gd name="connsiteX141" fmla="*/ 279681 w 440938"/>
                <a:gd name="connsiteY141" fmla="*/ 210390 h 365348"/>
                <a:gd name="connsiteX142" fmla="*/ 292279 w 440938"/>
                <a:gd name="connsiteY142" fmla="*/ 211650 h 365348"/>
                <a:gd name="connsiteX143" fmla="*/ 301098 w 440938"/>
                <a:gd name="connsiteY143" fmla="*/ 211650 h 365348"/>
                <a:gd name="connsiteX144" fmla="*/ 302358 w 440938"/>
                <a:gd name="connsiteY144" fmla="*/ 211650 h 365348"/>
                <a:gd name="connsiteX145" fmla="*/ 302358 w 440938"/>
                <a:gd name="connsiteY145" fmla="*/ 211650 h 365348"/>
                <a:gd name="connsiteX146" fmla="*/ 304877 w 440938"/>
                <a:gd name="connsiteY146" fmla="*/ 211650 h 365348"/>
                <a:gd name="connsiteX147" fmla="*/ 306137 w 440938"/>
                <a:gd name="connsiteY147" fmla="*/ 211650 h 365348"/>
                <a:gd name="connsiteX148" fmla="*/ 318735 w 440938"/>
                <a:gd name="connsiteY148" fmla="*/ 211650 h 365348"/>
                <a:gd name="connsiteX149" fmla="*/ 319995 w 440938"/>
                <a:gd name="connsiteY149" fmla="*/ 211650 h 365348"/>
                <a:gd name="connsiteX150" fmla="*/ 335113 w 440938"/>
                <a:gd name="connsiteY150" fmla="*/ 209131 h 365348"/>
                <a:gd name="connsiteX151" fmla="*/ 335113 w 440938"/>
                <a:gd name="connsiteY151" fmla="*/ 209131 h 365348"/>
                <a:gd name="connsiteX152" fmla="*/ 335113 w 440938"/>
                <a:gd name="connsiteY152" fmla="*/ 209131 h 365348"/>
                <a:gd name="connsiteX153" fmla="*/ 337633 w 440938"/>
                <a:gd name="connsiteY153" fmla="*/ 207871 h 365348"/>
                <a:gd name="connsiteX154" fmla="*/ 337633 w 440938"/>
                <a:gd name="connsiteY154" fmla="*/ 207871 h 365348"/>
                <a:gd name="connsiteX155" fmla="*/ 346451 w 440938"/>
                <a:gd name="connsiteY155" fmla="*/ 205351 h 365348"/>
                <a:gd name="connsiteX156" fmla="*/ 369128 w 440938"/>
                <a:gd name="connsiteY156" fmla="*/ 197792 h 365348"/>
                <a:gd name="connsiteX157" fmla="*/ 376687 w 440938"/>
                <a:gd name="connsiteY157" fmla="*/ 195273 h 365348"/>
                <a:gd name="connsiteX158" fmla="*/ 376687 w 440938"/>
                <a:gd name="connsiteY158" fmla="*/ 195273 h 365348"/>
                <a:gd name="connsiteX159" fmla="*/ 398104 w 440938"/>
                <a:gd name="connsiteY159" fmla="*/ 185194 h 365348"/>
                <a:gd name="connsiteX160" fmla="*/ 409443 w 440938"/>
                <a:gd name="connsiteY160" fmla="*/ 176375 h 365348"/>
                <a:gd name="connsiteX161" fmla="*/ 418261 w 440938"/>
                <a:gd name="connsiteY161" fmla="*/ 163777 h 365348"/>
                <a:gd name="connsiteX162" fmla="*/ 423301 w 440938"/>
                <a:gd name="connsiteY162" fmla="*/ 153698 h 365348"/>
                <a:gd name="connsiteX163" fmla="*/ 423301 w 440938"/>
                <a:gd name="connsiteY163" fmla="*/ 153698 h 365348"/>
                <a:gd name="connsiteX164" fmla="*/ 433379 w 440938"/>
                <a:gd name="connsiteY164" fmla="*/ 133541 h 365348"/>
                <a:gd name="connsiteX165" fmla="*/ 437159 w 440938"/>
                <a:gd name="connsiteY165" fmla="*/ 123463 h 365348"/>
                <a:gd name="connsiteX166" fmla="*/ 439678 w 440938"/>
                <a:gd name="connsiteY166" fmla="*/ 114644 h 365348"/>
                <a:gd name="connsiteX167" fmla="*/ 442198 w 440938"/>
                <a:gd name="connsiteY167" fmla="*/ 103305 h 365348"/>
                <a:gd name="connsiteX168" fmla="*/ 443458 w 440938"/>
                <a:gd name="connsiteY168" fmla="*/ 91967 h 365348"/>
                <a:gd name="connsiteX169" fmla="*/ 443458 w 440938"/>
                <a:gd name="connsiteY169" fmla="*/ 81889 h 365348"/>
                <a:gd name="connsiteX170" fmla="*/ 449757 w 440938"/>
                <a:gd name="connsiteY170" fmla="*/ 84408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440938" h="365348">
                  <a:moveTo>
                    <a:pt x="449757" y="84408"/>
                  </a:moveTo>
                  <a:cubicBezTo>
                    <a:pt x="449757" y="80629"/>
                    <a:pt x="448497" y="76849"/>
                    <a:pt x="447237" y="73070"/>
                  </a:cubicBezTo>
                  <a:cubicBezTo>
                    <a:pt x="445977" y="69290"/>
                    <a:pt x="443458" y="65511"/>
                    <a:pt x="442198" y="62991"/>
                  </a:cubicBezTo>
                  <a:lnTo>
                    <a:pt x="442198" y="61731"/>
                  </a:lnTo>
                  <a:cubicBezTo>
                    <a:pt x="440938" y="59212"/>
                    <a:pt x="438419" y="55432"/>
                    <a:pt x="437159" y="52913"/>
                  </a:cubicBezTo>
                  <a:cubicBezTo>
                    <a:pt x="434639" y="49133"/>
                    <a:pt x="433379" y="46613"/>
                    <a:pt x="430860" y="42834"/>
                  </a:cubicBezTo>
                  <a:cubicBezTo>
                    <a:pt x="425820" y="36535"/>
                    <a:pt x="420781" y="31496"/>
                    <a:pt x="415742" y="26456"/>
                  </a:cubicBezTo>
                  <a:cubicBezTo>
                    <a:pt x="409443" y="21417"/>
                    <a:pt x="401884" y="16378"/>
                    <a:pt x="395584" y="12598"/>
                  </a:cubicBezTo>
                  <a:cubicBezTo>
                    <a:pt x="391805" y="11338"/>
                    <a:pt x="389285" y="8819"/>
                    <a:pt x="385506" y="7559"/>
                  </a:cubicBezTo>
                  <a:cubicBezTo>
                    <a:pt x="384246" y="6299"/>
                    <a:pt x="382986" y="6299"/>
                    <a:pt x="380467" y="5039"/>
                  </a:cubicBezTo>
                  <a:cubicBezTo>
                    <a:pt x="377947" y="3779"/>
                    <a:pt x="376687" y="3779"/>
                    <a:pt x="372908" y="2520"/>
                  </a:cubicBezTo>
                  <a:cubicBezTo>
                    <a:pt x="367868" y="1260"/>
                    <a:pt x="364089" y="0"/>
                    <a:pt x="360309" y="0"/>
                  </a:cubicBezTo>
                  <a:cubicBezTo>
                    <a:pt x="355270" y="0"/>
                    <a:pt x="350231" y="0"/>
                    <a:pt x="345192" y="0"/>
                  </a:cubicBezTo>
                  <a:lnTo>
                    <a:pt x="343932" y="0"/>
                  </a:lnTo>
                  <a:cubicBezTo>
                    <a:pt x="342672" y="0"/>
                    <a:pt x="341412" y="0"/>
                    <a:pt x="340152" y="0"/>
                  </a:cubicBezTo>
                  <a:cubicBezTo>
                    <a:pt x="337633" y="0"/>
                    <a:pt x="335113" y="0"/>
                    <a:pt x="332593" y="1260"/>
                  </a:cubicBezTo>
                  <a:cubicBezTo>
                    <a:pt x="328814" y="1260"/>
                    <a:pt x="326294" y="2520"/>
                    <a:pt x="322515" y="3779"/>
                  </a:cubicBezTo>
                  <a:cubicBezTo>
                    <a:pt x="318735" y="5039"/>
                    <a:pt x="316216" y="5039"/>
                    <a:pt x="312436" y="6299"/>
                  </a:cubicBezTo>
                  <a:cubicBezTo>
                    <a:pt x="311176" y="6299"/>
                    <a:pt x="311176" y="6299"/>
                    <a:pt x="309916" y="7559"/>
                  </a:cubicBezTo>
                  <a:cubicBezTo>
                    <a:pt x="307397" y="7559"/>
                    <a:pt x="304877" y="8819"/>
                    <a:pt x="302358" y="8819"/>
                  </a:cubicBezTo>
                  <a:cubicBezTo>
                    <a:pt x="294799" y="11338"/>
                    <a:pt x="287240" y="13858"/>
                    <a:pt x="282200" y="17637"/>
                  </a:cubicBezTo>
                  <a:cubicBezTo>
                    <a:pt x="278421" y="20157"/>
                    <a:pt x="275901" y="22677"/>
                    <a:pt x="273382" y="23937"/>
                  </a:cubicBezTo>
                  <a:cubicBezTo>
                    <a:pt x="273382" y="23937"/>
                    <a:pt x="272122" y="25196"/>
                    <a:pt x="272122" y="25196"/>
                  </a:cubicBezTo>
                  <a:cubicBezTo>
                    <a:pt x="272122" y="25196"/>
                    <a:pt x="270862" y="23937"/>
                    <a:pt x="269602" y="22677"/>
                  </a:cubicBezTo>
                  <a:cubicBezTo>
                    <a:pt x="265823" y="20157"/>
                    <a:pt x="263303" y="18897"/>
                    <a:pt x="259523" y="16378"/>
                  </a:cubicBezTo>
                  <a:cubicBezTo>
                    <a:pt x="251965" y="12598"/>
                    <a:pt x="244406" y="11338"/>
                    <a:pt x="236847" y="11338"/>
                  </a:cubicBezTo>
                  <a:cubicBezTo>
                    <a:pt x="226768" y="10078"/>
                    <a:pt x="219209" y="8819"/>
                    <a:pt x="210390" y="8819"/>
                  </a:cubicBezTo>
                  <a:cubicBezTo>
                    <a:pt x="202831" y="8819"/>
                    <a:pt x="194013" y="8819"/>
                    <a:pt x="186454" y="8819"/>
                  </a:cubicBezTo>
                  <a:lnTo>
                    <a:pt x="185194" y="8819"/>
                  </a:lnTo>
                  <a:cubicBezTo>
                    <a:pt x="178895" y="8819"/>
                    <a:pt x="173856" y="8819"/>
                    <a:pt x="167557" y="8819"/>
                  </a:cubicBezTo>
                  <a:cubicBezTo>
                    <a:pt x="166297" y="8819"/>
                    <a:pt x="163777" y="8819"/>
                    <a:pt x="162517" y="8819"/>
                  </a:cubicBezTo>
                  <a:cubicBezTo>
                    <a:pt x="154958" y="10078"/>
                    <a:pt x="147399" y="11338"/>
                    <a:pt x="138581" y="15118"/>
                  </a:cubicBezTo>
                  <a:cubicBezTo>
                    <a:pt x="134801" y="16378"/>
                    <a:pt x="131022" y="17637"/>
                    <a:pt x="128502" y="20157"/>
                  </a:cubicBezTo>
                  <a:cubicBezTo>
                    <a:pt x="125982" y="21417"/>
                    <a:pt x="122203" y="22677"/>
                    <a:pt x="119683" y="25196"/>
                  </a:cubicBezTo>
                  <a:lnTo>
                    <a:pt x="118423" y="26456"/>
                  </a:lnTo>
                  <a:cubicBezTo>
                    <a:pt x="117164" y="27716"/>
                    <a:pt x="115904" y="27716"/>
                    <a:pt x="113384" y="28976"/>
                  </a:cubicBezTo>
                  <a:cubicBezTo>
                    <a:pt x="112124" y="30236"/>
                    <a:pt x="110864" y="30236"/>
                    <a:pt x="108345" y="31496"/>
                  </a:cubicBezTo>
                  <a:cubicBezTo>
                    <a:pt x="104565" y="34015"/>
                    <a:pt x="100786" y="35275"/>
                    <a:pt x="98266" y="36535"/>
                  </a:cubicBezTo>
                  <a:cubicBezTo>
                    <a:pt x="97006" y="37795"/>
                    <a:pt x="94487" y="37795"/>
                    <a:pt x="93227" y="39054"/>
                  </a:cubicBezTo>
                  <a:cubicBezTo>
                    <a:pt x="90707" y="40314"/>
                    <a:pt x="89447" y="41574"/>
                    <a:pt x="86928" y="42834"/>
                  </a:cubicBezTo>
                  <a:cubicBezTo>
                    <a:pt x="84408" y="45354"/>
                    <a:pt x="80629" y="47873"/>
                    <a:pt x="78109" y="49133"/>
                  </a:cubicBezTo>
                  <a:cubicBezTo>
                    <a:pt x="71810" y="54172"/>
                    <a:pt x="66771" y="59212"/>
                    <a:pt x="61731" y="64251"/>
                  </a:cubicBezTo>
                  <a:cubicBezTo>
                    <a:pt x="56692" y="69290"/>
                    <a:pt x="52913" y="74330"/>
                    <a:pt x="46613" y="81889"/>
                  </a:cubicBezTo>
                  <a:lnTo>
                    <a:pt x="44094" y="84408"/>
                  </a:lnTo>
                  <a:lnTo>
                    <a:pt x="42834" y="85668"/>
                  </a:lnTo>
                  <a:cubicBezTo>
                    <a:pt x="41574" y="86928"/>
                    <a:pt x="40314" y="88188"/>
                    <a:pt x="39054" y="90707"/>
                  </a:cubicBezTo>
                  <a:cubicBezTo>
                    <a:pt x="37795" y="93227"/>
                    <a:pt x="35275" y="95746"/>
                    <a:pt x="34015" y="98266"/>
                  </a:cubicBezTo>
                  <a:cubicBezTo>
                    <a:pt x="34015" y="99526"/>
                    <a:pt x="32755" y="99526"/>
                    <a:pt x="32755" y="100786"/>
                  </a:cubicBezTo>
                  <a:lnTo>
                    <a:pt x="32755" y="100786"/>
                  </a:lnTo>
                  <a:lnTo>
                    <a:pt x="31496" y="102046"/>
                  </a:lnTo>
                  <a:lnTo>
                    <a:pt x="30236" y="104565"/>
                  </a:lnTo>
                  <a:cubicBezTo>
                    <a:pt x="28976" y="107085"/>
                    <a:pt x="26456" y="110864"/>
                    <a:pt x="25196" y="113384"/>
                  </a:cubicBezTo>
                  <a:cubicBezTo>
                    <a:pt x="23937" y="117163"/>
                    <a:pt x="22677" y="120943"/>
                    <a:pt x="21417" y="123463"/>
                  </a:cubicBezTo>
                  <a:cubicBezTo>
                    <a:pt x="20157" y="125982"/>
                    <a:pt x="20157" y="127242"/>
                    <a:pt x="18897" y="129762"/>
                  </a:cubicBezTo>
                  <a:lnTo>
                    <a:pt x="17637" y="132281"/>
                  </a:lnTo>
                  <a:lnTo>
                    <a:pt x="16378" y="134801"/>
                  </a:lnTo>
                  <a:cubicBezTo>
                    <a:pt x="15118" y="138581"/>
                    <a:pt x="13858" y="142360"/>
                    <a:pt x="12598" y="144880"/>
                  </a:cubicBezTo>
                  <a:cubicBezTo>
                    <a:pt x="11338" y="147399"/>
                    <a:pt x="11338" y="149919"/>
                    <a:pt x="11338" y="152439"/>
                  </a:cubicBezTo>
                  <a:lnTo>
                    <a:pt x="11338" y="152439"/>
                  </a:lnTo>
                  <a:lnTo>
                    <a:pt x="11338" y="154958"/>
                  </a:lnTo>
                  <a:cubicBezTo>
                    <a:pt x="10079" y="158738"/>
                    <a:pt x="10079" y="162517"/>
                    <a:pt x="8819" y="165037"/>
                  </a:cubicBezTo>
                  <a:cubicBezTo>
                    <a:pt x="8819" y="166297"/>
                    <a:pt x="8819" y="167556"/>
                    <a:pt x="8819" y="168816"/>
                  </a:cubicBezTo>
                  <a:lnTo>
                    <a:pt x="8819" y="168816"/>
                  </a:lnTo>
                  <a:lnTo>
                    <a:pt x="7559" y="172596"/>
                  </a:lnTo>
                  <a:cubicBezTo>
                    <a:pt x="6299" y="177635"/>
                    <a:pt x="5039" y="182674"/>
                    <a:pt x="3780" y="188974"/>
                  </a:cubicBezTo>
                  <a:cubicBezTo>
                    <a:pt x="2520" y="192753"/>
                    <a:pt x="2520" y="197792"/>
                    <a:pt x="2520" y="201572"/>
                  </a:cubicBezTo>
                  <a:lnTo>
                    <a:pt x="2520" y="201572"/>
                  </a:lnTo>
                  <a:lnTo>
                    <a:pt x="2520" y="202831"/>
                  </a:lnTo>
                  <a:cubicBezTo>
                    <a:pt x="2520" y="205351"/>
                    <a:pt x="1260" y="209131"/>
                    <a:pt x="1260" y="211650"/>
                  </a:cubicBezTo>
                  <a:cubicBezTo>
                    <a:pt x="1260" y="219209"/>
                    <a:pt x="0" y="226768"/>
                    <a:pt x="0" y="233067"/>
                  </a:cubicBezTo>
                  <a:cubicBezTo>
                    <a:pt x="0" y="236847"/>
                    <a:pt x="0" y="240626"/>
                    <a:pt x="0" y="244406"/>
                  </a:cubicBezTo>
                  <a:cubicBezTo>
                    <a:pt x="0" y="248185"/>
                    <a:pt x="0" y="250705"/>
                    <a:pt x="1260" y="254484"/>
                  </a:cubicBezTo>
                  <a:lnTo>
                    <a:pt x="1260" y="255744"/>
                  </a:lnTo>
                  <a:cubicBezTo>
                    <a:pt x="1260" y="259523"/>
                    <a:pt x="2520" y="263303"/>
                    <a:pt x="3780" y="267083"/>
                  </a:cubicBezTo>
                  <a:lnTo>
                    <a:pt x="3780" y="268342"/>
                  </a:lnTo>
                  <a:cubicBezTo>
                    <a:pt x="5039" y="270862"/>
                    <a:pt x="5039" y="274641"/>
                    <a:pt x="6299" y="277161"/>
                  </a:cubicBezTo>
                  <a:cubicBezTo>
                    <a:pt x="7559" y="280940"/>
                    <a:pt x="8819" y="283460"/>
                    <a:pt x="10079" y="287240"/>
                  </a:cubicBezTo>
                  <a:cubicBezTo>
                    <a:pt x="11338" y="289759"/>
                    <a:pt x="12598" y="293539"/>
                    <a:pt x="13858" y="296058"/>
                  </a:cubicBezTo>
                  <a:lnTo>
                    <a:pt x="13858" y="297318"/>
                  </a:lnTo>
                  <a:cubicBezTo>
                    <a:pt x="16378" y="303617"/>
                    <a:pt x="20157" y="309916"/>
                    <a:pt x="23937" y="316216"/>
                  </a:cubicBezTo>
                  <a:lnTo>
                    <a:pt x="25196" y="317475"/>
                  </a:lnTo>
                  <a:cubicBezTo>
                    <a:pt x="28976" y="323775"/>
                    <a:pt x="32755" y="330074"/>
                    <a:pt x="36535" y="335113"/>
                  </a:cubicBezTo>
                  <a:cubicBezTo>
                    <a:pt x="41574" y="341412"/>
                    <a:pt x="46613" y="347711"/>
                    <a:pt x="50393" y="352751"/>
                  </a:cubicBezTo>
                  <a:cubicBezTo>
                    <a:pt x="52913" y="355270"/>
                    <a:pt x="55432" y="359050"/>
                    <a:pt x="59212" y="361569"/>
                  </a:cubicBezTo>
                  <a:cubicBezTo>
                    <a:pt x="61731" y="362829"/>
                    <a:pt x="62991" y="365349"/>
                    <a:pt x="65511" y="366608"/>
                  </a:cubicBezTo>
                  <a:lnTo>
                    <a:pt x="66771" y="367868"/>
                  </a:lnTo>
                  <a:cubicBezTo>
                    <a:pt x="69290" y="369128"/>
                    <a:pt x="70550" y="371648"/>
                    <a:pt x="73070" y="372908"/>
                  </a:cubicBezTo>
                  <a:cubicBezTo>
                    <a:pt x="73070" y="371648"/>
                    <a:pt x="71810" y="370388"/>
                    <a:pt x="71810" y="369128"/>
                  </a:cubicBezTo>
                  <a:cubicBezTo>
                    <a:pt x="70550" y="362829"/>
                    <a:pt x="69290" y="356530"/>
                    <a:pt x="68030" y="348971"/>
                  </a:cubicBezTo>
                  <a:cubicBezTo>
                    <a:pt x="66771" y="342672"/>
                    <a:pt x="66771" y="337633"/>
                    <a:pt x="65511" y="331333"/>
                  </a:cubicBezTo>
                  <a:cubicBezTo>
                    <a:pt x="64251" y="318735"/>
                    <a:pt x="62991" y="307397"/>
                    <a:pt x="61731" y="294799"/>
                  </a:cubicBezTo>
                  <a:cubicBezTo>
                    <a:pt x="61731" y="288499"/>
                    <a:pt x="60472" y="283460"/>
                    <a:pt x="60472" y="277161"/>
                  </a:cubicBezTo>
                  <a:cubicBezTo>
                    <a:pt x="60472" y="272122"/>
                    <a:pt x="60472" y="265823"/>
                    <a:pt x="60472" y="260783"/>
                  </a:cubicBezTo>
                  <a:cubicBezTo>
                    <a:pt x="60472" y="259523"/>
                    <a:pt x="60472" y="258264"/>
                    <a:pt x="60472" y="257004"/>
                  </a:cubicBezTo>
                  <a:cubicBezTo>
                    <a:pt x="60472" y="257004"/>
                    <a:pt x="60472" y="255744"/>
                    <a:pt x="60472" y="255744"/>
                  </a:cubicBezTo>
                  <a:cubicBezTo>
                    <a:pt x="60472" y="255744"/>
                    <a:pt x="60472" y="255744"/>
                    <a:pt x="60472" y="255744"/>
                  </a:cubicBezTo>
                  <a:cubicBezTo>
                    <a:pt x="60472" y="251965"/>
                    <a:pt x="60472" y="249445"/>
                    <a:pt x="59212" y="245666"/>
                  </a:cubicBezTo>
                  <a:cubicBezTo>
                    <a:pt x="59212" y="243146"/>
                    <a:pt x="59212" y="240626"/>
                    <a:pt x="59212" y="238107"/>
                  </a:cubicBezTo>
                  <a:cubicBezTo>
                    <a:pt x="59212" y="236847"/>
                    <a:pt x="59212" y="235587"/>
                    <a:pt x="59212" y="234327"/>
                  </a:cubicBezTo>
                  <a:lnTo>
                    <a:pt x="59212" y="234327"/>
                  </a:lnTo>
                  <a:cubicBezTo>
                    <a:pt x="60472" y="234327"/>
                    <a:pt x="61731" y="234327"/>
                    <a:pt x="62991" y="233067"/>
                  </a:cubicBezTo>
                  <a:cubicBezTo>
                    <a:pt x="65511" y="231807"/>
                    <a:pt x="68030" y="231807"/>
                    <a:pt x="70550" y="230548"/>
                  </a:cubicBezTo>
                  <a:cubicBezTo>
                    <a:pt x="73070" y="229288"/>
                    <a:pt x="75589" y="229288"/>
                    <a:pt x="78109" y="228028"/>
                  </a:cubicBezTo>
                  <a:cubicBezTo>
                    <a:pt x="83148" y="226768"/>
                    <a:pt x="88188" y="224248"/>
                    <a:pt x="94487" y="221729"/>
                  </a:cubicBezTo>
                  <a:cubicBezTo>
                    <a:pt x="103305" y="219209"/>
                    <a:pt x="112124" y="216690"/>
                    <a:pt x="119683" y="212910"/>
                  </a:cubicBezTo>
                  <a:cubicBezTo>
                    <a:pt x="125982" y="209131"/>
                    <a:pt x="132281" y="205351"/>
                    <a:pt x="138581" y="200312"/>
                  </a:cubicBezTo>
                  <a:cubicBezTo>
                    <a:pt x="143620" y="197792"/>
                    <a:pt x="148659" y="194013"/>
                    <a:pt x="151179" y="190233"/>
                  </a:cubicBezTo>
                  <a:cubicBezTo>
                    <a:pt x="152439" y="188974"/>
                    <a:pt x="153698" y="187714"/>
                    <a:pt x="153698" y="186454"/>
                  </a:cubicBezTo>
                  <a:cubicBezTo>
                    <a:pt x="154958" y="185194"/>
                    <a:pt x="154958" y="182674"/>
                    <a:pt x="156218" y="181414"/>
                  </a:cubicBezTo>
                  <a:cubicBezTo>
                    <a:pt x="157478" y="177635"/>
                    <a:pt x="159998" y="173855"/>
                    <a:pt x="161257" y="170076"/>
                  </a:cubicBezTo>
                  <a:cubicBezTo>
                    <a:pt x="161257" y="168816"/>
                    <a:pt x="161257" y="168816"/>
                    <a:pt x="162517" y="167556"/>
                  </a:cubicBezTo>
                  <a:cubicBezTo>
                    <a:pt x="162517" y="167556"/>
                    <a:pt x="163777" y="166297"/>
                    <a:pt x="163777" y="166297"/>
                  </a:cubicBezTo>
                  <a:cubicBezTo>
                    <a:pt x="165037" y="165037"/>
                    <a:pt x="166297" y="162517"/>
                    <a:pt x="166297" y="161257"/>
                  </a:cubicBezTo>
                  <a:cubicBezTo>
                    <a:pt x="166297" y="161257"/>
                    <a:pt x="166297" y="161257"/>
                    <a:pt x="166297" y="161257"/>
                  </a:cubicBezTo>
                  <a:cubicBezTo>
                    <a:pt x="167557" y="162517"/>
                    <a:pt x="168816" y="165037"/>
                    <a:pt x="171336" y="166297"/>
                  </a:cubicBezTo>
                  <a:cubicBezTo>
                    <a:pt x="172596" y="167556"/>
                    <a:pt x="173856" y="168816"/>
                    <a:pt x="173856" y="168816"/>
                  </a:cubicBezTo>
                  <a:cubicBezTo>
                    <a:pt x="173856" y="168816"/>
                    <a:pt x="175115" y="170076"/>
                    <a:pt x="175115" y="170076"/>
                  </a:cubicBezTo>
                  <a:cubicBezTo>
                    <a:pt x="175115" y="170076"/>
                    <a:pt x="175115" y="170076"/>
                    <a:pt x="175115" y="170076"/>
                  </a:cubicBezTo>
                  <a:lnTo>
                    <a:pt x="175115" y="170076"/>
                  </a:lnTo>
                  <a:lnTo>
                    <a:pt x="175115" y="170076"/>
                  </a:lnTo>
                  <a:lnTo>
                    <a:pt x="175115" y="170076"/>
                  </a:lnTo>
                  <a:cubicBezTo>
                    <a:pt x="176375" y="171336"/>
                    <a:pt x="178895" y="173855"/>
                    <a:pt x="180155" y="175115"/>
                  </a:cubicBezTo>
                  <a:cubicBezTo>
                    <a:pt x="181414" y="176375"/>
                    <a:pt x="181414" y="176375"/>
                    <a:pt x="182674" y="177635"/>
                  </a:cubicBezTo>
                  <a:cubicBezTo>
                    <a:pt x="183934" y="178895"/>
                    <a:pt x="185194" y="180155"/>
                    <a:pt x="186454" y="181414"/>
                  </a:cubicBezTo>
                  <a:cubicBezTo>
                    <a:pt x="186454" y="181414"/>
                    <a:pt x="187714" y="182674"/>
                    <a:pt x="187714" y="182674"/>
                  </a:cubicBezTo>
                  <a:cubicBezTo>
                    <a:pt x="188973" y="182674"/>
                    <a:pt x="188973" y="183934"/>
                    <a:pt x="190233" y="183934"/>
                  </a:cubicBezTo>
                  <a:cubicBezTo>
                    <a:pt x="192753" y="185194"/>
                    <a:pt x="195273" y="18771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201572" y="191493"/>
                    <a:pt x="205351" y="192753"/>
                    <a:pt x="209131" y="194013"/>
                  </a:cubicBezTo>
                  <a:cubicBezTo>
                    <a:pt x="216690" y="196532"/>
                    <a:pt x="224249" y="200312"/>
                    <a:pt x="233067" y="202831"/>
                  </a:cubicBezTo>
                  <a:cubicBezTo>
                    <a:pt x="240626" y="205351"/>
                    <a:pt x="246925" y="207871"/>
                    <a:pt x="254484" y="209131"/>
                  </a:cubicBezTo>
                  <a:lnTo>
                    <a:pt x="257004" y="209131"/>
                  </a:lnTo>
                  <a:lnTo>
                    <a:pt x="258264" y="209131"/>
                  </a:lnTo>
                  <a:cubicBezTo>
                    <a:pt x="260783" y="209131"/>
                    <a:pt x="263303" y="210390"/>
                    <a:pt x="267083" y="210390"/>
                  </a:cubicBezTo>
                  <a:cubicBezTo>
                    <a:pt x="267083" y="210390"/>
                    <a:pt x="268342" y="210390"/>
                    <a:pt x="268342" y="210390"/>
                  </a:cubicBezTo>
                  <a:lnTo>
                    <a:pt x="268342" y="210390"/>
                  </a:lnTo>
                  <a:cubicBezTo>
                    <a:pt x="269602" y="210390"/>
                    <a:pt x="270862" y="210390"/>
                    <a:pt x="272122" y="210390"/>
                  </a:cubicBezTo>
                  <a:lnTo>
                    <a:pt x="274642" y="210390"/>
                  </a:lnTo>
                  <a:lnTo>
                    <a:pt x="274642" y="210390"/>
                  </a:lnTo>
                  <a:lnTo>
                    <a:pt x="278421" y="210390"/>
                  </a:lnTo>
                  <a:cubicBezTo>
                    <a:pt x="278421" y="210390"/>
                    <a:pt x="279681" y="210390"/>
                    <a:pt x="279681" y="210390"/>
                  </a:cubicBezTo>
                  <a:cubicBezTo>
                    <a:pt x="283460" y="210390"/>
                    <a:pt x="287240" y="211650"/>
                    <a:pt x="292279" y="211650"/>
                  </a:cubicBezTo>
                  <a:cubicBezTo>
                    <a:pt x="294799" y="211650"/>
                    <a:pt x="298578" y="211650"/>
                    <a:pt x="301098" y="211650"/>
                  </a:cubicBezTo>
                  <a:lnTo>
                    <a:pt x="302358" y="211650"/>
                  </a:lnTo>
                  <a:cubicBezTo>
                    <a:pt x="302358" y="211650"/>
                    <a:pt x="302358" y="211650"/>
                    <a:pt x="302358" y="211650"/>
                  </a:cubicBezTo>
                  <a:cubicBezTo>
                    <a:pt x="303617" y="211650"/>
                    <a:pt x="303617" y="211650"/>
                    <a:pt x="304877" y="211650"/>
                  </a:cubicBezTo>
                  <a:cubicBezTo>
                    <a:pt x="304877" y="211650"/>
                    <a:pt x="306137" y="211650"/>
                    <a:pt x="306137" y="211650"/>
                  </a:cubicBezTo>
                  <a:cubicBezTo>
                    <a:pt x="309916" y="211650"/>
                    <a:pt x="313696" y="211650"/>
                    <a:pt x="318735" y="211650"/>
                  </a:cubicBezTo>
                  <a:lnTo>
                    <a:pt x="319995" y="211650"/>
                  </a:lnTo>
                  <a:cubicBezTo>
                    <a:pt x="325034" y="211650"/>
                    <a:pt x="330074" y="210390"/>
                    <a:pt x="335113" y="209131"/>
                  </a:cubicBezTo>
                  <a:cubicBezTo>
                    <a:pt x="335113" y="209131"/>
                    <a:pt x="335113" y="209131"/>
                    <a:pt x="335113" y="209131"/>
                  </a:cubicBezTo>
                  <a:lnTo>
                    <a:pt x="335113" y="209131"/>
                  </a:lnTo>
                  <a:cubicBezTo>
                    <a:pt x="336373" y="209131"/>
                    <a:pt x="336373" y="209131"/>
                    <a:pt x="337633" y="207871"/>
                  </a:cubicBezTo>
                  <a:cubicBezTo>
                    <a:pt x="337633" y="207871"/>
                    <a:pt x="337633" y="207871"/>
                    <a:pt x="337633" y="207871"/>
                  </a:cubicBezTo>
                  <a:cubicBezTo>
                    <a:pt x="340152" y="206611"/>
                    <a:pt x="343932" y="206611"/>
                    <a:pt x="346451" y="205351"/>
                  </a:cubicBezTo>
                  <a:cubicBezTo>
                    <a:pt x="355270" y="202831"/>
                    <a:pt x="362829" y="200312"/>
                    <a:pt x="369128" y="197792"/>
                  </a:cubicBezTo>
                  <a:cubicBezTo>
                    <a:pt x="371648" y="196532"/>
                    <a:pt x="374167" y="196532"/>
                    <a:pt x="376687" y="195273"/>
                  </a:cubicBezTo>
                  <a:lnTo>
                    <a:pt x="376687" y="195273"/>
                  </a:lnTo>
                  <a:cubicBezTo>
                    <a:pt x="384246" y="192753"/>
                    <a:pt x="391805" y="190233"/>
                    <a:pt x="398104" y="185194"/>
                  </a:cubicBezTo>
                  <a:cubicBezTo>
                    <a:pt x="401884" y="182674"/>
                    <a:pt x="406923" y="180155"/>
                    <a:pt x="409443" y="176375"/>
                  </a:cubicBezTo>
                  <a:cubicBezTo>
                    <a:pt x="413222" y="172596"/>
                    <a:pt x="415742" y="167556"/>
                    <a:pt x="418261" y="163777"/>
                  </a:cubicBezTo>
                  <a:cubicBezTo>
                    <a:pt x="419521" y="161257"/>
                    <a:pt x="422041" y="157478"/>
                    <a:pt x="423301" y="153698"/>
                  </a:cubicBezTo>
                  <a:lnTo>
                    <a:pt x="423301" y="153698"/>
                  </a:lnTo>
                  <a:cubicBezTo>
                    <a:pt x="427080" y="147399"/>
                    <a:pt x="430860" y="139840"/>
                    <a:pt x="433379" y="133541"/>
                  </a:cubicBezTo>
                  <a:cubicBezTo>
                    <a:pt x="434639" y="129762"/>
                    <a:pt x="435899" y="127242"/>
                    <a:pt x="437159" y="123463"/>
                  </a:cubicBezTo>
                  <a:cubicBezTo>
                    <a:pt x="438419" y="120943"/>
                    <a:pt x="438419" y="117163"/>
                    <a:pt x="439678" y="114644"/>
                  </a:cubicBezTo>
                  <a:cubicBezTo>
                    <a:pt x="440938" y="110864"/>
                    <a:pt x="440938" y="107085"/>
                    <a:pt x="442198" y="103305"/>
                  </a:cubicBezTo>
                  <a:cubicBezTo>
                    <a:pt x="442198" y="99526"/>
                    <a:pt x="443458" y="95746"/>
                    <a:pt x="443458" y="91967"/>
                  </a:cubicBezTo>
                  <a:cubicBezTo>
                    <a:pt x="443458" y="89447"/>
                    <a:pt x="443458" y="85668"/>
                    <a:pt x="443458" y="81889"/>
                  </a:cubicBezTo>
                  <a:cubicBezTo>
                    <a:pt x="451017" y="88188"/>
                    <a:pt x="449757" y="86928"/>
                    <a:pt x="449757" y="8440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/>
            <p:cNvSpPr/>
            <p:nvPr/>
          </p:nvSpPr>
          <p:spPr>
            <a:xfrm>
              <a:off x="8360690" y="3892261"/>
              <a:ext cx="231669" cy="248830"/>
            </a:xfrm>
            <a:custGeom>
              <a:avLst/>
              <a:gdLst>
                <a:gd name="connsiteX0" fmla="*/ 275901 w 340152"/>
                <a:gd name="connsiteY0" fmla="*/ 376687 h 365348"/>
                <a:gd name="connsiteX1" fmla="*/ 0 w 340152"/>
                <a:gd name="connsiteY1" fmla="*/ 332593 h 365348"/>
                <a:gd name="connsiteX2" fmla="*/ 69290 w 340152"/>
                <a:gd name="connsiteY2" fmla="*/ 0 h 365348"/>
                <a:gd name="connsiteX3" fmla="*/ 345192 w 340152"/>
                <a:gd name="connsiteY3" fmla="*/ 44094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152" h="365348">
                  <a:moveTo>
                    <a:pt x="275901" y="376687"/>
                  </a:moveTo>
                  <a:lnTo>
                    <a:pt x="0" y="332593"/>
                  </a:lnTo>
                  <a:lnTo>
                    <a:pt x="69290" y="0"/>
                  </a:lnTo>
                  <a:lnTo>
                    <a:pt x="345192" y="44094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/>
            <p:cNvSpPr/>
            <p:nvPr/>
          </p:nvSpPr>
          <p:spPr>
            <a:xfrm>
              <a:off x="8495402" y="3975490"/>
              <a:ext cx="180187" cy="283152"/>
            </a:xfrm>
            <a:custGeom>
              <a:avLst/>
              <a:gdLst>
                <a:gd name="connsiteX0" fmla="*/ 265823 w 264562"/>
                <a:gd name="connsiteY0" fmla="*/ 364089 h 415741"/>
                <a:gd name="connsiteX1" fmla="*/ 265823 w 264562"/>
                <a:gd name="connsiteY1" fmla="*/ 361569 h 415741"/>
                <a:gd name="connsiteX2" fmla="*/ 264563 w 264562"/>
                <a:gd name="connsiteY2" fmla="*/ 354010 h 415741"/>
                <a:gd name="connsiteX3" fmla="*/ 264563 w 264562"/>
                <a:gd name="connsiteY3" fmla="*/ 351491 h 415741"/>
                <a:gd name="connsiteX4" fmla="*/ 264563 w 264562"/>
                <a:gd name="connsiteY4" fmla="*/ 351491 h 415741"/>
                <a:gd name="connsiteX5" fmla="*/ 264563 w 264562"/>
                <a:gd name="connsiteY5" fmla="*/ 351491 h 415741"/>
                <a:gd name="connsiteX6" fmla="*/ 263303 w 264562"/>
                <a:gd name="connsiteY6" fmla="*/ 346451 h 415741"/>
                <a:gd name="connsiteX7" fmla="*/ 263303 w 264562"/>
                <a:gd name="connsiteY7" fmla="*/ 345192 h 415741"/>
                <a:gd name="connsiteX8" fmla="*/ 262043 w 264562"/>
                <a:gd name="connsiteY8" fmla="*/ 341412 h 415741"/>
                <a:gd name="connsiteX9" fmla="*/ 254484 w 264562"/>
                <a:gd name="connsiteY9" fmla="*/ 322515 h 415741"/>
                <a:gd name="connsiteX10" fmla="*/ 254484 w 264562"/>
                <a:gd name="connsiteY10" fmla="*/ 321255 h 415741"/>
                <a:gd name="connsiteX11" fmla="*/ 253225 w 264562"/>
                <a:gd name="connsiteY11" fmla="*/ 318735 h 415741"/>
                <a:gd name="connsiteX12" fmla="*/ 253225 w 264562"/>
                <a:gd name="connsiteY12" fmla="*/ 317475 h 415741"/>
                <a:gd name="connsiteX13" fmla="*/ 246925 w 264562"/>
                <a:gd name="connsiteY13" fmla="*/ 304877 h 415741"/>
                <a:gd name="connsiteX14" fmla="*/ 243146 w 264562"/>
                <a:gd name="connsiteY14" fmla="*/ 298578 h 415741"/>
                <a:gd name="connsiteX15" fmla="*/ 239366 w 264562"/>
                <a:gd name="connsiteY15" fmla="*/ 291019 h 415741"/>
                <a:gd name="connsiteX16" fmla="*/ 235587 w 264562"/>
                <a:gd name="connsiteY16" fmla="*/ 283460 h 415741"/>
                <a:gd name="connsiteX17" fmla="*/ 235587 w 264562"/>
                <a:gd name="connsiteY17" fmla="*/ 282200 h 415741"/>
                <a:gd name="connsiteX18" fmla="*/ 235587 w 264562"/>
                <a:gd name="connsiteY18" fmla="*/ 282200 h 415741"/>
                <a:gd name="connsiteX19" fmla="*/ 234327 w 264562"/>
                <a:gd name="connsiteY19" fmla="*/ 279681 h 415741"/>
                <a:gd name="connsiteX20" fmla="*/ 233067 w 264562"/>
                <a:gd name="connsiteY20" fmla="*/ 278421 h 415741"/>
                <a:gd name="connsiteX21" fmla="*/ 229288 w 264562"/>
                <a:gd name="connsiteY21" fmla="*/ 270862 h 415741"/>
                <a:gd name="connsiteX22" fmla="*/ 229288 w 264562"/>
                <a:gd name="connsiteY22" fmla="*/ 270862 h 415741"/>
                <a:gd name="connsiteX23" fmla="*/ 225508 w 264562"/>
                <a:gd name="connsiteY23" fmla="*/ 264563 h 415741"/>
                <a:gd name="connsiteX24" fmla="*/ 224249 w 264562"/>
                <a:gd name="connsiteY24" fmla="*/ 262043 h 415741"/>
                <a:gd name="connsiteX25" fmla="*/ 220469 w 264562"/>
                <a:gd name="connsiteY25" fmla="*/ 257004 h 415741"/>
                <a:gd name="connsiteX26" fmla="*/ 219209 w 264562"/>
                <a:gd name="connsiteY26" fmla="*/ 255744 h 415741"/>
                <a:gd name="connsiteX27" fmla="*/ 219209 w 264562"/>
                <a:gd name="connsiteY27" fmla="*/ 255744 h 415741"/>
                <a:gd name="connsiteX28" fmla="*/ 219209 w 264562"/>
                <a:gd name="connsiteY28" fmla="*/ 255744 h 415741"/>
                <a:gd name="connsiteX29" fmla="*/ 216690 w 264562"/>
                <a:gd name="connsiteY29" fmla="*/ 253224 h 415741"/>
                <a:gd name="connsiteX30" fmla="*/ 216690 w 264562"/>
                <a:gd name="connsiteY30" fmla="*/ 253224 h 415741"/>
                <a:gd name="connsiteX31" fmla="*/ 216690 w 264562"/>
                <a:gd name="connsiteY31" fmla="*/ 253224 h 415741"/>
                <a:gd name="connsiteX32" fmla="*/ 216690 w 264562"/>
                <a:gd name="connsiteY32" fmla="*/ 253224 h 415741"/>
                <a:gd name="connsiteX33" fmla="*/ 216690 w 264562"/>
                <a:gd name="connsiteY33" fmla="*/ 253224 h 415741"/>
                <a:gd name="connsiteX34" fmla="*/ 210390 w 264562"/>
                <a:gd name="connsiteY34" fmla="*/ 240626 h 415741"/>
                <a:gd name="connsiteX35" fmla="*/ 206611 w 264562"/>
                <a:gd name="connsiteY35" fmla="*/ 235587 h 415741"/>
                <a:gd name="connsiteX36" fmla="*/ 206611 w 264562"/>
                <a:gd name="connsiteY36" fmla="*/ 235587 h 415741"/>
                <a:gd name="connsiteX37" fmla="*/ 206611 w 264562"/>
                <a:gd name="connsiteY37" fmla="*/ 235587 h 415741"/>
                <a:gd name="connsiteX38" fmla="*/ 205351 w 264562"/>
                <a:gd name="connsiteY38" fmla="*/ 234327 h 415741"/>
                <a:gd name="connsiteX39" fmla="*/ 205351 w 264562"/>
                <a:gd name="connsiteY39" fmla="*/ 233067 h 415741"/>
                <a:gd name="connsiteX40" fmla="*/ 202832 w 264562"/>
                <a:gd name="connsiteY40" fmla="*/ 229288 h 415741"/>
                <a:gd name="connsiteX41" fmla="*/ 200312 w 264562"/>
                <a:gd name="connsiteY41" fmla="*/ 224249 h 415741"/>
                <a:gd name="connsiteX42" fmla="*/ 191493 w 264562"/>
                <a:gd name="connsiteY42" fmla="*/ 210390 h 415741"/>
                <a:gd name="connsiteX43" fmla="*/ 188973 w 264562"/>
                <a:gd name="connsiteY43" fmla="*/ 206611 h 415741"/>
                <a:gd name="connsiteX44" fmla="*/ 181414 w 264562"/>
                <a:gd name="connsiteY44" fmla="*/ 196532 h 415741"/>
                <a:gd name="connsiteX45" fmla="*/ 181414 w 264562"/>
                <a:gd name="connsiteY45" fmla="*/ 196532 h 415741"/>
                <a:gd name="connsiteX46" fmla="*/ 180155 w 264562"/>
                <a:gd name="connsiteY46" fmla="*/ 195273 h 415741"/>
                <a:gd name="connsiteX47" fmla="*/ 176375 w 264562"/>
                <a:gd name="connsiteY47" fmla="*/ 191493 h 415741"/>
                <a:gd name="connsiteX48" fmla="*/ 173856 w 264562"/>
                <a:gd name="connsiteY48" fmla="*/ 188974 h 415741"/>
                <a:gd name="connsiteX49" fmla="*/ 173856 w 264562"/>
                <a:gd name="connsiteY49" fmla="*/ 188974 h 415741"/>
                <a:gd name="connsiteX50" fmla="*/ 171336 w 264562"/>
                <a:gd name="connsiteY50" fmla="*/ 185194 h 415741"/>
                <a:gd name="connsiteX51" fmla="*/ 170076 w 264562"/>
                <a:gd name="connsiteY51" fmla="*/ 182674 h 415741"/>
                <a:gd name="connsiteX52" fmla="*/ 168816 w 264562"/>
                <a:gd name="connsiteY52" fmla="*/ 180155 h 415741"/>
                <a:gd name="connsiteX53" fmla="*/ 168816 w 264562"/>
                <a:gd name="connsiteY53" fmla="*/ 178895 h 415741"/>
                <a:gd name="connsiteX54" fmla="*/ 167557 w 264562"/>
                <a:gd name="connsiteY54" fmla="*/ 176375 h 415741"/>
                <a:gd name="connsiteX55" fmla="*/ 166297 w 264562"/>
                <a:gd name="connsiteY55" fmla="*/ 175115 h 415741"/>
                <a:gd name="connsiteX56" fmla="*/ 154958 w 264562"/>
                <a:gd name="connsiteY56" fmla="*/ 159998 h 415741"/>
                <a:gd name="connsiteX57" fmla="*/ 153698 w 264562"/>
                <a:gd name="connsiteY57" fmla="*/ 157478 h 415741"/>
                <a:gd name="connsiteX58" fmla="*/ 142360 w 264562"/>
                <a:gd name="connsiteY58" fmla="*/ 137321 h 415741"/>
                <a:gd name="connsiteX59" fmla="*/ 138581 w 264562"/>
                <a:gd name="connsiteY59" fmla="*/ 131022 h 415741"/>
                <a:gd name="connsiteX60" fmla="*/ 137321 w 264562"/>
                <a:gd name="connsiteY60" fmla="*/ 127242 h 415741"/>
                <a:gd name="connsiteX61" fmla="*/ 133541 w 264562"/>
                <a:gd name="connsiteY61" fmla="*/ 120943 h 415741"/>
                <a:gd name="connsiteX62" fmla="*/ 132281 w 264562"/>
                <a:gd name="connsiteY62" fmla="*/ 117164 h 415741"/>
                <a:gd name="connsiteX63" fmla="*/ 127242 w 264562"/>
                <a:gd name="connsiteY63" fmla="*/ 103305 h 415741"/>
                <a:gd name="connsiteX64" fmla="*/ 123463 w 264562"/>
                <a:gd name="connsiteY64" fmla="*/ 90707 h 415741"/>
                <a:gd name="connsiteX65" fmla="*/ 120943 w 264562"/>
                <a:gd name="connsiteY65" fmla="*/ 81889 h 415741"/>
                <a:gd name="connsiteX66" fmla="*/ 120943 w 264562"/>
                <a:gd name="connsiteY66" fmla="*/ 81889 h 415741"/>
                <a:gd name="connsiteX67" fmla="*/ 119683 w 264562"/>
                <a:gd name="connsiteY67" fmla="*/ 76849 h 415741"/>
                <a:gd name="connsiteX68" fmla="*/ 115904 w 264562"/>
                <a:gd name="connsiteY68" fmla="*/ 62991 h 415741"/>
                <a:gd name="connsiteX69" fmla="*/ 115904 w 264562"/>
                <a:gd name="connsiteY69" fmla="*/ 59212 h 415741"/>
                <a:gd name="connsiteX70" fmla="*/ 115904 w 264562"/>
                <a:gd name="connsiteY70" fmla="*/ 59212 h 415741"/>
                <a:gd name="connsiteX71" fmla="*/ 114644 w 264562"/>
                <a:gd name="connsiteY71" fmla="*/ 52913 h 415741"/>
                <a:gd name="connsiteX72" fmla="*/ 112124 w 264562"/>
                <a:gd name="connsiteY72" fmla="*/ 42834 h 415741"/>
                <a:gd name="connsiteX73" fmla="*/ 112124 w 264562"/>
                <a:gd name="connsiteY73" fmla="*/ 41574 h 415741"/>
                <a:gd name="connsiteX74" fmla="*/ 109605 w 264562"/>
                <a:gd name="connsiteY74" fmla="*/ 34015 h 415741"/>
                <a:gd name="connsiteX75" fmla="*/ 104565 w 264562"/>
                <a:gd name="connsiteY75" fmla="*/ 23937 h 415741"/>
                <a:gd name="connsiteX76" fmla="*/ 102046 w 264562"/>
                <a:gd name="connsiteY76" fmla="*/ 20157 h 415741"/>
                <a:gd name="connsiteX77" fmla="*/ 98266 w 264562"/>
                <a:gd name="connsiteY77" fmla="*/ 16378 h 415741"/>
                <a:gd name="connsiteX78" fmla="*/ 97006 w 264562"/>
                <a:gd name="connsiteY78" fmla="*/ 15118 h 415741"/>
                <a:gd name="connsiteX79" fmla="*/ 94487 w 264562"/>
                <a:gd name="connsiteY79" fmla="*/ 12598 h 415741"/>
                <a:gd name="connsiteX80" fmla="*/ 93227 w 264562"/>
                <a:gd name="connsiteY80" fmla="*/ 12598 h 415741"/>
                <a:gd name="connsiteX81" fmla="*/ 88188 w 264562"/>
                <a:gd name="connsiteY81" fmla="*/ 8819 h 415741"/>
                <a:gd name="connsiteX82" fmla="*/ 88188 w 264562"/>
                <a:gd name="connsiteY82" fmla="*/ 8819 h 415741"/>
                <a:gd name="connsiteX83" fmla="*/ 78109 w 264562"/>
                <a:gd name="connsiteY83" fmla="*/ 3780 h 415741"/>
                <a:gd name="connsiteX84" fmla="*/ 68030 w 264562"/>
                <a:gd name="connsiteY84" fmla="*/ 1260 h 415741"/>
                <a:gd name="connsiteX85" fmla="*/ 66771 w 264562"/>
                <a:gd name="connsiteY85" fmla="*/ 1260 h 415741"/>
                <a:gd name="connsiteX86" fmla="*/ 50393 w 264562"/>
                <a:gd name="connsiteY86" fmla="*/ 0 h 415741"/>
                <a:gd name="connsiteX87" fmla="*/ 47873 w 264562"/>
                <a:gd name="connsiteY87" fmla="*/ 0 h 415741"/>
                <a:gd name="connsiteX88" fmla="*/ 35275 w 264562"/>
                <a:gd name="connsiteY88" fmla="*/ 2520 h 415741"/>
                <a:gd name="connsiteX89" fmla="*/ 31496 w 264562"/>
                <a:gd name="connsiteY89" fmla="*/ 3780 h 415741"/>
                <a:gd name="connsiteX90" fmla="*/ 27716 w 264562"/>
                <a:gd name="connsiteY90" fmla="*/ 5039 h 415741"/>
                <a:gd name="connsiteX91" fmla="*/ 21417 w 264562"/>
                <a:gd name="connsiteY91" fmla="*/ 10079 h 415741"/>
                <a:gd name="connsiteX92" fmla="*/ 16378 w 264562"/>
                <a:gd name="connsiteY92" fmla="*/ 15118 h 415741"/>
                <a:gd name="connsiteX93" fmla="*/ 15118 w 264562"/>
                <a:gd name="connsiteY93" fmla="*/ 16378 h 415741"/>
                <a:gd name="connsiteX94" fmla="*/ 15118 w 264562"/>
                <a:gd name="connsiteY94" fmla="*/ 16378 h 415741"/>
                <a:gd name="connsiteX95" fmla="*/ 13858 w 264562"/>
                <a:gd name="connsiteY95" fmla="*/ 17637 h 415741"/>
                <a:gd name="connsiteX96" fmla="*/ 12598 w 264562"/>
                <a:gd name="connsiteY96" fmla="*/ 20157 h 415741"/>
                <a:gd name="connsiteX97" fmla="*/ 12598 w 264562"/>
                <a:gd name="connsiteY97" fmla="*/ 20157 h 415741"/>
                <a:gd name="connsiteX98" fmla="*/ 12598 w 264562"/>
                <a:gd name="connsiteY98" fmla="*/ 20157 h 415741"/>
                <a:gd name="connsiteX99" fmla="*/ 7559 w 264562"/>
                <a:gd name="connsiteY99" fmla="*/ 27716 h 415741"/>
                <a:gd name="connsiteX100" fmla="*/ 3780 w 264562"/>
                <a:gd name="connsiteY100" fmla="*/ 36535 h 415741"/>
                <a:gd name="connsiteX101" fmla="*/ 1260 w 264562"/>
                <a:gd name="connsiteY101" fmla="*/ 45354 h 415741"/>
                <a:gd name="connsiteX102" fmla="*/ 0 w 264562"/>
                <a:gd name="connsiteY102" fmla="*/ 51653 h 415741"/>
                <a:gd name="connsiteX103" fmla="*/ 0 w 264562"/>
                <a:gd name="connsiteY103" fmla="*/ 52913 h 415741"/>
                <a:gd name="connsiteX104" fmla="*/ 0 w 264562"/>
                <a:gd name="connsiteY104" fmla="*/ 55432 h 415741"/>
                <a:gd name="connsiteX105" fmla="*/ 0 w 264562"/>
                <a:gd name="connsiteY105" fmla="*/ 55432 h 415741"/>
                <a:gd name="connsiteX106" fmla="*/ 0 w 264562"/>
                <a:gd name="connsiteY106" fmla="*/ 55432 h 415741"/>
                <a:gd name="connsiteX107" fmla="*/ 0 w 264562"/>
                <a:gd name="connsiteY107" fmla="*/ 55432 h 415741"/>
                <a:gd name="connsiteX108" fmla="*/ 0 w 264562"/>
                <a:gd name="connsiteY108" fmla="*/ 55432 h 415741"/>
                <a:gd name="connsiteX109" fmla="*/ 0 w 264562"/>
                <a:gd name="connsiteY109" fmla="*/ 57952 h 415741"/>
                <a:gd name="connsiteX110" fmla="*/ 0 w 264562"/>
                <a:gd name="connsiteY110" fmla="*/ 61731 h 415741"/>
                <a:gd name="connsiteX111" fmla="*/ 0 w 264562"/>
                <a:gd name="connsiteY111" fmla="*/ 62991 h 415741"/>
                <a:gd name="connsiteX112" fmla="*/ 0 w 264562"/>
                <a:gd name="connsiteY112" fmla="*/ 66771 h 415741"/>
                <a:gd name="connsiteX113" fmla="*/ 0 w 264562"/>
                <a:gd name="connsiteY113" fmla="*/ 78109 h 415741"/>
                <a:gd name="connsiteX114" fmla="*/ 0 w 264562"/>
                <a:gd name="connsiteY114" fmla="*/ 81889 h 415741"/>
                <a:gd name="connsiteX115" fmla="*/ 0 w 264562"/>
                <a:gd name="connsiteY115" fmla="*/ 88188 h 415741"/>
                <a:gd name="connsiteX116" fmla="*/ 0 w 264562"/>
                <a:gd name="connsiteY116" fmla="*/ 93227 h 415741"/>
                <a:gd name="connsiteX117" fmla="*/ 0 w 264562"/>
                <a:gd name="connsiteY117" fmla="*/ 94487 h 415741"/>
                <a:gd name="connsiteX118" fmla="*/ 0 w 264562"/>
                <a:gd name="connsiteY118" fmla="*/ 95746 h 415741"/>
                <a:gd name="connsiteX119" fmla="*/ 0 w 264562"/>
                <a:gd name="connsiteY119" fmla="*/ 99526 h 415741"/>
                <a:gd name="connsiteX120" fmla="*/ 0 w 264562"/>
                <a:gd name="connsiteY120" fmla="*/ 100786 h 415741"/>
                <a:gd name="connsiteX121" fmla="*/ 1260 w 264562"/>
                <a:gd name="connsiteY121" fmla="*/ 109605 h 415741"/>
                <a:gd name="connsiteX122" fmla="*/ 2520 w 264562"/>
                <a:gd name="connsiteY122" fmla="*/ 114644 h 415741"/>
                <a:gd name="connsiteX123" fmla="*/ 3780 w 264562"/>
                <a:gd name="connsiteY123" fmla="*/ 119683 h 415741"/>
                <a:gd name="connsiteX124" fmla="*/ 3780 w 264562"/>
                <a:gd name="connsiteY124" fmla="*/ 120943 h 415741"/>
                <a:gd name="connsiteX125" fmla="*/ 7559 w 264562"/>
                <a:gd name="connsiteY125" fmla="*/ 141100 h 415741"/>
                <a:gd name="connsiteX126" fmla="*/ 8819 w 264562"/>
                <a:gd name="connsiteY126" fmla="*/ 143620 h 415741"/>
                <a:gd name="connsiteX127" fmla="*/ 8819 w 264562"/>
                <a:gd name="connsiteY127" fmla="*/ 143620 h 415741"/>
                <a:gd name="connsiteX128" fmla="*/ 10079 w 264562"/>
                <a:gd name="connsiteY128" fmla="*/ 149919 h 415741"/>
                <a:gd name="connsiteX129" fmla="*/ 10079 w 264562"/>
                <a:gd name="connsiteY129" fmla="*/ 151179 h 415741"/>
                <a:gd name="connsiteX130" fmla="*/ 12598 w 264562"/>
                <a:gd name="connsiteY130" fmla="*/ 159998 h 415741"/>
                <a:gd name="connsiteX131" fmla="*/ 18897 w 264562"/>
                <a:gd name="connsiteY131" fmla="*/ 180155 h 415741"/>
                <a:gd name="connsiteX132" fmla="*/ 26456 w 264562"/>
                <a:gd name="connsiteY132" fmla="*/ 200312 h 415741"/>
                <a:gd name="connsiteX133" fmla="*/ 27716 w 264562"/>
                <a:gd name="connsiteY133" fmla="*/ 202831 h 415741"/>
                <a:gd name="connsiteX134" fmla="*/ 27716 w 264562"/>
                <a:gd name="connsiteY134" fmla="*/ 202831 h 415741"/>
                <a:gd name="connsiteX135" fmla="*/ 30236 w 264562"/>
                <a:gd name="connsiteY135" fmla="*/ 209131 h 415741"/>
                <a:gd name="connsiteX136" fmla="*/ 35275 w 264562"/>
                <a:gd name="connsiteY136" fmla="*/ 219209 h 415741"/>
                <a:gd name="connsiteX137" fmla="*/ 36535 w 264562"/>
                <a:gd name="connsiteY137" fmla="*/ 221729 h 415741"/>
                <a:gd name="connsiteX138" fmla="*/ 40314 w 264562"/>
                <a:gd name="connsiteY138" fmla="*/ 229288 h 415741"/>
                <a:gd name="connsiteX139" fmla="*/ 44094 w 264562"/>
                <a:gd name="connsiteY139" fmla="*/ 236847 h 415741"/>
                <a:gd name="connsiteX140" fmla="*/ 45354 w 264562"/>
                <a:gd name="connsiteY140" fmla="*/ 239366 h 415741"/>
                <a:gd name="connsiteX141" fmla="*/ 54172 w 264562"/>
                <a:gd name="connsiteY141" fmla="*/ 258264 h 415741"/>
                <a:gd name="connsiteX142" fmla="*/ 59212 w 264562"/>
                <a:gd name="connsiteY142" fmla="*/ 268342 h 415741"/>
                <a:gd name="connsiteX143" fmla="*/ 64251 w 264562"/>
                <a:gd name="connsiteY143" fmla="*/ 275901 h 415741"/>
                <a:gd name="connsiteX144" fmla="*/ 64251 w 264562"/>
                <a:gd name="connsiteY144" fmla="*/ 275901 h 415741"/>
                <a:gd name="connsiteX145" fmla="*/ 65511 w 264562"/>
                <a:gd name="connsiteY145" fmla="*/ 277161 h 415741"/>
                <a:gd name="connsiteX146" fmla="*/ 65511 w 264562"/>
                <a:gd name="connsiteY146" fmla="*/ 278421 h 415741"/>
                <a:gd name="connsiteX147" fmla="*/ 76849 w 264562"/>
                <a:gd name="connsiteY147" fmla="*/ 296058 h 415741"/>
                <a:gd name="connsiteX148" fmla="*/ 81889 w 264562"/>
                <a:gd name="connsiteY148" fmla="*/ 303617 h 415741"/>
                <a:gd name="connsiteX149" fmla="*/ 81889 w 264562"/>
                <a:gd name="connsiteY149" fmla="*/ 303617 h 415741"/>
                <a:gd name="connsiteX150" fmla="*/ 81889 w 264562"/>
                <a:gd name="connsiteY150" fmla="*/ 303617 h 415741"/>
                <a:gd name="connsiteX151" fmla="*/ 88188 w 264562"/>
                <a:gd name="connsiteY151" fmla="*/ 313696 h 415741"/>
                <a:gd name="connsiteX152" fmla="*/ 93227 w 264562"/>
                <a:gd name="connsiteY152" fmla="*/ 321255 h 415741"/>
                <a:gd name="connsiteX153" fmla="*/ 99526 w 264562"/>
                <a:gd name="connsiteY153" fmla="*/ 330074 h 415741"/>
                <a:gd name="connsiteX154" fmla="*/ 112124 w 264562"/>
                <a:gd name="connsiteY154" fmla="*/ 346451 h 415741"/>
                <a:gd name="connsiteX155" fmla="*/ 114644 w 264562"/>
                <a:gd name="connsiteY155" fmla="*/ 350231 h 415741"/>
                <a:gd name="connsiteX156" fmla="*/ 123463 w 264562"/>
                <a:gd name="connsiteY156" fmla="*/ 362829 h 415741"/>
                <a:gd name="connsiteX157" fmla="*/ 128502 w 264562"/>
                <a:gd name="connsiteY157" fmla="*/ 370388 h 415741"/>
                <a:gd name="connsiteX158" fmla="*/ 133541 w 264562"/>
                <a:gd name="connsiteY158" fmla="*/ 376687 h 415741"/>
                <a:gd name="connsiteX159" fmla="*/ 134801 w 264562"/>
                <a:gd name="connsiteY159" fmla="*/ 377947 h 415741"/>
                <a:gd name="connsiteX160" fmla="*/ 137321 w 264562"/>
                <a:gd name="connsiteY160" fmla="*/ 381727 h 415741"/>
                <a:gd name="connsiteX161" fmla="*/ 137321 w 264562"/>
                <a:gd name="connsiteY161" fmla="*/ 381727 h 415741"/>
                <a:gd name="connsiteX162" fmla="*/ 148659 w 264562"/>
                <a:gd name="connsiteY162" fmla="*/ 394325 h 415741"/>
                <a:gd name="connsiteX163" fmla="*/ 152439 w 264562"/>
                <a:gd name="connsiteY163" fmla="*/ 398104 h 415741"/>
                <a:gd name="connsiteX164" fmla="*/ 153698 w 264562"/>
                <a:gd name="connsiteY164" fmla="*/ 399364 h 415741"/>
                <a:gd name="connsiteX165" fmla="*/ 156218 w 264562"/>
                <a:gd name="connsiteY165" fmla="*/ 401884 h 415741"/>
                <a:gd name="connsiteX166" fmla="*/ 156218 w 264562"/>
                <a:gd name="connsiteY166" fmla="*/ 401884 h 415741"/>
                <a:gd name="connsiteX167" fmla="*/ 163777 w 264562"/>
                <a:gd name="connsiteY167" fmla="*/ 406923 h 415741"/>
                <a:gd name="connsiteX168" fmla="*/ 166297 w 264562"/>
                <a:gd name="connsiteY168" fmla="*/ 409443 h 415741"/>
                <a:gd name="connsiteX169" fmla="*/ 167557 w 264562"/>
                <a:gd name="connsiteY169" fmla="*/ 410702 h 415741"/>
                <a:gd name="connsiteX170" fmla="*/ 167557 w 264562"/>
                <a:gd name="connsiteY170" fmla="*/ 410702 h 415741"/>
                <a:gd name="connsiteX171" fmla="*/ 171336 w 264562"/>
                <a:gd name="connsiteY171" fmla="*/ 413222 h 415741"/>
                <a:gd name="connsiteX172" fmla="*/ 177635 w 264562"/>
                <a:gd name="connsiteY172" fmla="*/ 415742 h 415741"/>
                <a:gd name="connsiteX173" fmla="*/ 181414 w 264562"/>
                <a:gd name="connsiteY173" fmla="*/ 417001 h 415741"/>
                <a:gd name="connsiteX174" fmla="*/ 182674 w 264562"/>
                <a:gd name="connsiteY174" fmla="*/ 417001 h 415741"/>
                <a:gd name="connsiteX175" fmla="*/ 188973 w 264562"/>
                <a:gd name="connsiteY175" fmla="*/ 419521 h 415741"/>
                <a:gd name="connsiteX176" fmla="*/ 197792 w 264562"/>
                <a:gd name="connsiteY176" fmla="*/ 422041 h 415741"/>
                <a:gd name="connsiteX177" fmla="*/ 210390 w 264562"/>
                <a:gd name="connsiteY177" fmla="*/ 423301 h 415741"/>
                <a:gd name="connsiteX178" fmla="*/ 215430 w 264562"/>
                <a:gd name="connsiteY178" fmla="*/ 423301 h 415741"/>
                <a:gd name="connsiteX179" fmla="*/ 216690 w 264562"/>
                <a:gd name="connsiteY179" fmla="*/ 423301 h 415741"/>
                <a:gd name="connsiteX180" fmla="*/ 221729 w 264562"/>
                <a:gd name="connsiteY180" fmla="*/ 423301 h 415741"/>
                <a:gd name="connsiteX181" fmla="*/ 222989 w 264562"/>
                <a:gd name="connsiteY181" fmla="*/ 423301 h 415741"/>
                <a:gd name="connsiteX182" fmla="*/ 228028 w 264562"/>
                <a:gd name="connsiteY182" fmla="*/ 422041 h 415741"/>
                <a:gd name="connsiteX183" fmla="*/ 234327 w 264562"/>
                <a:gd name="connsiteY183" fmla="*/ 419521 h 415741"/>
                <a:gd name="connsiteX184" fmla="*/ 239366 w 264562"/>
                <a:gd name="connsiteY184" fmla="*/ 417001 h 415741"/>
                <a:gd name="connsiteX185" fmla="*/ 245666 w 264562"/>
                <a:gd name="connsiteY185" fmla="*/ 411962 h 415741"/>
                <a:gd name="connsiteX186" fmla="*/ 249445 w 264562"/>
                <a:gd name="connsiteY186" fmla="*/ 406923 h 415741"/>
                <a:gd name="connsiteX187" fmla="*/ 251965 w 264562"/>
                <a:gd name="connsiteY187" fmla="*/ 403143 h 415741"/>
                <a:gd name="connsiteX188" fmla="*/ 255744 w 264562"/>
                <a:gd name="connsiteY188" fmla="*/ 395584 h 415741"/>
                <a:gd name="connsiteX189" fmla="*/ 255744 w 264562"/>
                <a:gd name="connsiteY189" fmla="*/ 394325 h 415741"/>
                <a:gd name="connsiteX190" fmla="*/ 255744 w 264562"/>
                <a:gd name="connsiteY190" fmla="*/ 393065 h 415741"/>
                <a:gd name="connsiteX191" fmla="*/ 257004 w 264562"/>
                <a:gd name="connsiteY191" fmla="*/ 390545 h 415741"/>
                <a:gd name="connsiteX192" fmla="*/ 257004 w 264562"/>
                <a:gd name="connsiteY192" fmla="*/ 390545 h 415741"/>
                <a:gd name="connsiteX193" fmla="*/ 259524 w 264562"/>
                <a:gd name="connsiteY193" fmla="*/ 376687 h 415741"/>
                <a:gd name="connsiteX194" fmla="*/ 259524 w 264562"/>
                <a:gd name="connsiteY194" fmla="*/ 371648 h 415741"/>
                <a:gd name="connsiteX195" fmla="*/ 259524 w 264562"/>
                <a:gd name="connsiteY195" fmla="*/ 370388 h 415741"/>
                <a:gd name="connsiteX196" fmla="*/ 259524 w 264562"/>
                <a:gd name="connsiteY196" fmla="*/ 369128 h 415741"/>
                <a:gd name="connsiteX197" fmla="*/ 259524 w 264562"/>
                <a:gd name="connsiteY197" fmla="*/ 366608 h 415741"/>
                <a:gd name="connsiteX198" fmla="*/ 265823 w 264562"/>
                <a:gd name="connsiteY198" fmla="*/ 364089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264562" h="415741">
                  <a:moveTo>
                    <a:pt x="265823" y="364089"/>
                  </a:moveTo>
                  <a:cubicBezTo>
                    <a:pt x="265823" y="362829"/>
                    <a:pt x="265823" y="362829"/>
                    <a:pt x="265823" y="361569"/>
                  </a:cubicBezTo>
                  <a:cubicBezTo>
                    <a:pt x="265823" y="359050"/>
                    <a:pt x="265823" y="356530"/>
                    <a:pt x="264563" y="354010"/>
                  </a:cubicBezTo>
                  <a:cubicBezTo>
                    <a:pt x="264563" y="352751"/>
                    <a:pt x="264563" y="352751"/>
                    <a:pt x="264563" y="351491"/>
                  </a:cubicBezTo>
                  <a:lnTo>
                    <a:pt x="264563" y="351491"/>
                  </a:lnTo>
                  <a:lnTo>
                    <a:pt x="264563" y="351491"/>
                  </a:lnTo>
                  <a:cubicBezTo>
                    <a:pt x="264563" y="350231"/>
                    <a:pt x="264563" y="348971"/>
                    <a:pt x="263303" y="346451"/>
                  </a:cubicBezTo>
                  <a:cubicBezTo>
                    <a:pt x="263303" y="346451"/>
                    <a:pt x="263303" y="346451"/>
                    <a:pt x="263303" y="345192"/>
                  </a:cubicBezTo>
                  <a:cubicBezTo>
                    <a:pt x="263303" y="343932"/>
                    <a:pt x="262043" y="342672"/>
                    <a:pt x="262043" y="341412"/>
                  </a:cubicBezTo>
                  <a:cubicBezTo>
                    <a:pt x="259524" y="335113"/>
                    <a:pt x="257004" y="328814"/>
                    <a:pt x="254484" y="322515"/>
                  </a:cubicBezTo>
                  <a:cubicBezTo>
                    <a:pt x="254484" y="322515"/>
                    <a:pt x="254484" y="321255"/>
                    <a:pt x="254484" y="321255"/>
                  </a:cubicBezTo>
                  <a:cubicBezTo>
                    <a:pt x="254484" y="319995"/>
                    <a:pt x="253225" y="319995"/>
                    <a:pt x="253225" y="318735"/>
                  </a:cubicBezTo>
                  <a:lnTo>
                    <a:pt x="253225" y="317475"/>
                  </a:lnTo>
                  <a:cubicBezTo>
                    <a:pt x="250705" y="313696"/>
                    <a:pt x="249445" y="308657"/>
                    <a:pt x="246925" y="304877"/>
                  </a:cubicBezTo>
                  <a:cubicBezTo>
                    <a:pt x="245666" y="302358"/>
                    <a:pt x="244406" y="301098"/>
                    <a:pt x="243146" y="298578"/>
                  </a:cubicBezTo>
                  <a:cubicBezTo>
                    <a:pt x="241886" y="296058"/>
                    <a:pt x="240626" y="293539"/>
                    <a:pt x="239366" y="291019"/>
                  </a:cubicBezTo>
                  <a:cubicBezTo>
                    <a:pt x="238107" y="288499"/>
                    <a:pt x="236847" y="285980"/>
                    <a:pt x="235587" y="283460"/>
                  </a:cubicBezTo>
                  <a:lnTo>
                    <a:pt x="235587" y="282200"/>
                  </a:lnTo>
                  <a:lnTo>
                    <a:pt x="235587" y="282200"/>
                  </a:lnTo>
                  <a:lnTo>
                    <a:pt x="234327" y="279681"/>
                  </a:lnTo>
                  <a:lnTo>
                    <a:pt x="233067" y="278421"/>
                  </a:lnTo>
                  <a:cubicBezTo>
                    <a:pt x="231807" y="275901"/>
                    <a:pt x="230548" y="273382"/>
                    <a:pt x="229288" y="270862"/>
                  </a:cubicBezTo>
                  <a:cubicBezTo>
                    <a:pt x="229288" y="270862"/>
                    <a:pt x="229288" y="270862"/>
                    <a:pt x="229288" y="270862"/>
                  </a:cubicBezTo>
                  <a:cubicBezTo>
                    <a:pt x="228028" y="268342"/>
                    <a:pt x="226768" y="267083"/>
                    <a:pt x="225508" y="264563"/>
                  </a:cubicBezTo>
                  <a:cubicBezTo>
                    <a:pt x="225508" y="263303"/>
                    <a:pt x="224249" y="263303"/>
                    <a:pt x="224249" y="262043"/>
                  </a:cubicBezTo>
                  <a:cubicBezTo>
                    <a:pt x="222989" y="260783"/>
                    <a:pt x="221729" y="258264"/>
                    <a:pt x="220469" y="257004"/>
                  </a:cubicBezTo>
                  <a:cubicBezTo>
                    <a:pt x="220469" y="257004"/>
                    <a:pt x="219209" y="255744"/>
                    <a:pt x="219209" y="255744"/>
                  </a:cubicBezTo>
                  <a:lnTo>
                    <a:pt x="219209" y="255744"/>
                  </a:lnTo>
                  <a:lnTo>
                    <a:pt x="219209" y="255744"/>
                  </a:lnTo>
                  <a:cubicBezTo>
                    <a:pt x="217949" y="254484"/>
                    <a:pt x="217949" y="254484"/>
                    <a:pt x="216690" y="253224"/>
                  </a:cubicBez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cubicBezTo>
                    <a:pt x="214170" y="248185"/>
                    <a:pt x="212910" y="244406"/>
                    <a:pt x="210390" y="240626"/>
                  </a:cubicBezTo>
                  <a:cubicBezTo>
                    <a:pt x="209131" y="239366"/>
                    <a:pt x="207871" y="236847"/>
                    <a:pt x="206611" y="235587"/>
                  </a:cubicBezTo>
                  <a:lnTo>
                    <a:pt x="206611" y="235587"/>
                  </a:lnTo>
                  <a:lnTo>
                    <a:pt x="206611" y="235587"/>
                  </a:lnTo>
                  <a:lnTo>
                    <a:pt x="205351" y="234327"/>
                  </a:lnTo>
                  <a:lnTo>
                    <a:pt x="205351" y="233067"/>
                  </a:lnTo>
                  <a:cubicBezTo>
                    <a:pt x="204091" y="231807"/>
                    <a:pt x="204091" y="230548"/>
                    <a:pt x="202832" y="229288"/>
                  </a:cubicBezTo>
                  <a:cubicBezTo>
                    <a:pt x="201572" y="228028"/>
                    <a:pt x="201572" y="226768"/>
                    <a:pt x="200312" y="224249"/>
                  </a:cubicBezTo>
                  <a:cubicBezTo>
                    <a:pt x="197792" y="220469"/>
                    <a:pt x="194013" y="215430"/>
                    <a:pt x="191493" y="210390"/>
                  </a:cubicBezTo>
                  <a:cubicBezTo>
                    <a:pt x="190233" y="209131"/>
                    <a:pt x="190233" y="207871"/>
                    <a:pt x="188973" y="206611"/>
                  </a:cubicBezTo>
                  <a:cubicBezTo>
                    <a:pt x="186454" y="202831"/>
                    <a:pt x="183934" y="200312"/>
                    <a:pt x="181414" y="196532"/>
                  </a:cubicBezTo>
                  <a:lnTo>
                    <a:pt x="181414" y="196532"/>
                  </a:lnTo>
                  <a:cubicBezTo>
                    <a:pt x="181414" y="196532"/>
                    <a:pt x="180155" y="195273"/>
                    <a:pt x="180155" y="195273"/>
                  </a:cubicBezTo>
                  <a:cubicBezTo>
                    <a:pt x="178895" y="194013"/>
                    <a:pt x="177635" y="192753"/>
                    <a:pt x="176375" y="191493"/>
                  </a:cubicBezTo>
                  <a:cubicBezTo>
                    <a:pt x="175115" y="190233"/>
                    <a:pt x="175115" y="188974"/>
                    <a:pt x="173856" y="188974"/>
                  </a:cubicBezTo>
                  <a:lnTo>
                    <a:pt x="173856" y="188974"/>
                  </a:lnTo>
                  <a:cubicBezTo>
                    <a:pt x="172596" y="187714"/>
                    <a:pt x="171336" y="186454"/>
                    <a:pt x="171336" y="185194"/>
                  </a:cubicBezTo>
                  <a:cubicBezTo>
                    <a:pt x="171336" y="183934"/>
                    <a:pt x="170076" y="183934"/>
                    <a:pt x="170076" y="182674"/>
                  </a:cubicBezTo>
                  <a:cubicBezTo>
                    <a:pt x="170076" y="181414"/>
                    <a:pt x="168816" y="181414"/>
                    <a:pt x="168816" y="180155"/>
                  </a:cubicBezTo>
                  <a:cubicBezTo>
                    <a:pt x="168816" y="180155"/>
                    <a:pt x="168816" y="180155"/>
                    <a:pt x="168816" y="178895"/>
                  </a:cubicBezTo>
                  <a:cubicBezTo>
                    <a:pt x="168816" y="177635"/>
                    <a:pt x="167557" y="177635"/>
                    <a:pt x="167557" y="176375"/>
                  </a:cubicBezTo>
                  <a:cubicBezTo>
                    <a:pt x="167557" y="176375"/>
                    <a:pt x="166297" y="175115"/>
                    <a:pt x="166297" y="175115"/>
                  </a:cubicBezTo>
                  <a:cubicBezTo>
                    <a:pt x="162517" y="170076"/>
                    <a:pt x="158738" y="165037"/>
                    <a:pt x="154958" y="159998"/>
                  </a:cubicBezTo>
                  <a:cubicBezTo>
                    <a:pt x="154958" y="158738"/>
                    <a:pt x="153698" y="158738"/>
                    <a:pt x="153698" y="157478"/>
                  </a:cubicBezTo>
                  <a:cubicBezTo>
                    <a:pt x="149919" y="151179"/>
                    <a:pt x="146140" y="143620"/>
                    <a:pt x="142360" y="137321"/>
                  </a:cubicBezTo>
                  <a:cubicBezTo>
                    <a:pt x="141100" y="134801"/>
                    <a:pt x="139840" y="132281"/>
                    <a:pt x="138581" y="131022"/>
                  </a:cubicBezTo>
                  <a:cubicBezTo>
                    <a:pt x="138581" y="129762"/>
                    <a:pt x="137321" y="128502"/>
                    <a:pt x="137321" y="127242"/>
                  </a:cubicBezTo>
                  <a:cubicBezTo>
                    <a:pt x="136061" y="124722"/>
                    <a:pt x="134801" y="123463"/>
                    <a:pt x="133541" y="120943"/>
                  </a:cubicBezTo>
                  <a:cubicBezTo>
                    <a:pt x="133541" y="119683"/>
                    <a:pt x="132281" y="118423"/>
                    <a:pt x="132281" y="117164"/>
                  </a:cubicBezTo>
                  <a:cubicBezTo>
                    <a:pt x="131022" y="113384"/>
                    <a:pt x="128502" y="108345"/>
                    <a:pt x="127242" y="103305"/>
                  </a:cubicBezTo>
                  <a:cubicBezTo>
                    <a:pt x="125982" y="99526"/>
                    <a:pt x="124722" y="94487"/>
                    <a:pt x="123463" y="90707"/>
                  </a:cubicBezTo>
                  <a:cubicBezTo>
                    <a:pt x="122203" y="88188"/>
                    <a:pt x="122203" y="84408"/>
                    <a:pt x="120943" y="81889"/>
                  </a:cubicBezTo>
                  <a:lnTo>
                    <a:pt x="120943" y="81889"/>
                  </a:lnTo>
                  <a:cubicBezTo>
                    <a:pt x="120943" y="80629"/>
                    <a:pt x="119683" y="78109"/>
                    <a:pt x="119683" y="76849"/>
                  </a:cubicBezTo>
                  <a:cubicBezTo>
                    <a:pt x="118423" y="73070"/>
                    <a:pt x="117164" y="68030"/>
                    <a:pt x="115904" y="62991"/>
                  </a:cubicBezTo>
                  <a:cubicBezTo>
                    <a:pt x="115904" y="61731"/>
                    <a:pt x="115904" y="60472"/>
                    <a:pt x="115904" y="59212"/>
                  </a:cubicBezTo>
                  <a:lnTo>
                    <a:pt x="115904" y="59212"/>
                  </a:lnTo>
                  <a:cubicBezTo>
                    <a:pt x="115904" y="56692"/>
                    <a:pt x="115904" y="55432"/>
                    <a:pt x="114644" y="52913"/>
                  </a:cubicBezTo>
                  <a:cubicBezTo>
                    <a:pt x="114644" y="49133"/>
                    <a:pt x="113384" y="46613"/>
                    <a:pt x="112124" y="42834"/>
                  </a:cubicBezTo>
                  <a:lnTo>
                    <a:pt x="112124" y="41574"/>
                  </a:lnTo>
                  <a:cubicBezTo>
                    <a:pt x="112124" y="39054"/>
                    <a:pt x="110864" y="36535"/>
                    <a:pt x="109605" y="34015"/>
                  </a:cubicBezTo>
                  <a:cubicBezTo>
                    <a:pt x="108345" y="30236"/>
                    <a:pt x="105825" y="26456"/>
                    <a:pt x="104565" y="23937"/>
                  </a:cubicBezTo>
                  <a:cubicBezTo>
                    <a:pt x="103305" y="22677"/>
                    <a:pt x="103305" y="21417"/>
                    <a:pt x="102046" y="20157"/>
                  </a:cubicBezTo>
                  <a:cubicBezTo>
                    <a:pt x="100786" y="18897"/>
                    <a:pt x="99526" y="17637"/>
                    <a:pt x="98266" y="16378"/>
                  </a:cubicBezTo>
                  <a:cubicBezTo>
                    <a:pt x="98266" y="16378"/>
                    <a:pt x="98266" y="16378"/>
                    <a:pt x="97006" y="15118"/>
                  </a:cubicBezTo>
                  <a:cubicBezTo>
                    <a:pt x="95747" y="13858"/>
                    <a:pt x="95747" y="13858"/>
                    <a:pt x="94487" y="12598"/>
                  </a:cubicBezTo>
                  <a:cubicBezTo>
                    <a:pt x="94487" y="12598"/>
                    <a:pt x="94487" y="12598"/>
                    <a:pt x="93227" y="12598"/>
                  </a:cubicBezTo>
                  <a:cubicBezTo>
                    <a:pt x="91967" y="11338"/>
                    <a:pt x="89448" y="10079"/>
                    <a:pt x="88188" y="8819"/>
                  </a:cubicBezTo>
                  <a:lnTo>
                    <a:pt x="88188" y="8819"/>
                  </a:lnTo>
                  <a:cubicBezTo>
                    <a:pt x="85668" y="7559"/>
                    <a:pt x="81889" y="5039"/>
                    <a:pt x="78109" y="3780"/>
                  </a:cubicBezTo>
                  <a:cubicBezTo>
                    <a:pt x="74329" y="2520"/>
                    <a:pt x="71810" y="1260"/>
                    <a:pt x="68030" y="1260"/>
                  </a:cubicBezTo>
                  <a:cubicBezTo>
                    <a:pt x="68030" y="1260"/>
                    <a:pt x="66771" y="1260"/>
                    <a:pt x="66771" y="1260"/>
                  </a:cubicBezTo>
                  <a:cubicBezTo>
                    <a:pt x="61731" y="0"/>
                    <a:pt x="55432" y="0"/>
                    <a:pt x="50393" y="0"/>
                  </a:cubicBezTo>
                  <a:cubicBezTo>
                    <a:pt x="49133" y="0"/>
                    <a:pt x="49133" y="0"/>
                    <a:pt x="47873" y="0"/>
                  </a:cubicBezTo>
                  <a:cubicBezTo>
                    <a:pt x="44094" y="0"/>
                    <a:pt x="39055" y="1260"/>
                    <a:pt x="35275" y="2520"/>
                  </a:cubicBezTo>
                  <a:cubicBezTo>
                    <a:pt x="34015" y="2520"/>
                    <a:pt x="32755" y="3780"/>
                    <a:pt x="31496" y="3780"/>
                  </a:cubicBezTo>
                  <a:cubicBezTo>
                    <a:pt x="30236" y="3780"/>
                    <a:pt x="28976" y="5039"/>
                    <a:pt x="27716" y="5039"/>
                  </a:cubicBezTo>
                  <a:cubicBezTo>
                    <a:pt x="25196" y="6299"/>
                    <a:pt x="22677" y="8819"/>
                    <a:pt x="21417" y="10079"/>
                  </a:cubicBezTo>
                  <a:cubicBezTo>
                    <a:pt x="20157" y="11338"/>
                    <a:pt x="18897" y="13858"/>
                    <a:pt x="16378" y="15118"/>
                  </a:cubicBezTo>
                  <a:cubicBezTo>
                    <a:pt x="16378" y="15118"/>
                    <a:pt x="16378" y="16378"/>
                    <a:pt x="15118" y="16378"/>
                  </a:cubicBezTo>
                  <a:cubicBezTo>
                    <a:pt x="15118" y="16378"/>
                    <a:pt x="15118" y="16378"/>
                    <a:pt x="15118" y="16378"/>
                  </a:cubicBezTo>
                  <a:cubicBezTo>
                    <a:pt x="15118" y="16378"/>
                    <a:pt x="13858" y="17637"/>
                    <a:pt x="13858" y="17637"/>
                  </a:cubicBezTo>
                  <a:cubicBezTo>
                    <a:pt x="13858" y="18897"/>
                    <a:pt x="12598" y="18897"/>
                    <a:pt x="12598" y="20157"/>
                  </a:cubicBezTo>
                  <a:lnTo>
                    <a:pt x="12598" y="20157"/>
                  </a:lnTo>
                  <a:cubicBezTo>
                    <a:pt x="12598" y="20157"/>
                    <a:pt x="12598" y="20157"/>
                    <a:pt x="12598" y="20157"/>
                  </a:cubicBezTo>
                  <a:cubicBezTo>
                    <a:pt x="11338" y="22677"/>
                    <a:pt x="8819" y="23937"/>
                    <a:pt x="7559" y="27716"/>
                  </a:cubicBezTo>
                  <a:cubicBezTo>
                    <a:pt x="6299" y="30236"/>
                    <a:pt x="5039" y="32755"/>
                    <a:pt x="3780" y="36535"/>
                  </a:cubicBezTo>
                  <a:cubicBezTo>
                    <a:pt x="2520" y="39054"/>
                    <a:pt x="2520" y="42834"/>
                    <a:pt x="1260" y="45354"/>
                  </a:cubicBezTo>
                  <a:cubicBezTo>
                    <a:pt x="1260" y="47873"/>
                    <a:pt x="0" y="50393"/>
                    <a:pt x="0" y="51653"/>
                  </a:cubicBezTo>
                  <a:lnTo>
                    <a:pt x="0" y="52913"/>
                  </a:lnTo>
                  <a:cubicBezTo>
                    <a:pt x="0" y="54172"/>
                    <a:pt x="0" y="54172"/>
                    <a:pt x="0" y="55432"/>
                  </a:cubicBez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0" y="56692"/>
                    <a:pt x="0" y="56692"/>
                    <a:pt x="0" y="57952"/>
                  </a:cubicBezTo>
                  <a:cubicBezTo>
                    <a:pt x="0" y="59212"/>
                    <a:pt x="0" y="60472"/>
                    <a:pt x="0" y="61731"/>
                  </a:cubicBezTo>
                  <a:cubicBezTo>
                    <a:pt x="0" y="61731"/>
                    <a:pt x="0" y="61731"/>
                    <a:pt x="0" y="62991"/>
                  </a:cubicBezTo>
                  <a:cubicBezTo>
                    <a:pt x="0" y="64251"/>
                    <a:pt x="0" y="65511"/>
                    <a:pt x="0" y="66771"/>
                  </a:cubicBezTo>
                  <a:cubicBezTo>
                    <a:pt x="0" y="70550"/>
                    <a:pt x="0" y="74330"/>
                    <a:pt x="0" y="78109"/>
                  </a:cubicBezTo>
                  <a:cubicBezTo>
                    <a:pt x="0" y="79369"/>
                    <a:pt x="0" y="80629"/>
                    <a:pt x="0" y="81889"/>
                  </a:cubicBezTo>
                  <a:cubicBezTo>
                    <a:pt x="0" y="84408"/>
                    <a:pt x="0" y="86928"/>
                    <a:pt x="0" y="88188"/>
                  </a:cubicBezTo>
                  <a:cubicBezTo>
                    <a:pt x="0" y="89447"/>
                    <a:pt x="0" y="90707"/>
                    <a:pt x="0" y="93227"/>
                  </a:cubicBezTo>
                  <a:lnTo>
                    <a:pt x="0" y="94487"/>
                  </a:lnTo>
                  <a:lnTo>
                    <a:pt x="0" y="95746"/>
                  </a:lnTo>
                  <a:cubicBezTo>
                    <a:pt x="0" y="97006"/>
                    <a:pt x="0" y="98266"/>
                    <a:pt x="0" y="99526"/>
                  </a:cubicBezTo>
                  <a:lnTo>
                    <a:pt x="0" y="100786"/>
                  </a:lnTo>
                  <a:cubicBezTo>
                    <a:pt x="0" y="103305"/>
                    <a:pt x="0" y="107085"/>
                    <a:pt x="1260" y="109605"/>
                  </a:cubicBezTo>
                  <a:cubicBezTo>
                    <a:pt x="1260" y="110864"/>
                    <a:pt x="1260" y="113384"/>
                    <a:pt x="2520" y="114644"/>
                  </a:cubicBezTo>
                  <a:cubicBezTo>
                    <a:pt x="2520" y="115904"/>
                    <a:pt x="2520" y="118423"/>
                    <a:pt x="3780" y="119683"/>
                  </a:cubicBezTo>
                  <a:lnTo>
                    <a:pt x="3780" y="120943"/>
                  </a:lnTo>
                  <a:cubicBezTo>
                    <a:pt x="5039" y="127242"/>
                    <a:pt x="6299" y="134801"/>
                    <a:pt x="7559" y="141100"/>
                  </a:cubicBezTo>
                  <a:cubicBezTo>
                    <a:pt x="7559" y="142360"/>
                    <a:pt x="7559" y="143620"/>
                    <a:pt x="8819" y="143620"/>
                  </a:cubicBezTo>
                  <a:lnTo>
                    <a:pt x="8819" y="143620"/>
                  </a:lnTo>
                  <a:cubicBezTo>
                    <a:pt x="8819" y="146139"/>
                    <a:pt x="10079" y="147399"/>
                    <a:pt x="10079" y="149919"/>
                  </a:cubicBezTo>
                  <a:lnTo>
                    <a:pt x="10079" y="151179"/>
                  </a:lnTo>
                  <a:cubicBezTo>
                    <a:pt x="10079" y="153698"/>
                    <a:pt x="11338" y="156218"/>
                    <a:pt x="12598" y="159998"/>
                  </a:cubicBezTo>
                  <a:cubicBezTo>
                    <a:pt x="13858" y="166297"/>
                    <a:pt x="16378" y="173856"/>
                    <a:pt x="18897" y="180155"/>
                  </a:cubicBezTo>
                  <a:cubicBezTo>
                    <a:pt x="21417" y="186454"/>
                    <a:pt x="23937" y="192753"/>
                    <a:pt x="26456" y="200312"/>
                  </a:cubicBezTo>
                  <a:cubicBezTo>
                    <a:pt x="26456" y="201572"/>
                    <a:pt x="27716" y="201572"/>
                    <a:pt x="27716" y="202831"/>
                  </a:cubicBezTo>
                  <a:lnTo>
                    <a:pt x="27716" y="202831"/>
                  </a:lnTo>
                  <a:cubicBezTo>
                    <a:pt x="28976" y="205351"/>
                    <a:pt x="28976" y="206611"/>
                    <a:pt x="30236" y="209131"/>
                  </a:cubicBezTo>
                  <a:cubicBezTo>
                    <a:pt x="31496" y="212910"/>
                    <a:pt x="34015" y="216690"/>
                    <a:pt x="35275" y="219209"/>
                  </a:cubicBezTo>
                  <a:lnTo>
                    <a:pt x="36535" y="221729"/>
                  </a:lnTo>
                  <a:cubicBezTo>
                    <a:pt x="37795" y="224249"/>
                    <a:pt x="39055" y="226768"/>
                    <a:pt x="40314" y="229288"/>
                  </a:cubicBezTo>
                  <a:cubicBezTo>
                    <a:pt x="41574" y="231807"/>
                    <a:pt x="42834" y="234327"/>
                    <a:pt x="44094" y="236847"/>
                  </a:cubicBezTo>
                  <a:lnTo>
                    <a:pt x="45354" y="239366"/>
                  </a:lnTo>
                  <a:cubicBezTo>
                    <a:pt x="47873" y="244406"/>
                    <a:pt x="50393" y="250705"/>
                    <a:pt x="54172" y="258264"/>
                  </a:cubicBezTo>
                  <a:cubicBezTo>
                    <a:pt x="55432" y="262043"/>
                    <a:pt x="57952" y="265823"/>
                    <a:pt x="59212" y="268342"/>
                  </a:cubicBezTo>
                  <a:cubicBezTo>
                    <a:pt x="60472" y="270862"/>
                    <a:pt x="61731" y="273382"/>
                    <a:pt x="64251" y="275901"/>
                  </a:cubicBezTo>
                  <a:lnTo>
                    <a:pt x="64251" y="275901"/>
                  </a:lnTo>
                  <a:lnTo>
                    <a:pt x="65511" y="277161"/>
                  </a:lnTo>
                  <a:lnTo>
                    <a:pt x="65511" y="278421"/>
                  </a:lnTo>
                  <a:cubicBezTo>
                    <a:pt x="69290" y="284720"/>
                    <a:pt x="73070" y="291019"/>
                    <a:pt x="76849" y="296058"/>
                  </a:cubicBezTo>
                  <a:cubicBezTo>
                    <a:pt x="78109" y="298578"/>
                    <a:pt x="80629" y="301098"/>
                    <a:pt x="81889" y="303617"/>
                  </a:cubicBezTo>
                  <a:lnTo>
                    <a:pt x="81889" y="303617"/>
                  </a:lnTo>
                  <a:lnTo>
                    <a:pt x="81889" y="303617"/>
                  </a:lnTo>
                  <a:cubicBezTo>
                    <a:pt x="84408" y="307397"/>
                    <a:pt x="86928" y="309916"/>
                    <a:pt x="88188" y="313696"/>
                  </a:cubicBezTo>
                  <a:cubicBezTo>
                    <a:pt x="89448" y="316216"/>
                    <a:pt x="91967" y="318735"/>
                    <a:pt x="93227" y="321255"/>
                  </a:cubicBezTo>
                  <a:cubicBezTo>
                    <a:pt x="95747" y="323775"/>
                    <a:pt x="97006" y="327554"/>
                    <a:pt x="99526" y="330074"/>
                  </a:cubicBezTo>
                  <a:cubicBezTo>
                    <a:pt x="103305" y="335113"/>
                    <a:pt x="107085" y="340152"/>
                    <a:pt x="112124" y="346451"/>
                  </a:cubicBezTo>
                  <a:cubicBezTo>
                    <a:pt x="113384" y="347711"/>
                    <a:pt x="113384" y="348971"/>
                    <a:pt x="114644" y="350231"/>
                  </a:cubicBezTo>
                  <a:cubicBezTo>
                    <a:pt x="117164" y="354010"/>
                    <a:pt x="120943" y="359050"/>
                    <a:pt x="123463" y="362829"/>
                  </a:cubicBezTo>
                  <a:cubicBezTo>
                    <a:pt x="124722" y="365349"/>
                    <a:pt x="127242" y="367868"/>
                    <a:pt x="128502" y="370388"/>
                  </a:cubicBezTo>
                  <a:cubicBezTo>
                    <a:pt x="129762" y="372908"/>
                    <a:pt x="132281" y="374167"/>
                    <a:pt x="133541" y="376687"/>
                  </a:cubicBezTo>
                  <a:lnTo>
                    <a:pt x="134801" y="377947"/>
                  </a:lnTo>
                  <a:cubicBezTo>
                    <a:pt x="136061" y="379207"/>
                    <a:pt x="137321" y="380467"/>
                    <a:pt x="137321" y="381727"/>
                  </a:cubicBezTo>
                  <a:lnTo>
                    <a:pt x="137321" y="381727"/>
                  </a:lnTo>
                  <a:cubicBezTo>
                    <a:pt x="141100" y="386766"/>
                    <a:pt x="144880" y="390545"/>
                    <a:pt x="148659" y="394325"/>
                  </a:cubicBezTo>
                  <a:cubicBezTo>
                    <a:pt x="149919" y="395584"/>
                    <a:pt x="151179" y="396844"/>
                    <a:pt x="152439" y="398104"/>
                  </a:cubicBezTo>
                  <a:cubicBezTo>
                    <a:pt x="152439" y="398104"/>
                    <a:pt x="153698" y="399364"/>
                    <a:pt x="153698" y="399364"/>
                  </a:cubicBezTo>
                  <a:cubicBezTo>
                    <a:pt x="154958" y="400624"/>
                    <a:pt x="154958" y="400624"/>
                    <a:pt x="156218" y="401884"/>
                  </a:cubicBezTo>
                  <a:cubicBezTo>
                    <a:pt x="156218" y="401884"/>
                    <a:pt x="156218" y="401884"/>
                    <a:pt x="156218" y="401884"/>
                  </a:cubicBezTo>
                  <a:cubicBezTo>
                    <a:pt x="158738" y="403143"/>
                    <a:pt x="161257" y="405663"/>
                    <a:pt x="163777" y="406923"/>
                  </a:cubicBezTo>
                  <a:cubicBezTo>
                    <a:pt x="165037" y="406923"/>
                    <a:pt x="166297" y="408183"/>
                    <a:pt x="166297" y="409443"/>
                  </a:cubicBezTo>
                  <a:lnTo>
                    <a:pt x="167557" y="410702"/>
                  </a:lnTo>
                  <a:lnTo>
                    <a:pt x="167557" y="410702"/>
                  </a:lnTo>
                  <a:cubicBezTo>
                    <a:pt x="168816" y="411962"/>
                    <a:pt x="170076" y="411962"/>
                    <a:pt x="171336" y="413222"/>
                  </a:cubicBezTo>
                  <a:cubicBezTo>
                    <a:pt x="173856" y="414482"/>
                    <a:pt x="175115" y="415742"/>
                    <a:pt x="177635" y="415742"/>
                  </a:cubicBezTo>
                  <a:cubicBezTo>
                    <a:pt x="178895" y="415742"/>
                    <a:pt x="180155" y="417001"/>
                    <a:pt x="181414" y="417001"/>
                  </a:cubicBezTo>
                  <a:lnTo>
                    <a:pt x="182674" y="417001"/>
                  </a:lnTo>
                  <a:cubicBezTo>
                    <a:pt x="185194" y="418261"/>
                    <a:pt x="186454" y="418261"/>
                    <a:pt x="188973" y="419521"/>
                  </a:cubicBezTo>
                  <a:cubicBezTo>
                    <a:pt x="191493" y="420781"/>
                    <a:pt x="194013" y="420781"/>
                    <a:pt x="197792" y="422041"/>
                  </a:cubicBezTo>
                  <a:cubicBezTo>
                    <a:pt x="201572" y="423301"/>
                    <a:pt x="206611" y="423301"/>
                    <a:pt x="210390" y="423301"/>
                  </a:cubicBezTo>
                  <a:cubicBezTo>
                    <a:pt x="211650" y="423301"/>
                    <a:pt x="214170" y="423301"/>
                    <a:pt x="215430" y="423301"/>
                  </a:cubicBezTo>
                  <a:cubicBezTo>
                    <a:pt x="215430" y="423301"/>
                    <a:pt x="216690" y="423301"/>
                    <a:pt x="216690" y="423301"/>
                  </a:cubicBezTo>
                  <a:cubicBezTo>
                    <a:pt x="217949" y="423301"/>
                    <a:pt x="219209" y="423301"/>
                    <a:pt x="221729" y="423301"/>
                  </a:cubicBezTo>
                  <a:lnTo>
                    <a:pt x="222989" y="423301"/>
                  </a:lnTo>
                  <a:cubicBezTo>
                    <a:pt x="225508" y="423301"/>
                    <a:pt x="226768" y="422041"/>
                    <a:pt x="228028" y="422041"/>
                  </a:cubicBezTo>
                  <a:cubicBezTo>
                    <a:pt x="230548" y="422041"/>
                    <a:pt x="231807" y="420781"/>
                    <a:pt x="234327" y="419521"/>
                  </a:cubicBezTo>
                  <a:cubicBezTo>
                    <a:pt x="235587" y="418261"/>
                    <a:pt x="236847" y="418261"/>
                    <a:pt x="239366" y="417001"/>
                  </a:cubicBezTo>
                  <a:cubicBezTo>
                    <a:pt x="241886" y="415742"/>
                    <a:pt x="244406" y="413222"/>
                    <a:pt x="245666" y="411962"/>
                  </a:cubicBezTo>
                  <a:cubicBezTo>
                    <a:pt x="246925" y="410702"/>
                    <a:pt x="248185" y="408183"/>
                    <a:pt x="249445" y="406923"/>
                  </a:cubicBezTo>
                  <a:cubicBezTo>
                    <a:pt x="250705" y="405663"/>
                    <a:pt x="251965" y="404403"/>
                    <a:pt x="251965" y="403143"/>
                  </a:cubicBezTo>
                  <a:cubicBezTo>
                    <a:pt x="253225" y="400624"/>
                    <a:pt x="254484" y="398104"/>
                    <a:pt x="255744" y="395584"/>
                  </a:cubicBezTo>
                  <a:cubicBezTo>
                    <a:pt x="255744" y="395584"/>
                    <a:pt x="255744" y="394325"/>
                    <a:pt x="255744" y="394325"/>
                  </a:cubicBezTo>
                  <a:lnTo>
                    <a:pt x="255744" y="393065"/>
                  </a:lnTo>
                  <a:cubicBezTo>
                    <a:pt x="255744" y="391805"/>
                    <a:pt x="255744" y="391805"/>
                    <a:pt x="257004" y="390545"/>
                  </a:cubicBezTo>
                  <a:cubicBezTo>
                    <a:pt x="257004" y="390545"/>
                    <a:pt x="257004" y="390545"/>
                    <a:pt x="257004" y="390545"/>
                  </a:cubicBezTo>
                  <a:cubicBezTo>
                    <a:pt x="258264" y="385506"/>
                    <a:pt x="259524" y="381727"/>
                    <a:pt x="259524" y="376687"/>
                  </a:cubicBezTo>
                  <a:cubicBezTo>
                    <a:pt x="259524" y="375427"/>
                    <a:pt x="259524" y="372908"/>
                    <a:pt x="259524" y="371648"/>
                  </a:cubicBezTo>
                  <a:cubicBezTo>
                    <a:pt x="259524" y="371648"/>
                    <a:pt x="259524" y="370388"/>
                    <a:pt x="259524" y="370388"/>
                  </a:cubicBezTo>
                  <a:lnTo>
                    <a:pt x="259524" y="369128"/>
                  </a:lnTo>
                  <a:cubicBezTo>
                    <a:pt x="259524" y="367868"/>
                    <a:pt x="259524" y="367868"/>
                    <a:pt x="259524" y="366608"/>
                  </a:cubicBezTo>
                  <a:cubicBezTo>
                    <a:pt x="265823" y="366608"/>
                    <a:pt x="265823" y="365349"/>
                    <a:pt x="265823" y="364089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/>
            <p:cNvSpPr/>
            <p:nvPr/>
          </p:nvSpPr>
          <p:spPr>
            <a:xfrm>
              <a:off x="7847586" y="4254352"/>
              <a:ext cx="1201249" cy="660687"/>
            </a:xfrm>
            <a:custGeom>
              <a:avLst/>
              <a:gdLst>
                <a:gd name="connsiteX0" fmla="*/ 91967 w 1763752"/>
                <a:gd name="connsiteY0" fmla="*/ 0 h 970063"/>
                <a:gd name="connsiteX1" fmla="*/ 293539 w 1763752"/>
                <a:gd name="connsiteY1" fmla="*/ 0 h 970063"/>
                <a:gd name="connsiteX2" fmla="*/ 1472733 w 1763752"/>
                <a:gd name="connsiteY2" fmla="*/ 0 h 970063"/>
                <a:gd name="connsiteX3" fmla="*/ 1674305 w 1763752"/>
                <a:gd name="connsiteY3" fmla="*/ 0 h 970063"/>
                <a:gd name="connsiteX4" fmla="*/ 1765012 w 1763752"/>
                <a:gd name="connsiteY4" fmla="*/ 90707 h 970063"/>
                <a:gd name="connsiteX5" fmla="*/ 1765012 w 1763752"/>
                <a:gd name="connsiteY5" fmla="*/ 977623 h 970063"/>
                <a:gd name="connsiteX6" fmla="*/ 1700761 w 1763752"/>
                <a:gd name="connsiteY6" fmla="*/ 977623 h 970063"/>
                <a:gd name="connsiteX7" fmla="*/ 1700761 w 1763752"/>
                <a:gd name="connsiteY7" fmla="*/ 177635 h 970063"/>
                <a:gd name="connsiteX8" fmla="*/ 1654148 w 1763752"/>
                <a:gd name="connsiteY8" fmla="*/ 131022 h 970063"/>
                <a:gd name="connsiteX9" fmla="*/ 1470214 w 1763752"/>
                <a:gd name="connsiteY9" fmla="*/ 131022 h 970063"/>
                <a:gd name="connsiteX10" fmla="*/ 291019 w 1763752"/>
                <a:gd name="connsiteY10" fmla="*/ 131022 h 970063"/>
                <a:gd name="connsiteX11" fmla="*/ 108345 w 1763752"/>
                <a:gd name="connsiteY11" fmla="*/ 131022 h 970063"/>
                <a:gd name="connsiteX12" fmla="*/ 61731 w 1763752"/>
                <a:gd name="connsiteY12" fmla="*/ 177635 h 970063"/>
                <a:gd name="connsiteX13" fmla="*/ 61731 w 1763752"/>
                <a:gd name="connsiteY13" fmla="*/ 977623 h 970063"/>
                <a:gd name="connsiteX14" fmla="*/ 0 w 1763752"/>
                <a:gd name="connsiteY14" fmla="*/ 977623 h 970063"/>
                <a:gd name="connsiteX15" fmla="*/ 0 w 1763752"/>
                <a:gd name="connsiteY15" fmla="*/ 90707 h 970063"/>
                <a:gd name="connsiteX16" fmla="*/ 91967 w 1763752"/>
                <a:gd name="connsiteY16" fmla="*/ 0 h 97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3752" h="970063">
                  <a:moveTo>
                    <a:pt x="91967" y="0"/>
                  </a:moveTo>
                  <a:lnTo>
                    <a:pt x="293539" y="0"/>
                  </a:lnTo>
                  <a:lnTo>
                    <a:pt x="1472733" y="0"/>
                  </a:lnTo>
                  <a:lnTo>
                    <a:pt x="1674305" y="0"/>
                  </a:lnTo>
                  <a:cubicBezTo>
                    <a:pt x="1724698" y="0"/>
                    <a:pt x="1765012" y="40314"/>
                    <a:pt x="1765012" y="90707"/>
                  </a:cubicBezTo>
                  <a:lnTo>
                    <a:pt x="1765012" y="977623"/>
                  </a:lnTo>
                  <a:lnTo>
                    <a:pt x="1700761" y="977623"/>
                  </a:lnTo>
                  <a:lnTo>
                    <a:pt x="1700761" y="177635"/>
                  </a:lnTo>
                  <a:cubicBezTo>
                    <a:pt x="1700761" y="152439"/>
                    <a:pt x="1680604" y="131022"/>
                    <a:pt x="1654148" y="131022"/>
                  </a:cubicBezTo>
                  <a:lnTo>
                    <a:pt x="1470214" y="131022"/>
                  </a:lnTo>
                  <a:lnTo>
                    <a:pt x="291019" y="131022"/>
                  </a:lnTo>
                  <a:lnTo>
                    <a:pt x="108345" y="131022"/>
                  </a:lnTo>
                  <a:cubicBezTo>
                    <a:pt x="83148" y="131022"/>
                    <a:pt x="61731" y="151179"/>
                    <a:pt x="61731" y="177635"/>
                  </a:cubicBezTo>
                  <a:lnTo>
                    <a:pt x="61731" y="977623"/>
                  </a:lnTo>
                  <a:lnTo>
                    <a:pt x="0" y="977623"/>
                  </a:lnTo>
                  <a:lnTo>
                    <a:pt x="0" y="90707"/>
                  </a:lnTo>
                  <a:cubicBezTo>
                    <a:pt x="0" y="41574"/>
                    <a:pt x="41574" y="0"/>
                    <a:pt x="91967" y="0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/>
            <p:cNvSpPr/>
            <p:nvPr/>
          </p:nvSpPr>
          <p:spPr>
            <a:xfrm>
              <a:off x="8116151" y="4214882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126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/>
            <p:cNvSpPr/>
            <p:nvPr/>
          </p:nvSpPr>
          <p:spPr>
            <a:xfrm>
              <a:off x="8135028" y="4232043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/>
            <p:cNvSpPr/>
            <p:nvPr/>
          </p:nvSpPr>
          <p:spPr>
            <a:xfrm>
              <a:off x="8136744" y="4238907"/>
              <a:ext cx="188768" cy="8580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/>
            <p:cNvSpPr/>
            <p:nvPr/>
          </p:nvSpPr>
          <p:spPr>
            <a:xfrm>
              <a:off x="8135886" y="4208876"/>
              <a:ext cx="188768" cy="8580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/>
            <p:cNvSpPr/>
            <p:nvPr/>
          </p:nvSpPr>
          <p:spPr>
            <a:xfrm>
              <a:off x="8134169" y="4217456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500 w 277161"/>
                <a:gd name="connsiteY1" fmla="*/ 0 h 0"/>
                <a:gd name="connsiteX2" fmla="*/ 288500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500" y="0"/>
                  </a:lnTo>
                  <a:lnTo>
                    <a:pt x="288500" y="7559"/>
                  </a:lnTo>
                  <a:lnTo>
                    <a:pt x="0" y="7559"/>
                  </a:lnTo>
                  <a:cubicBezTo>
                    <a:pt x="126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/>
            <p:cNvSpPr/>
            <p:nvPr/>
          </p:nvSpPr>
          <p:spPr>
            <a:xfrm>
              <a:off x="8135028" y="4224320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>
              <a:off x="8135028" y="4215740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/>
            <p:cNvSpPr/>
            <p:nvPr/>
          </p:nvSpPr>
          <p:spPr>
            <a:xfrm>
              <a:off x="8135028" y="422260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>
              <a:off x="8135028" y="4229469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/>
            <p:cNvSpPr/>
            <p:nvPr/>
          </p:nvSpPr>
          <p:spPr>
            <a:xfrm>
              <a:off x="8135886" y="4237191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>
              <a:off x="7909364" y="4197721"/>
              <a:ext cx="214509" cy="51482"/>
            </a:xfrm>
            <a:custGeom>
              <a:avLst/>
              <a:gdLst>
                <a:gd name="connsiteX0" fmla="*/ 303617 w 314955"/>
                <a:gd name="connsiteY0" fmla="*/ 30236 h 75589"/>
                <a:gd name="connsiteX1" fmla="*/ 303617 w 314955"/>
                <a:gd name="connsiteY1" fmla="*/ 35275 h 75589"/>
                <a:gd name="connsiteX2" fmla="*/ 306137 w 314955"/>
                <a:gd name="connsiteY2" fmla="*/ 52913 h 75589"/>
                <a:gd name="connsiteX3" fmla="*/ 313696 w 314955"/>
                <a:gd name="connsiteY3" fmla="*/ 75589 h 75589"/>
                <a:gd name="connsiteX4" fmla="*/ 31873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3617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3617" y="30236"/>
                  </a:moveTo>
                  <a:cubicBezTo>
                    <a:pt x="303617" y="31496"/>
                    <a:pt x="303617" y="34015"/>
                    <a:pt x="303617" y="35275"/>
                  </a:cubicBezTo>
                  <a:cubicBezTo>
                    <a:pt x="303617" y="40314"/>
                    <a:pt x="304877" y="46613"/>
                    <a:pt x="306137" y="52913"/>
                  </a:cubicBezTo>
                  <a:cubicBezTo>
                    <a:pt x="307397" y="60472"/>
                    <a:pt x="311176" y="68031"/>
                    <a:pt x="313696" y="75589"/>
                  </a:cubicBezTo>
                  <a:cubicBezTo>
                    <a:pt x="314956" y="79369"/>
                    <a:pt x="317476" y="83148"/>
                    <a:pt x="31873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3617" y="26456"/>
                    <a:pt x="303617" y="28976"/>
                    <a:pt x="303617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/>
            <p:cNvSpPr/>
            <p:nvPr/>
          </p:nvSpPr>
          <p:spPr>
            <a:xfrm>
              <a:off x="8116151" y="4197721"/>
              <a:ext cx="214509" cy="51482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6294" y="12598"/>
                    <a:pt x="322515" y="16378"/>
                    <a:pt x="317475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>
              <a:off x="8116365" y="4099906"/>
              <a:ext cx="8580" cy="8580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5039 h 0"/>
                <a:gd name="connsiteX2" fmla="*/ 94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945" y="1260"/>
                    <a:pt x="945" y="3780"/>
                    <a:pt x="945" y="5039"/>
                  </a:cubicBezTo>
                  <a:cubicBezTo>
                    <a:pt x="-315" y="3780"/>
                    <a:pt x="-315" y="1260"/>
                    <a:pt x="945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/>
            <p:cNvSpPr/>
            <p:nvPr/>
          </p:nvSpPr>
          <p:spPr>
            <a:xfrm>
              <a:off x="8135886" y="411706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/>
            <p:cNvSpPr/>
            <p:nvPr/>
          </p:nvSpPr>
          <p:spPr>
            <a:xfrm>
              <a:off x="8136744" y="4123931"/>
              <a:ext cx="188768" cy="8580"/>
            </a:xfrm>
            <a:custGeom>
              <a:avLst/>
              <a:gdLst>
                <a:gd name="connsiteX0" fmla="*/ 3780 w 277161"/>
                <a:gd name="connsiteY0" fmla="*/ 10078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26456 w 277161"/>
                <a:gd name="connsiteY4" fmla="*/ 10078 h 0"/>
                <a:gd name="connsiteX5" fmla="*/ 3780 w 277161"/>
                <a:gd name="connsiteY5" fmla="*/ 100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8"/>
                  </a:moveTo>
                  <a:cubicBezTo>
                    <a:pt x="2520" y="7559"/>
                    <a:pt x="1260" y="3779"/>
                    <a:pt x="0" y="0"/>
                  </a:cubicBezTo>
                  <a:lnTo>
                    <a:pt x="285980" y="0"/>
                  </a:lnTo>
                  <a:lnTo>
                    <a:pt x="285980" y="10078"/>
                  </a:lnTo>
                  <a:lnTo>
                    <a:pt x="26456" y="10078"/>
                  </a:lnTo>
                  <a:lnTo>
                    <a:pt x="3780" y="10078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/>
            <p:cNvSpPr/>
            <p:nvPr/>
          </p:nvSpPr>
          <p:spPr>
            <a:xfrm>
              <a:off x="8136744" y="4093899"/>
              <a:ext cx="188768" cy="8580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0 w 277161"/>
                <a:gd name="connsiteY4" fmla="*/ 10078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8"/>
                  </a:lnTo>
                  <a:lnTo>
                    <a:pt x="0" y="10078"/>
                  </a:lnTo>
                  <a:cubicBezTo>
                    <a:pt x="0" y="6299"/>
                    <a:pt x="126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>
              <a:off x="8135028" y="4102479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>
              <a:off x="8135028" y="4109344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>
            <a:xfrm>
              <a:off x="8135028" y="4100763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/>
          </p:nvSpPr>
          <p:spPr>
            <a:xfrm>
              <a:off x="8135028" y="4107628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/>
            <p:cNvSpPr/>
            <p:nvPr/>
          </p:nvSpPr>
          <p:spPr>
            <a:xfrm>
              <a:off x="8135028" y="4114492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/>
          </p:nvSpPr>
          <p:spPr>
            <a:xfrm>
              <a:off x="8135886" y="412221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/>
          </p:nvSpPr>
          <p:spPr>
            <a:xfrm>
              <a:off x="7910222" y="4082745"/>
              <a:ext cx="214509" cy="51482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4"/>
                    <a:pt x="303617" y="46613"/>
                    <a:pt x="304877" y="52913"/>
                  </a:cubicBezTo>
                  <a:cubicBezTo>
                    <a:pt x="306137" y="60472"/>
                    <a:pt x="309917" y="68030"/>
                    <a:pt x="312436" y="75589"/>
                  </a:cubicBezTo>
                  <a:cubicBezTo>
                    <a:pt x="313696" y="79369"/>
                    <a:pt x="316216" y="83148"/>
                    <a:pt x="31747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645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/>
          </p:nvSpPr>
          <p:spPr>
            <a:xfrm>
              <a:off x="8117009" y="4082745"/>
              <a:ext cx="214509" cy="51482"/>
            </a:xfrm>
            <a:custGeom>
              <a:avLst/>
              <a:gdLst>
                <a:gd name="connsiteX0" fmla="*/ 317476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4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6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6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4"/>
                  </a:cubicBezTo>
                  <a:cubicBezTo>
                    <a:pt x="27716" y="39054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2598"/>
                    <a:pt x="321255" y="16378"/>
                    <a:pt x="317476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/>
          </p:nvSpPr>
          <p:spPr>
            <a:xfrm>
              <a:off x="8088693" y="4156536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252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/>
          </p:nvSpPr>
          <p:spPr>
            <a:xfrm>
              <a:off x="8107571" y="417369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126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/>
          </p:nvSpPr>
          <p:spPr>
            <a:xfrm>
              <a:off x="8109286" y="4180561"/>
              <a:ext cx="188768" cy="8580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/>
          </p:nvSpPr>
          <p:spPr>
            <a:xfrm>
              <a:off x="8108428" y="4150529"/>
              <a:ext cx="188768" cy="8580"/>
            </a:xfrm>
            <a:custGeom>
              <a:avLst/>
              <a:gdLst>
                <a:gd name="connsiteX0" fmla="*/ 3779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79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79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3780"/>
                    <a:pt x="3779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/>
          </p:nvSpPr>
          <p:spPr>
            <a:xfrm>
              <a:off x="8107571" y="4159968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/>
            <p:cNvSpPr/>
            <p:nvPr/>
          </p:nvSpPr>
          <p:spPr>
            <a:xfrm>
              <a:off x="8107571" y="4166832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0"/>
                    <a:pt x="0" y="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3779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/>
            <p:cNvSpPr/>
            <p:nvPr/>
          </p:nvSpPr>
          <p:spPr>
            <a:xfrm>
              <a:off x="8107571" y="4158252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/>
            <p:cNvSpPr/>
            <p:nvPr/>
          </p:nvSpPr>
          <p:spPr>
            <a:xfrm>
              <a:off x="8107571" y="416511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/>
            <p:cNvSpPr/>
            <p:nvPr/>
          </p:nvSpPr>
          <p:spPr>
            <a:xfrm>
              <a:off x="8107571" y="4171981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126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/>
            <p:cNvSpPr/>
            <p:nvPr/>
          </p:nvSpPr>
          <p:spPr>
            <a:xfrm>
              <a:off x="8108428" y="417884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/>
            <p:cNvSpPr/>
            <p:nvPr/>
          </p:nvSpPr>
          <p:spPr>
            <a:xfrm>
              <a:off x="7882765" y="4139375"/>
              <a:ext cx="214509" cy="51482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6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5"/>
                    <a:pt x="303617" y="46614"/>
                    <a:pt x="304877" y="52913"/>
                  </a:cubicBezTo>
                  <a:cubicBezTo>
                    <a:pt x="306137" y="60472"/>
                    <a:pt x="309917" y="68031"/>
                    <a:pt x="312436" y="75589"/>
                  </a:cubicBezTo>
                  <a:cubicBezTo>
                    <a:pt x="313696" y="79369"/>
                    <a:pt x="316216" y="83148"/>
                    <a:pt x="317476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771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/>
            <p:cNvSpPr/>
            <p:nvPr/>
          </p:nvSpPr>
          <p:spPr>
            <a:xfrm>
              <a:off x="8089552" y="4139375"/>
              <a:ext cx="214509" cy="51482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5 h 75589"/>
                <a:gd name="connsiteX9" fmla="*/ 27716 w 314955"/>
                <a:gd name="connsiteY9" fmla="*/ 46614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2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2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5"/>
                    <a:pt x="27716" y="40315"/>
                  </a:cubicBezTo>
                  <a:cubicBezTo>
                    <a:pt x="27716" y="42834"/>
                    <a:pt x="27716" y="44094"/>
                    <a:pt x="27716" y="46614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2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80" y="59212"/>
                    <a:pt x="2520" y="51653"/>
                  </a:cubicBezTo>
                  <a:cubicBezTo>
                    <a:pt x="1260" y="45354"/>
                    <a:pt x="0" y="40315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80" y="6299"/>
                    <a:pt x="10079" y="0"/>
                  </a:cubicBezTo>
                  <a:lnTo>
                    <a:pt x="28976" y="0"/>
                  </a:lnTo>
                  <a:lnTo>
                    <a:pt x="60472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3858"/>
                    <a:pt x="321255" y="16378"/>
                    <a:pt x="317475" y="1637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/>
            <p:cNvSpPr/>
            <p:nvPr/>
          </p:nvSpPr>
          <p:spPr>
            <a:xfrm>
              <a:off x="8707337" y="4858408"/>
              <a:ext cx="197348" cy="60063"/>
            </a:xfrm>
            <a:custGeom>
              <a:avLst/>
              <a:gdLst>
                <a:gd name="connsiteX0" fmla="*/ 296058 w 289759"/>
                <a:gd name="connsiteY0" fmla="*/ 80629 h 88187"/>
                <a:gd name="connsiteX1" fmla="*/ 293539 w 289759"/>
                <a:gd name="connsiteY1" fmla="*/ 76849 h 88187"/>
                <a:gd name="connsiteX2" fmla="*/ 287240 w 289759"/>
                <a:gd name="connsiteY2" fmla="*/ 73070 h 88187"/>
                <a:gd name="connsiteX3" fmla="*/ 282201 w 289759"/>
                <a:gd name="connsiteY3" fmla="*/ 69290 h 88187"/>
                <a:gd name="connsiteX4" fmla="*/ 270862 w 289759"/>
                <a:gd name="connsiteY4" fmla="*/ 62991 h 88187"/>
                <a:gd name="connsiteX5" fmla="*/ 246925 w 289759"/>
                <a:gd name="connsiteY5" fmla="*/ 52912 h 88187"/>
                <a:gd name="connsiteX6" fmla="*/ 235587 w 289759"/>
                <a:gd name="connsiteY6" fmla="*/ 49133 h 88187"/>
                <a:gd name="connsiteX7" fmla="*/ 222989 w 289759"/>
                <a:gd name="connsiteY7" fmla="*/ 44094 h 88187"/>
                <a:gd name="connsiteX8" fmla="*/ 210390 w 289759"/>
                <a:gd name="connsiteY8" fmla="*/ 40314 h 88187"/>
                <a:gd name="connsiteX9" fmla="*/ 209131 w 289759"/>
                <a:gd name="connsiteY9" fmla="*/ 39054 h 88187"/>
                <a:gd name="connsiteX10" fmla="*/ 195273 w 289759"/>
                <a:gd name="connsiteY10" fmla="*/ 32755 h 88187"/>
                <a:gd name="connsiteX11" fmla="*/ 181415 w 289759"/>
                <a:gd name="connsiteY11" fmla="*/ 26456 h 88187"/>
                <a:gd name="connsiteX12" fmla="*/ 166297 w 289759"/>
                <a:gd name="connsiteY12" fmla="*/ 20157 h 88187"/>
                <a:gd name="connsiteX13" fmla="*/ 158738 w 289759"/>
                <a:gd name="connsiteY13" fmla="*/ 17637 h 88187"/>
                <a:gd name="connsiteX14" fmla="*/ 151179 w 289759"/>
                <a:gd name="connsiteY14" fmla="*/ 15118 h 88187"/>
                <a:gd name="connsiteX15" fmla="*/ 143620 w 289759"/>
                <a:gd name="connsiteY15" fmla="*/ 12598 h 88187"/>
                <a:gd name="connsiteX16" fmla="*/ 137321 w 289759"/>
                <a:gd name="connsiteY16" fmla="*/ 10078 h 88187"/>
                <a:gd name="connsiteX17" fmla="*/ 129762 w 289759"/>
                <a:gd name="connsiteY17" fmla="*/ 7559 h 88187"/>
                <a:gd name="connsiteX18" fmla="*/ 122203 w 289759"/>
                <a:gd name="connsiteY18" fmla="*/ 5039 h 88187"/>
                <a:gd name="connsiteX19" fmla="*/ 115904 w 289759"/>
                <a:gd name="connsiteY19" fmla="*/ 2519 h 88187"/>
                <a:gd name="connsiteX20" fmla="*/ 110864 w 289759"/>
                <a:gd name="connsiteY20" fmla="*/ 1260 h 88187"/>
                <a:gd name="connsiteX21" fmla="*/ 107085 w 289759"/>
                <a:gd name="connsiteY21" fmla="*/ 1260 h 88187"/>
                <a:gd name="connsiteX22" fmla="*/ 99526 w 289759"/>
                <a:gd name="connsiteY22" fmla="*/ 1260 h 88187"/>
                <a:gd name="connsiteX23" fmla="*/ 94487 w 289759"/>
                <a:gd name="connsiteY23" fmla="*/ 1260 h 88187"/>
                <a:gd name="connsiteX24" fmla="*/ 84408 w 289759"/>
                <a:gd name="connsiteY24" fmla="*/ 0 h 88187"/>
                <a:gd name="connsiteX25" fmla="*/ 73070 w 289759"/>
                <a:gd name="connsiteY25" fmla="*/ 0 h 88187"/>
                <a:gd name="connsiteX26" fmla="*/ 49133 w 289759"/>
                <a:gd name="connsiteY26" fmla="*/ 0 h 88187"/>
                <a:gd name="connsiteX27" fmla="*/ 40314 w 289759"/>
                <a:gd name="connsiteY27" fmla="*/ 0 h 88187"/>
                <a:gd name="connsiteX28" fmla="*/ 32755 w 289759"/>
                <a:gd name="connsiteY28" fmla="*/ 0 h 88187"/>
                <a:gd name="connsiteX29" fmla="*/ 25196 w 289759"/>
                <a:gd name="connsiteY29" fmla="*/ 0 h 88187"/>
                <a:gd name="connsiteX30" fmla="*/ 21417 w 289759"/>
                <a:gd name="connsiteY30" fmla="*/ 0 h 88187"/>
                <a:gd name="connsiteX31" fmla="*/ 17638 w 289759"/>
                <a:gd name="connsiteY31" fmla="*/ 0 h 88187"/>
                <a:gd name="connsiteX32" fmla="*/ 11339 w 289759"/>
                <a:gd name="connsiteY32" fmla="*/ 1260 h 88187"/>
                <a:gd name="connsiteX33" fmla="*/ 3780 w 289759"/>
                <a:gd name="connsiteY33" fmla="*/ 2519 h 88187"/>
                <a:gd name="connsiteX34" fmla="*/ 1260 w 289759"/>
                <a:gd name="connsiteY34" fmla="*/ 3779 h 88187"/>
                <a:gd name="connsiteX35" fmla="*/ 1260 w 289759"/>
                <a:gd name="connsiteY35" fmla="*/ 3779 h 88187"/>
                <a:gd name="connsiteX36" fmla="*/ 0 w 289759"/>
                <a:gd name="connsiteY36" fmla="*/ 6299 h 88187"/>
                <a:gd name="connsiteX37" fmla="*/ 0 w 289759"/>
                <a:gd name="connsiteY37" fmla="*/ 51652 h 88187"/>
                <a:gd name="connsiteX38" fmla="*/ 0 w 289759"/>
                <a:gd name="connsiteY38" fmla="*/ 59211 h 88187"/>
                <a:gd name="connsiteX39" fmla="*/ 0 w 289759"/>
                <a:gd name="connsiteY39" fmla="*/ 61731 h 88187"/>
                <a:gd name="connsiteX40" fmla="*/ 0 w 289759"/>
                <a:gd name="connsiteY40" fmla="*/ 66770 h 88187"/>
                <a:gd name="connsiteX41" fmla="*/ 0 w 289759"/>
                <a:gd name="connsiteY41" fmla="*/ 70550 h 88187"/>
                <a:gd name="connsiteX42" fmla="*/ 0 w 289759"/>
                <a:gd name="connsiteY42" fmla="*/ 70550 h 88187"/>
                <a:gd name="connsiteX43" fmla="*/ 0 w 289759"/>
                <a:gd name="connsiteY43" fmla="*/ 83148 h 88187"/>
                <a:gd name="connsiteX44" fmla="*/ 3780 w 289759"/>
                <a:gd name="connsiteY44" fmla="*/ 81889 h 88187"/>
                <a:gd name="connsiteX45" fmla="*/ 3780 w 289759"/>
                <a:gd name="connsiteY45" fmla="*/ 81889 h 88187"/>
                <a:gd name="connsiteX46" fmla="*/ 11339 w 289759"/>
                <a:gd name="connsiteY46" fmla="*/ 85668 h 88187"/>
                <a:gd name="connsiteX47" fmla="*/ 17638 w 289759"/>
                <a:gd name="connsiteY47" fmla="*/ 86928 h 88187"/>
                <a:gd name="connsiteX48" fmla="*/ 18897 w 289759"/>
                <a:gd name="connsiteY48" fmla="*/ 86928 h 88187"/>
                <a:gd name="connsiteX49" fmla="*/ 34015 w 289759"/>
                <a:gd name="connsiteY49" fmla="*/ 88188 h 88187"/>
                <a:gd name="connsiteX50" fmla="*/ 35275 w 289759"/>
                <a:gd name="connsiteY50" fmla="*/ 88188 h 88187"/>
                <a:gd name="connsiteX51" fmla="*/ 40314 w 289759"/>
                <a:gd name="connsiteY51" fmla="*/ 86928 h 88187"/>
                <a:gd name="connsiteX52" fmla="*/ 45354 w 289759"/>
                <a:gd name="connsiteY52" fmla="*/ 84408 h 88187"/>
                <a:gd name="connsiteX53" fmla="*/ 50393 w 289759"/>
                <a:gd name="connsiteY53" fmla="*/ 80629 h 88187"/>
                <a:gd name="connsiteX54" fmla="*/ 51653 w 289759"/>
                <a:gd name="connsiteY54" fmla="*/ 81889 h 88187"/>
                <a:gd name="connsiteX55" fmla="*/ 54172 w 289759"/>
                <a:gd name="connsiteY55" fmla="*/ 83148 h 88187"/>
                <a:gd name="connsiteX56" fmla="*/ 57952 w 289759"/>
                <a:gd name="connsiteY56" fmla="*/ 84408 h 88187"/>
                <a:gd name="connsiteX57" fmla="*/ 60472 w 289759"/>
                <a:gd name="connsiteY57" fmla="*/ 84408 h 88187"/>
                <a:gd name="connsiteX58" fmla="*/ 66771 w 289759"/>
                <a:gd name="connsiteY58" fmla="*/ 84408 h 88187"/>
                <a:gd name="connsiteX59" fmla="*/ 80629 w 289759"/>
                <a:gd name="connsiteY59" fmla="*/ 85668 h 88187"/>
                <a:gd name="connsiteX60" fmla="*/ 93227 w 289759"/>
                <a:gd name="connsiteY60" fmla="*/ 85668 h 88187"/>
                <a:gd name="connsiteX61" fmla="*/ 118424 w 289759"/>
                <a:gd name="connsiteY61" fmla="*/ 85668 h 88187"/>
                <a:gd name="connsiteX62" fmla="*/ 124723 w 289759"/>
                <a:gd name="connsiteY62" fmla="*/ 85668 h 88187"/>
                <a:gd name="connsiteX63" fmla="*/ 131022 w 289759"/>
                <a:gd name="connsiteY63" fmla="*/ 85668 h 88187"/>
                <a:gd name="connsiteX64" fmla="*/ 143620 w 289759"/>
                <a:gd name="connsiteY64" fmla="*/ 85668 h 88187"/>
                <a:gd name="connsiteX65" fmla="*/ 153698 w 289759"/>
                <a:gd name="connsiteY65" fmla="*/ 85668 h 88187"/>
                <a:gd name="connsiteX66" fmla="*/ 165037 w 289759"/>
                <a:gd name="connsiteY66" fmla="*/ 86928 h 88187"/>
                <a:gd name="connsiteX67" fmla="*/ 176375 w 289759"/>
                <a:gd name="connsiteY67" fmla="*/ 86928 h 88187"/>
                <a:gd name="connsiteX68" fmla="*/ 186454 w 289759"/>
                <a:gd name="connsiteY68" fmla="*/ 86928 h 88187"/>
                <a:gd name="connsiteX69" fmla="*/ 185194 w 289759"/>
                <a:gd name="connsiteY69" fmla="*/ 86928 h 88187"/>
                <a:gd name="connsiteX70" fmla="*/ 196533 w 289759"/>
                <a:gd name="connsiteY70" fmla="*/ 86928 h 88187"/>
                <a:gd name="connsiteX71" fmla="*/ 204091 w 289759"/>
                <a:gd name="connsiteY71" fmla="*/ 86928 h 88187"/>
                <a:gd name="connsiteX72" fmla="*/ 205351 w 289759"/>
                <a:gd name="connsiteY72" fmla="*/ 86928 h 88187"/>
                <a:gd name="connsiteX73" fmla="*/ 205351 w 289759"/>
                <a:gd name="connsiteY73" fmla="*/ 86928 h 88187"/>
                <a:gd name="connsiteX74" fmla="*/ 220469 w 289759"/>
                <a:gd name="connsiteY74" fmla="*/ 88188 h 88187"/>
                <a:gd name="connsiteX75" fmla="*/ 235587 w 289759"/>
                <a:gd name="connsiteY75" fmla="*/ 88188 h 88187"/>
                <a:gd name="connsiteX76" fmla="*/ 235587 w 289759"/>
                <a:gd name="connsiteY76" fmla="*/ 88188 h 88187"/>
                <a:gd name="connsiteX77" fmla="*/ 241886 w 289759"/>
                <a:gd name="connsiteY77" fmla="*/ 88188 h 88187"/>
                <a:gd name="connsiteX78" fmla="*/ 243146 w 289759"/>
                <a:gd name="connsiteY78" fmla="*/ 88188 h 88187"/>
                <a:gd name="connsiteX79" fmla="*/ 248185 w 289759"/>
                <a:gd name="connsiteY79" fmla="*/ 88188 h 88187"/>
                <a:gd name="connsiteX80" fmla="*/ 254484 w 289759"/>
                <a:gd name="connsiteY80" fmla="*/ 88188 h 88187"/>
                <a:gd name="connsiteX81" fmla="*/ 265823 w 289759"/>
                <a:gd name="connsiteY81" fmla="*/ 88188 h 88187"/>
                <a:gd name="connsiteX82" fmla="*/ 275901 w 289759"/>
                <a:gd name="connsiteY82" fmla="*/ 88188 h 88187"/>
                <a:gd name="connsiteX83" fmla="*/ 274642 w 289759"/>
                <a:gd name="connsiteY83" fmla="*/ 88188 h 88187"/>
                <a:gd name="connsiteX84" fmla="*/ 288500 w 289759"/>
                <a:gd name="connsiteY84" fmla="*/ 88188 h 88187"/>
                <a:gd name="connsiteX85" fmla="*/ 294799 w 289759"/>
                <a:gd name="connsiteY85" fmla="*/ 86928 h 88187"/>
                <a:gd name="connsiteX86" fmla="*/ 299838 w 289759"/>
                <a:gd name="connsiteY86" fmla="*/ 83148 h 88187"/>
                <a:gd name="connsiteX87" fmla="*/ 299838 w 289759"/>
                <a:gd name="connsiteY87" fmla="*/ 81889 h 88187"/>
                <a:gd name="connsiteX88" fmla="*/ 296058 w 289759"/>
                <a:gd name="connsiteY88" fmla="*/ 80629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9759" h="88187">
                  <a:moveTo>
                    <a:pt x="296058" y="80629"/>
                  </a:moveTo>
                  <a:cubicBezTo>
                    <a:pt x="296058" y="79369"/>
                    <a:pt x="294799" y="78109"/>
                    <a:pt x="293539" y="76849"/>
                  </a:cubicBezTo>
                  <a:cubicBezTo>
                    <a:pt x="292279" y="75589"/>
                    <a:pt x="289759" y="74330"/>
                    <a:pt x="287240" y="73070"/>
                  </a:cubicBezTo>
                  <a:cubicBezTo>
                    <a:pt x="285980" y="71810"/>
                    <a:pt x="283460" y="70550"/>
                    <a:pt x="282201" y="69290"/>
                  </a:cubicBezTo>
                  <a:cubicBezTo>
                    <a:pt x="278421" y="66770"/>
                    <a:pt x="274642" y="65511"/>
                    <a:pt x="270862" y="62991"/>
                  </a:cubicBezTo>
                  <a:cubicBezTo>
                    <a:pt x="263303" y="59211"/>
                    <a:pt x="254484" y="55432"/>
                    <a:pt x="246925" y="52912"/>
                  </a:cubicBezTo>
                  <a:cubicBezTo>
                    <a:pt x="243146" y="51652"/>
                    <a:pt x="239366" y="50393"/>
                    <a:pt x="235587" y="49133"/>
                  </a:cubicBezTo>
                  <a:cubicBezTo>
                    <a:pt x="231808" y="47873"/>
                    <a:pt x="228028" y="46613"/>
                    <a:pt x="222989" y="44094"/>
                  </a:cubicBezTo>
                  <a:cubicBezTo>
                    <a:pt x="219209" y="42834"/>
                    <a:pt x="215430" y="41574"/>
                    <a:pt x="210390" y="40314"/>
                  </a:cubicBezTo>
                  <a:cubicBezTo>
                    <a:pt x="210390" y="40314"/>
                    <a:pt x="209131" y="40314"/>
                    <a:pt x="209131" y="39054"/>
                  </a:cubicBezTo>
                  <a:cubicBezTo>
                    <a:pt x="204091" y="36535"/>
                    <a:pt x="199052" y="34015"/>
                    <a:pt x="195273" y="32755"/>
                  </a:cubicBezTo>
                  <a:cubicBezTo>
                    <a:pt x="190233" y="30236"/>
                    <a:pt x="185194" y="28976"/>
                    <a:pt x="181415" y="26456"/>
                  </a:cubicBezTo>
                  <a:cubicBezTo>
                    <a:pt x="176375" y="23937"/>
                    <a:pt x="171336" y="22677"/>
                    <a:pt x="166297" y="20157"/>
                  </a:cubicBezTo>
                  <a:cubicBezTo>
                    <a:pt x="163777" y="18897"/>
                    <a:pt x="161257" y="17637"/>
                    <a:pt x="158738" y="17637"/>
                  </a:cubicBezTo>
                  <a:cubicBezTo>
                    <a:pt x="156218" y="16378"/>
                    <a:pt x="153698" y="16378"/>
                    <a:pt x="151179" y="15118"/>
                  </a:cubicBezTo>
                  <a:cubicBezTo>
                    <a:pt x="148659" y="13858"/>
                    <a:pt x="146140" y="13858"/>
                    <a:pt x="143620" y="12598"/>
                  </a:cubicBezTo>
                  <a:cubicBezTo>
                    <a:pt x="141100" y="11338"/>
                    <a:pt x="138581" y="11338"/>
                    <a:pt x="137321" y="10078"/>
                  </a:cubicBezTo>
                  <a:cubicBezTo>
                    <a:pt x="134801" y="8819"/>
                    <a:pt x="132281" y="8819"/>
                    <a:pt x="129762" y="7559"/>
                  </a:cubicBezTo>
                  <a:cubicBezTo>
                    <a:pt x="127242" y="6299"/>
                    <a:pt x="124723" y="6299"/>
                    <a:pt x="122203" y="5039"/>
                  </a:cubicBezTo>
                  <a:cubicBezTo>
                    <a:pt x="119683" y="3779"/>
                    <a:pt x="117164" y="3779"/>
                    <a:pt x="115904" y="2519"/>
                  </a:cubicBezTo>
                  <a:cubicBezTo>
                    <a:pt x="114644" y="2519"/>
                    <a:pt x="112124" y="1260"/>
                    <a:pt x="110864" y="1260"/>
                  </a:cubicBezTo>
                  <a:cubicBezTo>
                    <a:pt x="109605" y="1260"/>
                    <a:pt x="108345" y="1260"/>
                    <a:pt x="107085" y="1260"/>
                  </a:cubicBezTo>
                  <a:cubicBezTo>
                    <a:pt x="104565" y="1260"/>
                    <a:pt x="102046" y="1260"/>
                    <a:pt x="99526" y="1260"/>
                  </a:cubicBezTo>
                  <a:cubicBezTo>
                    <a:pt x="98266" y="1260"/>
                    <a:pt x="95747" y="1260"/>
                    <a:pt x="94487" y="1260"/>
                  </a:cubicBezTo>
                  <a:cubicBezTo>
                    <a:pt x="90707" y="1260"/>
                    <a:pt x="88188" y="1260"/>
                    <a:pt x="84408" y="0"/>
                  </a:cubicBezTo>
                  <a:cubicBezTo>
                    <a:pt x="80629" y="0"/>
                    <a:pt x="76849" y="0"/>
                    <a:pt x="73070" y="0"/>
                  </a:cubicBezTo>
                  <a:cubicBezTo>
                    <a:pt x="65511" y="0"/>
                    <a:pt x="56692" y="0"/>
                    <a:pt x="49133" y="0"/>
                  </a:cubicBezTo>
                  <a:cubicBezTo>
                    <a:pt x="46613" y="0"/>
                    <a:pt x="44094" y="0"/>
                    <a:pt x="40314" y="0"/>
                  </a:cubicBezTo>
                  <a:cubicBezTo>
                    <a:pt x="37795" y="0"/>
                    <a:pt x="35275" y="0"/>
                    <a:pt x="32755" y="0"/>
                  </a:cubicBezTo>
                  <a:cubicBezTo>
                    <a:pt x="30236" y="0"/>
                    <a:pt x="27716" y="0"/>
                    <a:pt x="25196" y="0"/>
                  </a:cubicBezTo>
                  <a:cubicBezTo>
                    <a:pt x="23937" y="0"/>
                    <a:pt x="22677" y="0"/>
                    <a:pt x="21417" y="0"/>
                  </a:cubicBezTo>
                  <a:cubicBezTo>
                    <a:pt x="20157" y="0"/>
                    <a:pt x="18897" y="0"/>
                    <a:pt x="17638" y="0"/>
                  </a:cubicBezTo>
                  <a:cubicBezTo>
                    <a:pt x="15118" y="0"/>
                    <a:pt x="12598" y="0"/>
                    <a:pt x="11339" y="1260"/>
                  </a:cubicBezTo>
                  <a:cubicBezTo>
                    <a:pt x="8819" y="1260"/>
                    <a:pt x="6299" y="1260"/>
                    <a:pt x="3780" y="2519"/>
                  </a:cubicBezTo>
                  <a:cubicBezTo>
                    <a:pt x="2520" y="2519"/>
                    <a:pt x="1260" y="2519"/>
                    <a:pt x="1260" y="3779"/>
                  </a:cubicBezTo>
                  <a:cubicBezTo>
                    <a:pt x="1260" y="3779"/>
                    <a:pt x="1260" y="3779"/>
                    <a:pt x="1260" y="3779"/>
                  </a:cubicBezTo>
                  <a:cubicBezTo>
                    <a:pt x="0" y="5039"/>
                    <a:pt x="0" y="5039"/>
                    <a:pt x="0" y="6299"/>
                  </a:cubicBezTo>
                  <a:lnTo>
                    <a:pt x="0" y="51652"/>
                  </a:lnTo>
                  <a:cubicBezTo>
                    <a:pt x="0" y="54172"/>
                    <a:pt x="0" y="56692"/>
                    <a:pt x="0" y="59211"/>
                  </a:cubicBezTo>
                  <a:cubicBezTo>
                    <a:pt x="0" y="60471"/>
                    <a:pt x="0" y="60471"/>
                    <a:pt x="0" y="61731"/>
                  </a:cubicBezTo>
                  <a:cubicBezTo>
                    <a:pt x="0" y="62991"/>
                    <a:pt x="0" y="64251"/>
                    <a:pt x="0" y="66770"/>
                  </a:cubicBezTo>
                  <a:cubicBezTo>
                    <a:pt x="0" y="68030"/>
                    <a:pt x="0" y="69290"/>
                    <a:pt x="0" y="70550"/>
                  </a:cubicBezTo>
                  <a:cubicBezTo>
                    <a:pt x="0" y="70550"/>
                    <a:pt x="0" y="70550"/>
                    <a:pt x="0" y="70550"/>
                  </a:cubicBezTo>
                  <a:lnTo>
                    <a:pt x="0" y="83148"/>
                  </a:lnTo>
                  <a:cubicBezTo>
                    <a:pt x="1260" y="83148"/>
                    <a:pt x="2520" y="81889"/>
                    <a:pt x="3780" y="81889"/>
                  </a:cubicBezTo>
                  <a:cubicBezTo>
                    <a:pt x="3780" y="81889"/>
                    <a:pt x="3780" y="81889"/>
                    <a:pt x="3780" y="81889"/>
                  </a:cubicBezTo>
                  <a:cubicBezTo>
                    <a:pt x="6299" y="84408"/>
                    <a:pt x="8819" y="84408"/>
                    <a:pt x="11339" y="85668"/>
                  </a:cubicBezTo>
                  <a:cubicBezTo>
                    <a:pt x="12598" y="85668"/>
                    <a:pt x="15118" y="86928"/>
                    <a:pt x="17638" y="86928"/>
                  </a:cubicBezTo>
                  <a:lnTo>
                    <a:pt x="18897" y="86928"/>
                  </a:lnTo>
                  <a:cubicBezTo>
                    <a:pt x="23937" y="88188"/>
                    <a:pt x="28976" y="88188"/>
                    <a:pt x="34015" y="88188"/>
                  </a:cubicBezTo>
                  <a:cubicBezTo>
                    <a:pt x="34015" y="88188"/>
                    <a:pt x="34015" y="88188"/>
                    <a:pt x="35275" y="88188"/>
                  </a:cubicBezTo>
                  <a:cubicBezTo>
                    <a:pt x="36535" y="88188"/>
                    <a:pt x="37795" y="88188"/>
                    <a:pt x="40314" y="86928"/>
                  </a:cubicBezTo>
                  <a:cubicBezTo>
                    <a:pt x="41574" y="86928"/>
                    <a:pt x="44094" y="85668"/>
                    <a:pt x="45354" y="84408"/>
                  </a:cubicBezTo>
                  <a:cubicBezTo>
                    <a:pt x="46613" y="83148"/>
                    <a:pt x="49133" y="81889"/>
                    <a:pt x="50393" y="80629"/>
                  </a:cubicBezTo>
                  <a:cubicBezTo>
                    <a:pt x="50393" y="80629"/>
                    <a:pt x="50393" y="80629"/>
                    <a:pt x="51653" y="81889"/>
                  </a:cubicBezTo>
                  <a:cubicBezTo>
                    <a:pt x="52913" y="81889"/>
                    <a:pt x="52913" y="83148"/>
                    <a:pt x="54172" y="83148"/>
                  </a:cubicBezTo>
                  <a:cubicBezTo>
                    <a:pt x="55432" y="83148"/>
                    <a:pt x="56692" y="84408"/>
                    <a:pt x="57952" y="84408"/>
                  </a:cubicBezTo>
                  <a:cubicBezTo>
                    <a:pt x="59212" y="84408"/>
                    <a:pt x="59212" y="84408"/>
                    <a:pt x="60472" y="84408"/>
                  </a:cubicBezTo>
                  <a:cubicBezTo>
                    <a:pt x="62991" y="84408"/>
                    <a:pt x="64251" y="84408"/>
                    <a:pt x="66771" y="84408"/>
                  </a:cubicBezTo>
                  <a:cubicBezTo>
                    <a:pt x="71810" y="84408"/>
                    <a:pt x="75589" y="84408"/>
                    <a:pt x="80629" y="85668"/>
                  </a:cubicBezTo>
                  <a:cubicBezTo>
                    <a:pt x="84408" y="85668"/>
                    <a:pt x="89448" y="85668"/>
                    <a:pt x="93227" y="85668"/>
                  </a:cubicBezTo>
                  <a:cubicBezTo>
                    <a:pt x="102046" y="85668"/>
                    <a:pt x="109605" y="85668"/>
                    <a:pt x="118424" y="85668"/>
                  </a:cubicBezTo>
                  <a:cubicBezTo>
                    <a:pt x="120943" y="85668"/>
                    <a:pt x="122203" y="85668"/>
                    <a:pt x="124723" y="85668"/>
                  </a:cubicBezTo>
                  <a:cubicBezTo>
                    <a:pt x="127242" y="85668"/>
                    <a:pt x="128502" y="85668"/>
                    <a:pt x="131022" y="85668"/>
                  </a:cubicBezTo>
                  <a:cubicBezTo>
                    <a:pt x="134801" y="85668"/>
                    <a:pt x="138581" y="85668"/>
                    <a:pt x="143620" y="85668"/>
                  </a:cubicBezTo>
                  <a:cubicBezTo>
                    <a:pt x="147399" y="85668"/>
                    <a:pt x="151179" y="85668"/>
                    <a:pt x="153698" y="85668"/>
                  </a:cubicBezTo>
                  <a:cubicBezTo>
                    <a:pt x="157478" y="85668"/>
                    <a:pt x="161257" y="85668"/>
                    <a:pt x="165037" y="86928"/>
                  </a:cubicBezTo>
                  <a:cubicBezTo>
                    <a:pt x="168816" y="86928"/>
                    <a:pt x="172596" y="86928"/>
                    <a:pt x="176375" y="86928"/>
                  </a:cubicBezTo>
                  <a:cubicBezTo>
                    <a:pt x="180155" y="86928"/>
                    <a:pt x="183934" y="86928"/>
                    <a:pt x="186454" y="86928"/>
                  </a:cubicBezTo>
                  <a:lnTo>
                    <a:pt x="185194" y="86928"/>
                  </a:lnTo>
                  <a:cubicBezTo>
                    <a:pt x="188973" y="86928"/>
                    <a:pt x="192753" y="86928"/>
                    <a:pt x="196533" y="86928"/>
                  </a:cubicBezTo>
                  <a:cubicBezTo>
                    <a:pt x="199052" y="86928"/>
                    <a:pt x="201572" y="86928"/>
                    <a:pt x="204091" y="86928"/>
                  </a:cubicBezTo>
                  <a:cubicBezTo>
                    <a:pt x="204091" y="86928"/>
                    <a:pt x="205351" y="86928"/>
                    <a:pt x="205351" y="86928"/>
                  </a:cubicBezTo>
                  <a:lnTo>
                    <a:pt x="205351" y="86928"/>
                  </a:lnTo>
                  <a:cubicBezTo>
                    <a:pt x="210390" y="86928"/>
                    <a:pt x="215430" y="88188"/>
                    <a:pt x="220469" y="88188"/>
                  </a:cubicBezTo>
                  <a:cubicBezTo>
                    <a:pt x="225508" y="88188"/>
                    <a:pt x="230548" y="88188"/>
                    <a:pt x="235587" y="88188"/>
                  </a:cubicBezTo>
                  <a:lnTo>
                    <a:pt x="235587" y="88188"/>
                  </a:lnTo>
                  <a:cubicBezTo>
                    <a:pt x="238107" y="88188"/>
                    <a:pt x="239366" y="88188"/>
                    <a:pt x="241886" y="88188"/>
                  </a:cubicBezTo>
                  <a:lnTo>
                    <a:pt x="243146" y="88188"/>
                  </a:lnTo>
                  <a:cubicBezTo>
                    <a:pt x="244406" y="88188"/>
                    <a:pt x="246925" y="88188"/>
                    <a:pt x="248185" y="88188"/>
                  </a:cubicBezTo>
                  <a:cubicBezTo>
                    <a:pt x="250705" y="88188"/>
                    <a:pt x="253225" y="88188"/>
                    <a:pt x="254484" y="88188"/>
                  </a:cubicBezTo>
                  <a:cubicBezTo>
                    <a:pt x="258264" y="88188"/>
                    <a:pt x="262043" y="88188"/>
                    <a:pt x="265823" y="88188"/>
                  </a:cubicBezTo>
                  <a:cubicBezTo>
                    <a:pt x="269602" y="88188"/>
                    <a:pt x="272122" y="88188"/>
                    <a:pt x="275901" y="88188"/>
                  </a:cubicBezTo>
                  <a:cubicBezTo>
                    <a:pt x="275901" y="88188"/>
                    <a:pt x="274642" y="88188"/>
                    <a:pt x="274642" y="88188"/>
                  </a:cubicBezTo>
                  <a:cubicBezTo>
                    <a:pt x="279681" y="88188"/>
                    <a:pt x="283460" y="88188"/>
                    <a:pt x="288500" y="88188"/>
                  </a:cubicBezTo>
                  <a:cubicBezTo>
                    <a:pt x="291019" y="88188"/>
                    <a:pt x="292279" y="88188"/>
                    <a:pt x="294799" y="86928"/>
                  </a:cubicBezTo>
                  <a:cubicBezTo>
                    <a:pt x="297318" y="86928"/>
                    <a:pt x="298578" y="85668"/>
                    <a:pt x="299838" y="83148"/>
                  </a:cubicBezTo>
                  <a:cubicBezTo>
                    <a:pt x="299838" y="83148"/>
                    <a:pt x="299838" y="81889"/>
                    <a:pt x="299838" y="81889"/>
                  </a:cubicBezTo>
                  <a:cubicBezTo>
                    <a:pt x="296058" y="81889"/>
                    <a:pt x="296058" y="81889"/>
                    <a:pt x="296058" y="80629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/>
            <p:cNvSpPr/>
            <p:nvPr/>
          </p:nvSpPr>
          <p:spPr>
            <a:xfrm>
              <a:off x="8503983" y="4806926"/>
              <a:ext cx="188768" cy="120125"/>
            </a:xfrm>
            <a:custGeom>
              <a:avLst/>
              <a:gdLst>
                <a:gd name="connsiteX0" fmla="*/ 279681 w 277161"/>
                <a:gd name="connsiteY0" fmla="*/ 167556 h 176375"/>
                <a:gd name="connsiteX1" fmla="*/ 278421 w 277161"/>
                <a:gd name="connsiteY1" fmla="*/ 163777 h 176375"/>
                <a:gd name="connsiteX2" fmla="*/ 274642 w 277161"/>
                <a:gd name="connsiteY2" fmla="*/ 158737 h 176375"/>
                <a:gd name="connsiteX3" fmla="*/ 270862 w 277161"/>
                <a:gd name="connsiteY3" fmla="*/ 153698 h 176375"/>
                <a:gd name="connsiteX4" fmla="*/ 262043 w 277161"/>
                <a:gd name="connsiteY4" fmla="*/ 143620 h 176375"/>
                <a:gd name="connsiteX5" fmla="*/ 243146 w 277161"/>
                <a:gd name="connsiteY5" fmla="*/ 125982 h 176375"/>
                <a:gd name="connsiteX6" fmla="*/ 234327 w 277161"/>
                <a:gd name="connsiteY6" fmla="*/ 118423 h 176375"/>
                <a:gd name="connsiteX7" fmla="*/ 224249 w 277161"/>
                <a:gd name="connsiteY7" fmla="*/ 109604 h 176375"/>
                <a:gd name="connsiteX8" fmla="*/ 214170 w 277161"/>
                <a:gd name="connsiteY8" fmla="*/ 102045 h 176375"/>
                <a:gd name="connsiteX9" fmla="*/ 212910 w 277161"/>
                <a:gd name="connsiteY9" fmla="*/ 100786 h 176375"/>
                <a:gd name="connsiteX10" fmla="*/ 201572 w 277161"/>
                <a:gd name="connsiteY10" fmla="*/ 89447 h 176375"/>
                <a:gd name="connsiteX11" fmla="*/ 190233 w 277161"/>
                <a:gd name="connsiteY11" fmla="*/ 78109 h 176375"/>
                <a:gd name="connsiteX12" fmla="*/ 178895 w 277161"/>
                <a:gd name="connsiteY12" fmla="*/ 68030 h 176375"/>
                <a:gd name="connsiteX13" fmla="*/ 172596 w 277161"/>
                <a:gd name="connsiteY13" fmla="*/ 62991 h 176375"/>
                <a:gd name="connsiteX14" fmla="*/ 166297 w 277161"/>
                <a:gd name="connsiteY14" fmla="*/ 57952 h 176375"/>
                <a:gd name="connsiteX15" fmla="*/ 159998 w 277161"/>
                <a:gd name="connsiteY15" fmla="*/ 52912 h 176375"/>
                <a:gd name="connsiteX16" fmla="*/ 153698 w 277161"/>
                <a:gd name="connsiteY16" fmla="*/ 49133 h 176375"/>
                <a:gd name="connsiteX17" fmla="*/ 147399 w 277161"/>
                <a:gd name="connsiteY17" fmla="*/ 44094 h 176375"/>
                <a:gd name="connsiteX18" fmla="*/ 141100 w 277161"/>
                <a:gd name="connsiteY18" fmla="*/ 39054 h 176375"/>
                <a:gd name="connsiteX19" fmla="*/ 134801 w 277161"/>
                <a:gd name="connsiteY19" fmla="*/ 35275 h 176375"/>
                <a:gd name="connsiteX20" fmla="*/ 131022 w 277161"/>
                <a:gd name="connsiteY20" fmla="*/ 32755 h 176375"/>
                <a:gd name="connsiteX21" fmla="*/ 128502 w 277161"/>
                <a:gd name="connsiteY21" fmla="*/ 31496 h 176375"/>
                <a:gd name="connsiteX22" fmla="*/ 120943 w 277161"/>
                <a:gd name="connsiteY22" fmla="*/ 28976 h 176375"/>
                <a:gd name="connsiteX23" fmla="*/ 115904 w 277161"/>
                <a:gd name="connsiteY23" fmla="*/ 27716 h 176375"/>
                <a:gd name="connsiteX24" fmla="*/ 107085 w 277161"/>
                <a:gd name="connsiteY24" fmla="*/ 23937 h 176375"/>
                <a:gd name="connsiteX25" fmla="*/ 97006 w 277161"/>
                <a:gd name="connsiteY25" fmla="*/ 20157 h 176375"/>
                <a:gd name="connsiteX26" fmla="*/ 74329 w 277161"/>
                <a:gd name="connsiteY26" fmla="*/ 12598 h 176375"/>
                <a:gd name="connsiteX27" fmla="*/ 66771 w 277161"/>
                <a:gd name="connsiteY27" fmla="*/ 10078 h 176375"/>
                <a:gd name="connsiteX28" fmla="*/ 59212 w 277161"/>
                <a:gd name="connsiteY28" fmla="*/ 7559 h 176375"/>
                <a:gd name="connsiteX29" fmla="*/ 51653 w 277161"/>
                <a:gd name="connsiteY29" fmla="*/ 5039 h 176375"/>
                <a:gd name="connsiteX30" fmla="*/ 49133 w 277161"/>
                <a:gd name="connsiteY30" fmla="*/ 3779 h 176375"/>
                <a:gd name="connsiteX31" fmla="*/ 45354 w 277161"/>
                <a:gd name="connsiteY31" fmla="*/ 2519 h 176375"/>
                <a:gd name="connsiteX32" fmla="*/ 39055 w 277161"/>
                <a:gd name="connsiteY32" fmla="*/ 1260 h 176375"/>
                <a:gd name="connsiteX33" fmla="*/ 31496 w 277161"/>
                <a:gd name="connsiteY33" fmla="*/ 0 h 176375"/>
                <a:gd name="connsiteX34" fmla="*/ 27716 w 277161"/>
                <a:gd name="connsiteY34" fmla="*/ 0 h 176375"/>
                <a:gd name="connsiteX35" fmla="*/ 27716 w 277161"/>
                <a:gd name="connsiteY35" fmla="*/ 0 h 176375"/>
                <a:gd name="connsiteX36" fmla="*/ 25196 w 277161"/>
                <a:gd name="connsiteY36" fmla="*/ 1260 h 176375"/>
                <a:gd name="connsiteX37" fmla="*/ 10079 w 277161"/>
                <a:gd name="connsiteY37" fmla="*/ 44094 h 176375"/>
                <a:gd name="connsiteX38" fmla="*/ 7559 w 277161"/>
                <a:gd name="connsiteY38" fmla="*/ 51652 h 176375"/>
                <a:gd name="connsiteX39" fmla="*/ 6299 w 277161"/>
                <a:gd name="connsiteY39" fmla="*/ 54172 h 176375"/>
                <a:gd name="connsiteX40" fmla="*/ 5039 w 277161"/>
                <a:gd name="connsiteY40" fmla="*/ 59211 h 176375"/>
                <a:gd name="connsiteX41" fmla="*/ 3780 w 277161"/>
                <a:gd name="connsiteY41" fmla="*/ 62991 h 176375"/>
                <a:gd name="connsiteX42" fmla="*/ 3780 w 277161"/>
                <a:gd name="connsiteY42" fmla="*/ 62991 h 176375"/>
                <a:gd name="connsiteX43" fmla="*/ 0 w 277161"/>
                <a:gd name="connsiteY43" fmla="*/ 74330 h 176375"/>
                <a:gd name="connsiteX44" fmla="*/ 3780 w 277161"/>
                <a:gd name="connsiteY44" fmla="*/ 74330 h 176375"/>
                <a:gd name="connsiteX45" fmla="*/ 3780 w 277161"/>
                <a:gd name="connsiteY45" fmla="*/ 74330 h 176375"/>
                <a:gd name="connsiteX46" fmla="*/ 8819 w 277161"/>
                <a:gd name="connsiteY46" fmla="*/ 79369 h 176375"/>
                <a:gd name="connsiteX47" fmla="*/ 13858 w 277161"/>
                <a:gd name="connsiteY47" fmla="*/ 81889 h 176375"/>
                <a:gd name="connsiteX48" fmla="*/ 15118 w 277161"/>
                <a:gd name="connsiteY48" fmla="*/ 83148 h 176375"/>
                <a:gd name="connsiteX49" fmla="*/ 27716 w 277161"/>
                <a:gd name="connsiteY49" fmla="*/ 89447 h 176375"/>
                <a:gd name="connsiteX50" fmla="*/ 28976 w 277161"/>
                <a:gd name="connsiteY50" fmla="*/ 89447 h 176375"/>
                <a:gd name="connsiteX51" fmla="*/ 34015 w 277161"/>
                <a:gd name="connsiteY51" fmla="*/ 90707 h 176375"/>
                <a:gd name="connsiteX52" fmla="*/ 39055 w 277161"/>
                <a:gd name="connsiteY52" fmla="*/ 89447 h 176375"/>
                <a:gd name="connsiteX53" fmla="*/ 45354 w 277161"/>
                <a:gd name="connsiteY53" fmla="*/ 88188 h 176375"/>
                <a:gd name="connsiteX54" fmla="*/ 45354 w 277161"/>
                <a:gd name="connsiteY54" fmla="*/ 89447 h 176375"/>
                <a:gd name="connsiteX55" fmla="*/ 47873 w 277161"/>
                <a:gd name="connsiteY55" fmla="*/ 91967 h 176375"/>
                <a:gd name="connsiteX56" fmla="*/ 50393 w 277161"/>
                <a:gd name="connsiteY56" fmla="*/ 94487 h 176375"/>
                <a:gd name="connsiteX57" fmla="*/ 52913 w 277161"/>
                <a:gd name="connsiteY57" fmla="*/ 95746 h 176375"/>
                <a:gd name="connsiteX58" fmla="*/ 57952 w 277161"/>
                <a:gd name="connsiteY58" fmla="*/ 98266 h 176375"/>
                <a:gd name="connsiteX59" fmla="*/ 70550 w 277161"/>
                <a:gd name="connsiteY59" fmla="*/ 103305 h 176375"/>
                <a:gd name="connsiteX60" fmla="*/ 81889 w 277161"/>
                <a:gd name="connsiteY60" fmla="*/ 108344 h 176375"/>
                <a:gd name="connsiteX61" fmla="*/ 105825 w 277161"/>
                <a:gd name="connsiteY61" fmla="*/ 115904 h 176375"/>
                <a:gd name="connsiteX62" fmla="*/ 110864 w 277161"/>
                <a:gd name="connsiteY62" fmla="*/ 117163 h 176375"/>
                <a:gd name="connsiteX63" fmla="*/ 117164 w 277161"/>
                <a:gd name="connsiteY63" fmla="*/ 119683 h 176375"/>
                <a:gd name="connsiteX64" fmla="*/ 128502 w 277161"/>
                <a:gd name="connsiteY64" fmla="*/ 123463 h 176375"/>
                <a:gd name="connsiteX65" fmla="*/ 138581 w 277161"/>
                <a:gd name="connsiteY65" fmla="*/ 127242 h 176375"/>
                <a:gd name="connsiteX66" fmla="*/ 148659 w 277161"/>
                <a:gd name="connsiteY66" fmla="*/ 132281 h 176375"/>
                <a:gd name="connsiteX67" fmla="*/ 158738 w 277161"/>
                <a:gd name="connsiteY67" fmla="*/ 136061 h 176375"/>
                <a:gd name="connsiteX68" fmla="*/ 168816 w 277161"/>
                <a:gd name="connsiteY68" fmla="*/ 139840 h 176375"/>
                <a:gd name="connsiteX69" fmla="*/ 167557 w 277161"/>
                <a:gd name="connsiteY69" fmla="*/ 139840 h 176375"/>
                <a:gd name="connsiteX70" fmla="*/ 178895 w 277161"/>
                <a:gd name="connsiteY70" fmla="*/ 143620 h 176375"/>
                <a:gd name="connsiteX71" fmla="*/ 186454 w 277161"/>
                <a:gd name="connsiteY71" fmla="*/ 146139 h 176375"/>
                <a:gd name="connsiteX72" fmla="*/ 187714 w 277161"/>
                <a:gd name="connsiteY72" fmla="*/ 147399 h 176375"/>
                <a:gd name="connsiteX73" fmla="*/ 187714 w 277161"/>
                <a:gd name="connsiteY73" fmla="*/ 147399 h 176375"/>
                <a:gd name="connsiteX74" fmla="*/ 201572 w 277161"/>
                <a:gd name="connsiteY74" fmla="*/ 153698 h 176375"/>
                <a:gd name="connsiteX75" fmla="*/ 215430 w 277161"/>
                <a:gd name="connsiteY75" fmla="*/ 158737 h 176375"/>
                <a:gd name="connsiteX76" fmla="*/ 215430 w 277161"/>
                <a:gd name="connsiteY76" fmla="*/ 158737 h 176375"/>
                <a:gd name="connsiteX77" fmla="*/ 221729 w 277161"/>
                <a:gd name="connsiteY77" fmla="*/ 161257 h 176375"/>
                <a:gd name="connsiteX78" fmla="*/ 222989 w 277161"/>
                <a:gd name="connsiteY78" fmla="*/ 161257 h 176375"/>
                <a:gd name="connsiteX79" fmla="*/ 228028 w 277161"/>
                <a:gd name="connsiteY79" fmla="*/ 162517 h 176375"/>
                <a:gd name="connsiteX80" fmla="*/ 234327 w 277161"/>
                <a:gd name="connsiteY80" fmla="*/ 165037 h 176375"/>
                <a:gd name="connsiteX81" fmla="*/ 244406 w 277161"/>
                <a:gd name="connsiteY81" fmla="*/ 168816 h 176375"/>
                <a:gd name="connsiteX82" fmla="*/ 254484 w 277161"/>
                <a:gd name="connsiteY82" fmla="*/ 172596 h 176375"/>
                <a:gd name="connsiteX83" fmla="*/ 253225 w 277161"/>
                <a:gd name="connsiteY83" fmla="*/ 172596 h 176375"/>
                <a:gd name="connsiteX84" fmla="*/ 265823 w 277161"/>
                <a:gd name="connsiteY84" fmla="*/ 176375 h 176375"/>
                <a:gd name="connsiteX85" fmla="*/ 272122 w 277161"/>
                <a:gd name="connsiteY85" fmla="*/ 177635 h 176375"/>
                <a:gd name="connsiteX86" fmla="*/ 278421 w 277161"/>
                <a:gd name="connsiteY86" fmla="*/ 176375 h 176375"/>
                <a:gd name="connsiteX87" fmla="*/ 279681 w 277161"/>
                <a:gd name="connsiteY87" fmla="*/ 175115 h 176375"/>
                <a:gd name="connsiteX88" fmla="*/ 279681 w 277161"/>
                <a:gd name="connsiteY88" fmla="*/ 167556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77161" h="176375">
                  <a:moveTo>
                    <a:pt x="279681" y="167556"/>
                  </a:moveTo>
                  <a:cubicBezTo>
                    <a:pt x="279681" y="166296"/>
                    <a:pt x="278421" y="165037"/>
                    <a:pt x="278421" y="163777"/>
                  </a:cubicBezTo>
                  <a:cubicBezTo>
                    <a:pt x="277161" y="161257"/>
                    <a:pt x="275901" y="159997"/>
                    <a:pt x="274642" y="158737"/>
                  </a:cubicBezTo>
                  <a:cubicBezTo>
                    <a:pt x="273382" y="157478"/>
                    <a:pt x="272122" y="154958"/>
                    <a:pt x="270862" y="153698"/>
                  </a:cubicBezTo>
                  <a:cubicBezTo>
                    <a:pt x="268342" y="149919"/>
                    <a:pt x="264563" y="147399"/>
                    <a:pt x="262043" y="143620"/>
                  </a:cubicBezTo>
                  <a:cubicBezTo>
                    <a:pt x="255744" y="137321"/>
                    <a:pt x="249445" y="131022"/>
                    <a:pt x="243146" y="125982"/>
                  </a:cubicBezTo>
                  <a:cubicBezTo>
                    <a:pt x="240626" y="123463"/>
                    <a:pt x="236847" y="120943"/>
                    <a:pt x="234327" y="118423"/>
                  </a:cubicBezTo>
                  <a:cubicBezTo>
                    <a:pt x="230548" y="115904"/>
                    <a:pt x="228028" y="113384"/>
                    <a:pt x="224249" y="109604"/>
                  </a:cubicBezTo>
                  <a:cubicBezTo>
                    <a:pt x="220469" y="107085"/>
                    <a:pt x="217949" y="104565"/>
                    <a:pt x="214170" y="102045"/>
                  </a:cubicBezTo>
                  <a:cubicBezTo>
                    <a:pt x="214170" y="102045"/>
                    <a:pt x="212910" y="100786"/>
                    <a:pt x="212910" y="100786"/>
                  </a:cubicBezTo>
                  <a:cubicBezTo>
                    <a:pt x="209131" y="97006"/>
                    <a:pt x="205351" y="93227"/>
                    <a:pt x="201572" y="89447"/>
                  </a:cubicBezTo>
                  <a:cubicBezTo>
                    <a:pt x="197792" y="85668"/>
                    <a:pt x="194013" y="81889"/>
                    <a:pt x="190233" y="78109"/>
                  </a:cubicBezTo>
                  <a:cubicBezTo>
                    <a:pt x="186454" y="74330"/>
                    <a:pt x="182674" y="70550"/>
                    <a:pt x="178895" y="68030"/>
                  </a:cubicBezTo>
                  <a:cubicBezTo>
                    <a:pt x="176375" y="66770"/>
                    <a:pt x="175115" y="64251"/>
                    <a:pt x="172596" y="62991"/>
                  </a:cubicBezTo>
                  <a:cubicBezTo>
                    <a:pt x="170076" y="61731"/>
                    <a:pt x="168816" y="59211"/>
                    <a:pt x="166297" y="57952"/>
                  </a:cubicBezTo>
                  <a:cubicBezTo>
                    <a:pt x="163777" y="56692"/>
                    <a:pt x="162517" y="54172"/>
                    <a:pt x="159998" y="52912"/>
                  </a:cubicBezTo>
                  <a:cubicBezTo>
                    <a:pt x="157478" y="51652"/>
                    <a:pt x="156218" y="50393"/>
                    <a:pt x="153698" y="49133"/>
                  </a:cubicBezTo>
                  <a:cubicBezTo>
                    <a:pt x="151179" y="47873"/>
                    <a:pt x="149919" y="45353"/>
                    <a:pt x="147399" y="44094"/>
                  </a:cubicBezTo>
                  <a:cubicBezTo>
                    <a:pt x="144880" y="42834"/>
                    <a:pt x="143620" y="41574"/>
                    <a:pt x="141100" y="39054"/>
                  </a:cubicBezTo>
                  <a:cubicBezTo>
                    <a:pt x="138581" y="37795"/>
                    <a:pt x="137321" y="36535"/>
                    <a:pt x="134801" y="35275"/>
                  </a:cubicBezTo>
                  <a:cubicBezTo>
                    <a:pt x="133541" y="34015"/>
                    <a:pt x="132281" y="34015"/>
                    <a:pt x="131022" y="32755"/>
                  </a:cubicBezTo>
                  <a:cubicBezTo>
                    <a:pt x="129762" y="32755"/>
                    <a:pt x="129762" y="31496"/>
                    <a:pt x="128502" y="31496"/>
                  </a:cubicBezTo>
                  <a:cubicBezTo>
                    <a:pt x="125982" y="30236"/>
                    <a:pt x="123463" y="30236"/>
                    <a:pt x="120943" y="28976"/>
                  </a:cubicBezTo>
                  <a:cubicBezTo>
                    <a:pt x="119683" y="28976"/>
                    <a:pt x="117164" y="27716"/>
                    <a:pt x="115904" y="27716"/>
                  </a:cubicBezTo>
                  <a:cubicBezTo>
                    <a:pt x="113384" y="26456"/>
                    <a:pt x="109605" y="25196"/>
                    <a:pt x="107085" y="23937"/>
                  </a:cubicBezTo>
                  <a:cubicBezTo>
                    <a:pt x="103305" y="22677"/>
                    <a:pt x="99526" y="21417"/>
                    <a:pt x="97006" y="20157"/>
                  </a:cubicBezTo>
                  <a:cubicBezTo>
                    <a:pt x="89448" y="17637"/>
                    <a:pt x="81889" y="15118"/>
                    <a:pt x="74329" y="12598"/>
                  </a:cubicBezTo>
                  <a:cubicBezTo>
                    <a:pt x="71810" y="11338"/>
                    <a:pt x="69290" y="10078"/>
                    <a:pt x="66771" y="10078"/>
                  </a:cubicBezTo>
                  <a:cubicBezTo>
                    <a:pt x="64251" y="8819"/>
                    <a:pt x="61731" y="8819"/>
                    <a:pt x="59212" y="7559"/>
                  </a:cubicBezTo>
                  <a:cubicBezTo>
                    <a:pt x="56692" y="6299"/>
                    <a:pt x="54172" y="6299"/>
                    <a:pt x="51653" y="5039"/>
                  </a:cubicBezTo>
                  <a:cubicBezTo>
                    <a:pt x="50393" y="5039"/>
                    <a:pt x="49133" y="3779"/>
                    <a:pt x="49133" y="3779"/>
                  </a:cubicBezTo>
                  <a:cubicBezTo>
                    <a:pt x="47873" y="3779"/>
                    <a:pt x="46613" y="2519"/>
                    <a:pt x="45354" y="2519"/>
                  </a:cubicBezTo>
                  <a:cubicBezTo>
                    <a:pt x="42834" y="2519"/>
                    <a:pt x="40314" y="1260"/>
                    <a:pt x="39055" y="1260"/>
                  </a:cubicBezTo>
                  <a:cubicBezTo>
                    <a:pt x="36535" y="1260"/>
                    <a:pt x="34015" y="0"/>
                    <a:pt x="31496" y="0"/>
                  </a:cubicBezTo>
                  <a:cubicBezTo>
                    <a:pt x="30236" y="0"/>
                    <a:pt x="28976" y="0"/>
                    <a:pt x="27716" y="0"/>
                  </a:cubicBezTo>
                  <a:cubicBezTo>
                    <a:pt x="27716" y="0"/>
                    <a:pt x="27716" y="0"/>
                    <a:pt x="27716" y="0"/>
                  </a:cubicBezTo>
                  <a:cubicBezTo>
                    <a:pt x="26456" y="0"/>
                    <a:pt x="26456" y="1260"/>
                    <a:pt x="25196" y="1260"/>
                  </a:cubicBezTo>
                  <a:lnTo>
                    <a:pt x="10079" y="44094"/>
                  </a:lnTo>
                  <a:cubicBezTo>
                    <a:pt x="8819" y="46613"/>
                    <a:pt x="8819" y="49133"/>
                    <a:pt x="7559" y="51652"/>
                  </a:cubicBezTo>
                  <a:cubicBezTo>
                    <a:pt x="7559" y="52912"/>
                    <a:pt x="7559" y="52912"/>
                    <a:pt x="6299" y="54172"/>
                  </a:cubicBezTo>
                  <a:cubicBezTo>
                    <a:pt x="6299" y="55432"/>
                    <a:pt x="5039" y="56692"/>
                    <a:pt x="5039" y="59211"/>
                  </a:cubicBezTo>
                  <a:cubicBezTo>
                    <a:pt x="5039" y="60471"/>
                    <a:pt x="3780" y="61731"/>
                    <a:pt x="3780" y="62991"/>
                  </a:cubicBezTo>
                  <a:cubicBezTo>
                    <a:pt x="3780" y="62991"/>
                    <a:pt x="3780" y="62991"/>
                    <a:pt x="3780" y="62991"/>
                  </a:cubicBezTo>
                  <a:lnTo>
                    <a:pt x="0" y="74330"/>
                  </a:lnTo>
                  <a:cubicBezTo>
                    <a:pt x="1260" y="74330"/>
                    <a:pt x="2520" y="74330"/>
                    <a:pt x="3780" y="74330"/>
                  </a:cubicBezTo>
                  <a:cubicBezTo>
                    <a:pt x="3780" y="74330"/>
                    <a:pt x="3780" y="74330"/>
                    <a:pt x="3780" y="74330"/>
                  </a:cubicBezTo>
                  <a:cubicBezTo>
                    <a:pt x="5039" y="76849"/>
                    <a:pt x="7559" y="79369"/>
                    <a:pt x="8819" y="79369"/>
                  </a:cubicBezTo>
                  <a:cubicBezTo>
                    <a:pt x="10079" y="80629"/>
                    <a:pt x="12598" y="81889"/>
                    <a:pt x="13858" y="81889"/>
                  </a:cubicBezTo>
                  <a:lnTo>
                    <a:pt x="15118" y="83148"/>
                  </a:lnTo>
                  <a:cubicBezTo>
                    <a:pt x="18897" y="85668"/>
                    <a:pt x="23937" y="88188"/>
                    <a:pt x="27716" y="89447"/>
                  </a:cubicBezTo>
                  <a:cubicBezTo>
                    <a:pt x="27716" y="89447"/>
                    <a:pt x="27716" y="89447"/>
                    <a:pt x="28976" y="89447"/>
                  </a:cubicBezTo>
                  <a:cubicBezTo>
                    <a:pt x="30236" y="89447"/>
                    <a:pt x="31496" y="90707"/>
                    <a:pt x="34015" y="90707"/>
                  </a:cubicBezTo>
                  <a:cubicBezTo>
                    <a:pt x="36535" y="90707"/>
                    <a:pt x="37795" y="90707"/>
                    <a:pt x="39055" y="89447"/>
                  </a:cubicBezTo>
                  <a:cubicBezTo>
                    <a:pt x="41574" y="89447"/>
                    <a:pt x="42834" y="88188"/>
                    <a:pt x="45354" y="88188"/>
                  </a:cubicBezTo>
                  <a:cubicBezTo>
                    <a:pt x="45354" y="88188"/>
                    <a:pt x="45354" y="89447"/>
                    <a:pt x="45354" y="89447"/>
                  </a:cubicBezTo>
                  <a:cubicBezTo>
                    <a:pt x="45354" y="90707"/>
                    <a:pt x="46613" y="90707"/>
                    <a:pt x="47873" y="91967"/>
                  </a:cubicBezTo>
                  <a:cubicBezTo>
                    <a:pt x="49133" y="93227"/>
                    <a:pt x="49133" y="93227"/>
                    <a:pt x="50393" y="94487"/>
                  </a:cubicBezTo>
                  <a:cubicBezTo>
                    <a:pt x="51653" y="94487"/>
                    <a:pt x="51653" y="95746"/>
                    <a:pt x="52913" y="95746"/>
                  </a:cubicBezTo>
                  <a:cubicBezTo>
                    <a:pt x="54172" y="97006"/>
                    <a:pt x="56692" y="97006"/>
                    <a:pt x="57952" y="98266"/>
                  </a:cubicBezTo>
                  <a:cubicBezTo>
                    <a:pt x="61731" y="99526"/>
                    <a:pt x="66771" y="102045"/>
                    <a:pt x="70550" y="103305"/>
                  </a:cubicBezTo>
                  <a:cubicBezTo>
                    <a:pt x="74329" y="104565"/>
                    <a:pt x="78109" y="107085"/>
                    <a:pt x="81889" y="108344"/>
                  </a:cubicBezTo>
                  <a:cubicBezTo>
                    <a:pt x="89448" y="110864"/>
                    <a:pt x="98266" y="113384"/>
                    <a:pt x="105825" y="115904"/>
                  </a:cubicBezTo>
                  <a:cubicBezTo>
                    <a:pt x="107085" y="115904"/>
                    <a:pt x="109605" y="117163"/>
                    <a:pt x="110864" y="117163"/>
                  </a:cubicBezTo>
                  <a:cubicBezTo>
                    <a:pt x="113384" y="117163"/>
                    <a:pt x="114644" y="118423"/>
                    <a:pt x="117164" y="119683"/>
                  </a:cubicBezTo>
                  <a:cubicBezTo>
                    <a:pt x="120943" y="120943"/>
                    <a:pt x="124722" y="122203"/>
                    <a:pt x="128502" y="123463"/>
                  </a:cubicBezTo>
                  <a:cubicBezTo>
                    <a:pt x="132281" y="124722"/>
                    <a:pt x="134801" y="125982"/>
                    <a:pt x="138581" y="127242"/>
                  </a:cubicBezTo>
                  <a:cubicBezTo>
                    <a:pt x="142360" y="128502"/>
                    <a:pt x="144880" y="129762"/>
                    <a:pt x="148659" y="132281"/>
                  </a:cubicBezTo>
                  <a:cubicBezTo>
                    <a:pt x="152439" y="133541"/>
                    <a:pt x="156218" y="134801"/>
                    <a:pt x="158738" y="136061"/>
                  </a:cubicBezTo>
                  <a:cubicBezTo>
                    <a:pt x="162517" y="137321"/>
                    <a:pt x="165037" y="138581"/>
                    <a:pt x="168816" y="139840"/>
                  </a:cubicBezTo>
                  <a:lnTo>
                    <a:pt x="167557" y="139840"/>
                  </a:lnTo>
                  <a:cubicBezTo>
                    <a:pt x="171336" y="141100"/>
                    <a:pt x="175115" y="142360"/>
                    <a:pt x="178895" y="143620"/>
                  </a:cubicBezTo>
                  <a:cubicBezTo>
                    <a:pt x="181414" y="144880"/>
                    <a:pt x="183934" y="144880"/>
                    <a:pt x="186454" y="146139"/>
                  </a:cubicBezTo>
                  <a:cubicBezTo>
                    <a:pt x="186454" y="146139"/>
                    <a:pt x="187714" y="146139"/>
                    <a:pt x="187714" y="147399"/>
                  </a:cubicBezTo>
                  <a:lnTo>
                    <a:pt x="187714" y="147399"/>
                  </a:lnTo>
                  <a:cubicBezTo>
                    <a:pt x="192753" y="149919"/>
                    <a:pt x="196533" y="151179"/>
                    <a:pt x="201572" y="153698"/>
                  </a:cubicBezTo>
                  <a:cubicBezTo>
                    <a:pt x="206611" y="156218"/>
                    <a:pt x="210390" y="157478"/>
                    <a:pt x="215430" y="158737"/>
                  </a:cubicBezTo>
                  <a:lnTo>
                    <a:pt x="215430" y="158737"/>
                  </a:lnTo>
                  <a:cubicBezTo>
                    <a:pt x="217949" y="159997"/>
                    <a:pt x="219209" y="159997"/>
                    <a:pt x="221729" y="161257"/>
                  </a:cubicBezTo>
                  <a:lnTo>
                    <a:pt x="222989" y="161257"/>
                  </a:lnTo>
                  <a:cubicBezTo>
                    <a:pt x="224249" y="161257"/>
                    <a:pt x="225508" y="162517"/>
                    <a:pt x="228028" y="162517"/>
                  </a:cubicBezTo>
                  <a:cubicBezTo>
                    <a:pt x="230548" y="163777"/>
                    <a:pt x="231807" y="163777"/>
                    <a:pt x="234327" y="165037"/>
                  </a:cubicBezTo>
                  <a:cubicBezTo>
                    <a:pt x="238107" y="166296"/>
                    <a:pt x="241886" y="167556"/>
                    <a:pt x="244406" y="168816"/>
                  </a:cubicBezTo>
                  <a:cubicBezTo>
                    <a:pt x="248185" y="170076"/>
                    <a:pt x="250705" y="171336"/>
                    <a:pt x="254484" y="172596"/>
                  </a:cubicBezTo>
                  <a:cubicBezTo>
                    <a:pt x="254484" y="172596"/>
                    <a:pt x="253225" y="172596"/>
                    <a:pt x="253225" y="172596"/>
                  </a:cubicBezTo>
                  <a:cubicBezTo>
                    <a:pt x="257004" y="173855"/>
                    <a:pt x="262043" y="175115"/>
                    <a:pt x="265823" y="176375"/>
                  </a:cubicBezTo>
                  <a:cubicBezTo>
                    <a:pt x="268342" y="176375"/>
                    <a:pt x="269602" y="177635"/>
                    <a:pt x="272122" y="177635"/>
                  </a:cubicBezTo>
                  <a:cubicBezTo>
                    <a:pt x="274642" y="177635"/>
                    <a:pt x="275901" y="177635"/>
                    <a:pt x="278421" y="176375"/>
                  </a:cubicBezTo>
                  <a:cubicBezTo>
                    <a:pt x="278421" y="176375"/>
                    <a:pt x="279681" y="175115"/>
                    <a:pt x="279681" y="175115"/>
                  </a:cubicBezTo>
                  <a:cubicBezTo>
                    <a:pt x="279681" y="168816"/>
                    <a:pt x="279681" y="167556"/>
                    <a:pt x="279681" y="167556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/>
            <p:cNvSpPr/>
            <p:nvPr/>
          </p:nvSpPr>
          <p:spPr>
            <a:xfrm>
              <a:off x="8219924" y="2286652"/>
              <a:ext cx="1638846" cy="1115445"/>
            </a:xfrm>
            <a:custGeom>
              <a:avLst/>
              <a:gdLst>
                <a:gd name="connsiteX0" fmla="*/ 2397516 w 2406262"/>
                <a:gd name="connsiteY0" fmla="*/ 131354 h 1637770"/>
                <a:gd name="connsiteX1" fmla="*/ 2397516 w 2406262"/>
                <a:gd name="connsiteY1" fmla="*/ 131354 h 1637770"/>
                <a:gd name="connsiteX2" fmla="*/ 2349643 w 2406262"/>
                <a:gd name="connsiteY2" fmla="*/ 70882 h 1637770"/>
                <a:gd name="connsiteX3" fmla="*/ 1622725 w 2406262"/>
                <a:gd name="connsiteY3" fmla="*/ 46946 h 1637770"/>
                <a:gd name="connsiteX4" fmla="*/ 1200684 w 2406262"/>
                <a:gd name="connsiteY4" fmla="*/ 301430 h 1637770"/>
                <a:gd name="connsiteX5" fmla="*/ 773604 w 2406262"/>
                <a:gd name="connsiteY5" fmla="*/ 54505 h 1637770"/>
                <a:gd name="connsiteX6" fmla="*/ 46686 w 2406262"/>
                <a:gd name="connsiteY6" fmla="*/ 92299 h 1637770"/>
                <a:gd name="connsiteX7" fmla="*/ 73 w 2406262"/>
                <a:gd name="connsiteY7" fmla="*/ 160330 h 1637770"/>
                <a:gd name="connsiteX8" fmla="*/ 12671 w 2406262"/>
                <a:gd name="connsiteY8" fmla="*/ 1282833 h 1637770"/>
                <a:gd name="connsiteX9" fmla="*/ 12671 w 2406262"/>
                <a:gd name="connsiteY9" fmla="*/ 1290391 h 1637770"/>
                <a:gd name="connsiteX10" fmla="*/ 12671 w 2406262"/>
                <a:gd name="connsiteY10" fmla="*/ 1291651 h 1637770"/>
                <a:gd name="connsiteX11" fmla="*/ 12671 w 2406262"/>
                <a:gd name="connsiteY11" fmla="*/ 1291651 h 1637770"/>
                <a:gd name="connsiteX12" fmla="*/ 24009 w 2406262"/>
                <a:gd name="connsiteY12" fmla="*/ 1321887 h 1637770"/>
                <a:gd name="connsiteX13" fmla="*/ 151251 w 2406262"/>
                <a:gd name="connsiteY13" fmla="*/ 1349603 h 1637770"/>
                <a:gd name="connsiteX14" fmla="*/ 734550 w 2406262"/>
                <a:gd name="connsiteY14" fmla="*/ 1325666 h 1637770"/>
                <a:gd name="connsiteX15" fmla="*/ 1135173 w 2406262"/>
                <a:gd name="connsiteY15" fmla="*/ 1607867 h 1637770"/>
                <a:gd name="connsiteX16" fmla="*/ 1215802 w 2406262"/>
                <a:gd name="connsiteY16" fmla="*/ 1644402 h 1637770"/>
                <a:gd name="connsiteX17" fmla="*/ 1295171 w 2406262"/>
                <a:gd name="connsiteY17" fmla="*/ 1606607 h 1637770"/>
                <a:gd name="connsiteX18" fmla="*/ 1690756 w 2406262"/>
                <a:gd name="connsiteY18" fmla="*/ 1316848 h 1637770"/>
                <a:gd name="connsiteX19" fmla="*/ 2274054 w 2406262"/>
                <a:gd name="connsiteY19" fmla="*/ 1330706 h 1637770"/>
                <a:gd name="connsiteX20" fmla="*/ 2400036 w 2406262"/>
                <a:gd name="connsiteY20" fmla="*/ 1300470 h 1637770"/>
                <a:gd name="connsiteX21" fmla="*/ 2410115 w 2406262"/>
                <a:gd name="connsiteY21" fmla="*/ 1261415 h 1637770"/>
                <a:gd name="connsiteX22" fmla="*/ 2410115 w 2406262"/>
                <a:gd name="connsiteY22" fmla="*/ 1261415 h 1637770"/>
                <a:gd name="connsiteX23" fmla="*/ 2397516 w 2406262"/>
                <a:gd name="connsiteY23" fmla="*/ 131354 h 163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06262" h="1637770">
                  <a:moveTo>
                    <a:pt x="2397516" y="131354"/>
                  </a:moveTo>
                  <a:lnTo>
                    <a:pt x="2397516" y="131354"/>
                  </a:lnTo>
                  <a:cubicBezTo>
                    <a:pt x="2394997" y="106157"/>
                    <a:pt x="2378619" y="82221"/>
                    <a:pt x="2349643" y="70882"/>
                  </a:cubicBezTo>
                  <a:cubicBezTo>
                    <a:pt x="2124135" y="-12266"/>
                    <a:pt x="1857052" y="-24864"/>
                    <a:pt x="1622725" y="46946"/>
                  </a:cubicBezTo>
                  <a:cubicBezTo>
                    <a:pt x="1453909" y="98599"/>
                    <a:pt x="1306509" y="186786"/>
                    <a:pt x="1200684" y="301430"/>
                  </a:cubicBezTo>
                  <a:cubicBezTo>
                    <a:pt x="1092339" y="189306"/>
                    <a:pt x="942420" y="102378"/>
                    <a:pt x="773604" y="54505"/>
                  </a:cubicBezTo>
                  <a:cubicBezTo>
                    <a:pt x="538017" y="-12266"/>
                    <a:pt x="270935" y="5372"/>
                    <a:pt x="46686" y="92299"/>
                  </a:cubicBezTo>
                  <a:cubicBezTo>
                    <a:pt x="13931" y="104898"/>
                    <a:pt x="-1187" y="133874"/>
                    <a:pt x="73" y="160330"/>
                  </a:cubicBezTo>
                  <a:lnTo>
                    <a:pt x="12671" y="1282833"/>
                  </a:lnTo>
                  <a:cubicBezTo>
                    <a:pt x="12671" y="1285352"/>
                    <a:pt x="12671" y="1287872"/>
                    <a:pt x="12671" y="1290391"/>
                  </a:cubicBezTo>
                  <a:lnTo>
                    <a:pt x="12671" y="1291651"/>
                  </a:lnTo>
                  <a:lnTo>
                    <a:pt x="12671" y="1291651"/>
                  </a:lnTo>
                  <a:cubicBezTo>
                    <a:pt x="13931" y="1301730"/>
                    <a:pt x="17710" y="1313068"/>
                    <a:pt x="24009" y="1321887"/>
                  </a:cubicBezTo>
                  <a:cubicBezTo>
                    <a:pt x="50466" y="1358422"/>
                    <a:pt x="105898" y="1367241"/>
                    <a:pt x="151251" y="1349603"/>
                  </a:cubicBezTo>
                  <a:cubicBezTo>
                    <a:pt x="332666" y="1279053"/>
                    <a:pt x="545576" y="1271494"/>
                    <a:pt x="734550" y="1325666"/>
                  </a:cubicBezTo>
                  <a:cubicBezTo>
                    <a:pt x="908405" y="1374800"/>
                    <a:pt x="1050765" y="1479365"/>
                    <a:pt x="1135173" y="1607867"/>
                  </a:cubicBezTo>
                  <a:cubicBezTo>
                    <a:pt x="1154071" y="1636843"/>
                    <a:pt x="1185566" y="1646921"/>
                    <a:pt x="1215802" y="1644402"/>
                  </a:cubicBezTo>
                  <a:cubicBezTo>
                    <a:pt x="1246038" y="1645662"/>
                    <a:pt x="1277533" y="1634323"/>
                    <a:pt x="1295171" y="1606607"/>
                  </a:cubicBezTo>
                  <a:cubicBezTo>
                    <a:pt x="1377059" y="1476845"/>
                    <a:pt x="1516900" y="1369760"/>
                    <a:pt x="1690756" y="1316848"/>
                  </a:cubicBezTo>
                  <a:cubicBezTo>
                    <a:pt x="1878469" y="1260156"/>
                    <a:pt x="2091379" y="1263935"/>
                    <a:pt x="2274054" y="1330706"/>
                  </a:cubicBezTo>
                  <a:cubicBezTo>
                    <a:pt x="2319407" y="1347083"/>
                    <a:pt x="2374839" y="1337005"/>
                    <a:pt x="2400036" y="1300470"/>
                  </a:cubicBezTo>
                  <a:cubicBezTo>
                    <a:pt x="2407595" y="1289132"/>
                    <a:pt x="2411374" y="1275274"/>
                    <a:pt x="2410115" y="1261415"/>
                  </a:cubicBezTo>
                  <a:lnTo>
                    <a:pt x="2410115" y="1261415"/>
                  </a:lnTo>
                  <a:lnTo>
                    <a:pt x="2397516" y="131354"/>
                  </a:ln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/>
            <p:cNvSpPr/>
            <p:nvPr/>
          </p:nvSpPr>
          <p:spPr>
            <a:xfrm>
              <a:off x="8277277" y="2477816"/>
              <a:ext cx="1527302" cy="815133"/>
            </a:xfrm>
            <a:custGeom>
              <a:avLst/>
              <a:gdLst>
                <a:gd name="connsiteX0" fmla="*/ 2235197 w 2242485"/>
                <a:gd name="connsiteY0" fmla="*/ 101379 h 1196832"/>
                <a:gd name="connsiteX1" fmla="*/ 2235197 w 2242485"/>
                <a:gd name="connsiteY1" fmla="*/ 101379 h 1196832"/>
                <a:gd name="connsiteX2" fmla="*/ 2191104 w 2242485"/>
                <a:gd name="connsiteY2" fmla="*/ 54765 h 1196832"/>
                <a:gd name="connsiteX3" fmla="*/ 1513319 w 2242485"/>
                <a:gd name="connsiteY3" fmla="*/ 37128 h 1196832"/>
                <a:gd name="connsiteX4" fmla="*/ 1118994 w 2242485"/>
                <a:gd name="connsiteY4" fmla="*/ 237440 h 1196832"/>
                <a:gd name="connsiteX5" fmla="*/ 720890 w 2242485"/>
                <a:gd name="connsiteY5" fmla="*/ 44687 h 1196832"/>
                <a:gd name="connsiteX6" fmla="*/ 43105 w 2242485"/>
                <a:gd name="connsiteY6" fmla="*/ 74923 h 1196832"/>
                <a:gd name="connsiteX7" fmla="*/ 271 w 2242485"/>
                <a:gd name="connsiteY7" fmla="*/ 129095 h 1196832"/>
                <a:gd name="connsiteX8" fmla="*/ 9090 w 2242485"/>
                <a:gd name="connsiteY8" fmla="*/ 915225 h 1196832"/>
                <a:gd name="connsiteX9" fmla="*/ 9090 w 2242485"/>
                <a:gd name="connsiteY9" fmla="*/ 921524 h 1196832"/>
                <a:gd name="connsiteX10" fmla="*/ 9090 w 2242485"/>
                <a:gd name="connsiteY10" fmla="*/ 922784 h 1196832"/>
                <a:gd name="connsiteX11" fmla="*/ 9090 w 2242485"/>
                <a:gd name="connsiteY11" fmla="*/ 922784 h 1196832"/>
                <a:gd name="connsiteX12" fmla="*/ 19168 w 2242485"/>
                <a:gd name="connsiteY12" fmla="*/ 946720 h 1196832"/>
                <a:gd name="connsiteX13" fmla="*/ 137592 w 2242485"/>
                <a:gd name="connsiteY13" fmla="*/ 968137 h 1196832"/>
                <a:gd name="connsiteX14" fmla="*/ 680575 w 2242485"/>
                <a:gd name="connsiteY14" fmla="*/ 947980 h 1196832"/>
                <a:gd name="connsiteX15" fmla="*/ 1129072 w 2242485"/>
                <a:gd name="connsiteY15" fmla="*/ 1197425 h 1196832"/>
                <a:gd name="connsiteX16" fmla="*/ 1572530 w 2242485"/>
                <a:gd name="connsiteY16" fmla="*/ 939162 h 1196832"/>
                <a:gd name="connsiteX17" fmla="*/ 2116774 w 2242485"/>
                <a:gd name="connsiteY17" fmla="*/ 949240 h 1196832"/>
                <a:gd name="connsiteX18" fmla="*/ 2233937 w 2242485"/>
                <a:gd name="connsiteY18" fmla="*/ 925303 h 1196832"/>
                <a:gd name="connsiteX19" fmla="*/ 2244016 w 2242485"/>
                <a:gd name="connsiteY19" fmla="*/ 893808 h 1196832"/>
                <a:gd name="connsiteX20" fmla="*/ 2244016 w 2242485"/>
                <a:gd name="connsiteY20" fmla="*/ 893808 h 1196832"/>
                <a:gd name="connsiteX21" fmla="*/ 2235197 w 2242485"/>
                <a:gd name="connsiteY21" fmla="*/ 101379 h 119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196832">
                  <a:moveTo>
                    <a:pt x="2235197" y="101379"/>
                  </a:moveTo>
                  <a:lnTo>
                    <a:pt x="2235197" y="101379"/>
                  </a:lnTo>
                  <a:cubicBezTo>
                    <a:pt x="2233937" y="81222"/>
                    <a:pt x="2217560" y="62324"/>
                    <a:pt x="2191104" y="54765"/>
                  </a:cubicBezTo>
                  <a:cubicBezTo>
                    <a:pt x="1980713" y="-9485"/>
                    <a:pt x="1732528" y="-19564"/>
                    <a:pt x="1513319" y="37128"/>
                  </a:cubicBezTo>
                  <a:cubicBezTo>
                    <a:pt x="1355841" y="77442"/>
                    <a:pt x="1218520" y="147992"/>
                    <a:pt x="1118994" y="237440"/>
                  </a:cubicBezTo>
                  <a:cubicBezTo>
                    <a:pt x="1018208" y="149252"/>
                    <a:pt x="878368" y="82482"/>
                    <a:pt x="720890" y="44687"/>
                  </a:cubicBezTo>
                  <a:cubicBezTo>
                    <a:pt x="500421" y="-8226"/>
                    <a:pt x="252236" y="6892"/>
                    <a:pt x="43105" y="74923"/>
                  </a:cubicBezTo>
                  <a:cubicBezTo>
                    <a:pt x="12869" y="85001"/>
                    <a:pt x="-2249" y="107678"/>
                    <a:pt x="271" y="129095"/>
                  </a:cubicBezTo>
                  <a:lnTo>
                    <a:pt x="9090" y="915225"/>
                  </a:lnTo>
                  <a:cubicBezTo>
                    <a:pt x="9090" y="917744"/>
                    <a:pt x="9090" y="919004"/>
                    <a:pt x="9090" y="921524"/>
                  </a:cubicBezTo>
                  <a:lnTo>
                    <a:pt x="9090" y="922784"/>
                  </a:lnTo>
                  <a:lnTo>
                    <a:pt x="9090" y="922784"/>
                  </a:lnTo>
                  <a:cubicBezTo>
                    <a:pt x="10349" y="931603"/>
                    <a:pt x="12869" y="939162"/>
                    <a:pt x="19168" y="946720"/>
                  </a:cubicBezTo>
                  <a:cubicBezTo>
                    <a:pt x="43105" y="974437"/>
                    <a:pt x="94758" y="981995"/>
                    <a:pt x="137592" y="968137"/>
                  </a:cubicBezTo>
                  <a:cubicBezTo>
                    <a:pt x="306408" y="912705"/>
                    <a:pt x="506720" y="903886"/>
                    <a:pt x="680575" y="947980"/>
                  </a:cubicBezTo>
                  <a:cubicBezTo>
                    <a:pt x="964036" y="1019790"/>
                    <a:pt x="1100096" y="1199945"/>
                    <a:pt x="1129072" y="1197425"/>
                  </a:cubicBezTo>
                  <a:cubicBezTo>
                    <a:pt x="1158048" y="1198685"/>
                    <a:pt x="1297889" y="1008452"/>
                    <a:pt x="1572530" y="939162"/>
                  </a:cubicBezTo>
                  <a:cubicBezTo>
                    <a:pt x="1747646" y="895068"/>
                    <a:pt x="1946698" y="896328"/>
                    <a:pt x="2116774" y="949240"/>
                  </a:cubicBezTo>
                  <a:cubicBezTo>
                    <a:pt x="2159608" y="961838"/>
                    <a:pt x="2211261" y="954279"/>
                    <a:pt x="2233937" y="925303"/>
                  </a:cubicBezTo>
                  <a:cubicBezTo>
                    <a:pt x="2241496" y="916485"/>
                    <a:pt x="2245276" y="905146"/>
                    <a:pt x="2244016" y="893808"/>
                  </a:cubicBezTo>
                  <a:lnTo>
                    <a:pt x="2244016" y="893808"/>
                  </a:lnTo>
                  <a:lnTo>
                    <a:pt x="2235197" y="10137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/>
            <p:cNvSpPr/>
            <p:nvPr/>
          </p:nvSpPr>
          <p:spPr>
            <a:xfrm>
              <a:off x="8273844" y="2214010"/>
              <a:ext cx="1527302" cy="1072543"/>
            </a:xfrm>
            <a:custGeom>
              <a:avLst/>
              <a:gdLst>
                <a:gd name="connsiteX0" fmla="*/ 2236457 w 2242485"/>
                <a:gd name="connsiteY0" fmla="*/ 137226 h 1574779"/>
                <a:gd name="connsiteX1" fmla="*/ 2236457 w 2242485"/>
                <a:gd name="connsiteY1" fmla="*/ 137226 h 1574779"/>
                <a:gd name="connsiteX2" fmla="*/ 2191104 w 2242485"/>
                <a:gd name="connsiteY2" fmla="*/ 74235 h 1574779"/>
                <a:gd name="connsiteX3" fmla="*/ 1513319 w 2242485"/>
                <a:gd name="connsiteY3" fmla="*/ 47779 h 1574779"/>
                <a:gd name="connsiteX4" fmla="*/ 1120254 w 2242485"/>
                <a:gd name="connsiteY4" fmla="*/ 312341 h 1574779"/>
                <a:gd name="connsiteX5" fmla="*/ 720890 w 2242485"/>
                <a:gd name="connsiteY5" fmla="*/ 55338 h 1574779"/>
                <a:gd name="connsiteX6" fmla="*/ 43105 w 2242485"/>
                <a:gd name="connsiteY6" fmla="*/ 94392 h 1574779"/>
                <a:gd name="connsiteX7" fmla="*/ 271 w 2242485"/>
                <a:gd name="connsiteY7" fmla="*/ 166202 h 1574779"/>
                <a:gd name="connsiteX8" fmla="*/ 11609 w 2242485"/>
                <a:gd name="connsiteY8" fmla="*/ 1208076 h 1574779"/>
                <a:gd name="connsiteX9" fmla="*/ 11609 w 2242485"/>
                <a:gd name="connsiteY9" fmla="*/ 1216895 h 1574779"/>
                <a:gd name="connsiteX10" fmla="*/ 11609 w 2242485"/>
                <a:gd name="connsiteY10" fmla="*/ 1218154 h 1574779"/>
                <a:gd name="connsiteX11" fmla="*/ 11609 w 2242485"/>
                <a:gd name="connsiteY11" fmla="*/ 1218154 h 1574779"/>
                <a:gd name="connsiteX12" fmla="*/ 21688 w 2242485"/>
                <a:gd name="connsiteY12" fmla="*/ 1249650 h 1574779"/>
                <a:gd name="connsiteX13" fmla="*/ 140111 w 2242485"/>
                <a:gd name="connsiteY13" fmla="*/ 1278626 h 1574779"/>
                <a:gd name="connsiteX14" fmla="*/ 683095 w 2242485"/>
                <a:gd name="connsiteY14" fmla="*/ 1253430 h 1574779"/>
                <a:gd name="connsiteX15" fmla="*/ 1132852 w 2242485"/>
                <a:gd name="connsiteY15" fmla="*/ 1586023 h 1574779"/>
                <a:gd name="connsiteX16" fmla="*/ 1575050 w 2242485"/>
                <a:gd name="connsiteY16" fmla="*/ 1244611 h 1574779"/>
                <a:gd name="connsiteX17" fmla="*/ 2119294 w 2242485"/>
                <a:gd name="connsiteY17" fmla="*/ 1259729 h 1574779"/>
                <a:gd name="connsiteX18" fmla="*/ 2236457 w 2242485"/>
                <a:gd name="connsiteY18" fmla="*/ 1229493 h 1574779"/>
                <a:gd name="connsiteX19" fmla="*/ 2246536 w 2242485"/>
                <a:gd name="connsiteY19" fmla="*/ 1187919 h 1574779"/>
                <a:gd name="connsiteX20" fmla="*/ 2246536 w 2242485"/>
                <a:gd name="connsiteY20" fmla="*/ 1187919 h 1574779"/>
                <a:gd name="connsiteX21" fmla="*/ 2236457 w 2242485"/>
                <a:gd name="connsiteY21" fmla="*/ 137226 h 1574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574779">
                  <a:moveTo>
                    <a:pt x="2236457" y="137226"/>
                  </a:moveTo>
                  <a:lnTo>
                    <a:pt x="2236457" y="137226"/>
                  </a:lnTo>
                  <a:cubicBezTo>
                    <a:pt x="2235198" y="110770"/>
                    <a:pt x="2218820" y="85573"/>
                    <a:pt x="2191104" y="74235"/>
                  </a:cubicBezTo>
                  <a:cubicBezTo>
                    <a:pt x="1980713" y="-11433"/>
                    <a:pt x="1731268" y="-26551"/>
                    <a:pt x="1513319" y="47779"/>
                  </a:cubicBezTo>
                  <a:cubicBezTo>
                    <a:pt x="1355841" y="100691"/>
                    <a:pt x="1218520" y="193918"/>
                    <a:pt x="1120254" y="312341"/>
                  </a:cubicBezTo>
                  <a:cubicBezTo>
                    <a:pt x="1019468" y="195178"/>
                    <a:pt x="879628" y="105730"/>
                    <a:pt x="720890" y="55338"/>
                  </a:cubicBezTo>
                  <a:cubicBezTo>
                    <a:pt x="500421" y="-15213"/>
                    <a:pt x="252236" y="3685"/>
                    <a:pt x="43105" y="94392"/>
                  </a:cubicBezTo>
                  <a:cubicBezTo>
                    <a:pt x="12869" y="106990"/>
                    <a:pt x="-2249" y="137226"/>
                    <a:pt x="271" y="166202"/>
                  </a:cubicBezTo>
                  <a:lnTo>
                    <a:pt x="11609" y="1208076"/>
                  </a:lnTo>
                  <a:cubicBezTo>
                    <a:pt x="11609" y="1210596"/>
                    <a:pt x="11609" y="1213115"/>
                    <a:pt x="11609" y="1216895"/>
                  </a:cubicBezTo>
                  <a:lnTo>
                    <a:pt x="11609" y="1218154"/>
                  </a:lnTo>
                  <a:lnTo>
                    <a:pt x="11609" y="1218154"/>
                  </a:lnTo>
                  <a:cubicBezTo>
                    <a:pt x="12869" y="1229493"/>
                    <a:pt x="15389" y="1239571"/>
                    <a:pt x="21688" y="1249650"/>
                  </a:cubicBezTo>
                  <a:cubicBezTo>
                    <a:pt x="45625" y="1287445"/>
                    <a:pt x="97277" y="1296264"/>
                    <a:pt x="140111" y="1278626"/>
                  </a:cubicBezTo>
                  <a:cubicBezTo>
                    <a:pt x="308928" y="1205556"/>
                    <a:pt x="507980" y="1194218"/>
                    <a:pt x="683095" y="1253430"/>
                  </a:cubicBezTo>
                  <a:cubicBezTo>
                    <a:pt x="966555" y="1349176"/>
                    <a:pt x="1103876" y="1588543"/>
                    <a:pt x="1132852" y="1586023"/>
                  </a:cubicBezTo>
                  <a:cubicBezTo>
                    <a:pt x="1161828" y="1587283"/>
                    <a:pt x="1300408" y="1336578"/>
                    <a:pt x="1575050" y="1244611"/>
                  </a:cubicBezTo>
                  <a:cubicBezTo>
                    <a:pt x="1750166" y="1186659"/>
                    <a:pt x="1949217" y="1189179"/>
                    <a:pt x="2119294" y="1259729"/>
                  </a:cubicBezTo>
                  <a:cubicBezTo>
                    <a:pt x="2162128" y="1277366"/>
                    <a:pt x="2213780" y="1267288"/>
                    <a:pt x="2236457" y="1229493"/>
                  </a:cubicBezTo>
                  <a:cubicBezTo>
                    <a:pt x="2244016" y="1216895"/>
                    <a:pt x="2246536" y="1203037"/>
                    <a:pt x="2246536" y="1187919"/>
                  </a:cubicBezTo>
                  <a:lnTo>
                    <a:pt x="2246536" y="1187919"/>
                  </a:lnTo>
                  <a:lnTo>
                    <a:pt x="2236457" y="137226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/>
            <p:cNvSpPr/>
            <p:nvPr/>
          </p:nvSpPr>
          <p:spPr>
            <a:xfrm>
              <a:off x="8274703" y="2222491"/>
              <a:ext cx="763651" cy="1063963"/>
            </a:xfrm>
            <a:custGeom>
              <a:avLst/>
              <a:gdLst>
                <a:gd name="connsiteX0" fmla="*/ 1115215 w 1121242"/>
                <a:gd name="connsiteY0" fmla="*/ 294849 h 1562180"/>
                <a:gd name="connsiteX1" fmla="*/ 720890 w 1121242"/>
                <a:gd name="connsiteY1" fmla="*/ 42884 h 1562180"/>
                <a:gd name="connsiteX2" fmla="*/ 43105 w 1121242"/>
                <a:gd name="connsiteY2" fmla="*/ 81939 h 1562180"/>
                <a:gd name="connsiteX3" fmla="*/ 271 w 1121242"/>
                <a:gd name="connsiteY3" fmla="*/ 153749 h 1562180"/>
                <a:gd name="connsiteX4" fmla="*/ 11609 w 1121242"/>
                <a:gd name="connsiteY4" fmla="*/ 1195623 h 1562180"/>
                <a:gd name="connsiteX5" fmla="*/ 11609 w 1121242"/>
                <a:gd name="connsiteY5" fmla="*/ 1204441 h 1562180"/>
                <a:gd name="connsiteX6" fmla="*/ 11609 w 1121242"/>
                <a:gd name="connsiteY6" fmla="*/ 1205701 h 1562180"/>
                <a:gd name="connsiteX7" fmla="*/ 11609 w 1121242"/>
                <a:gd name="connsiteY7" fmla="*/ 1205701 h 1562180"/>
                <a:gd name="connsiteX8" fmla="*/ 21688 w 1121242"/>
                <a:gd name="connsiteY8" fmla="*/ 1237197 h 1562180"/>
                <a:gd name="connsiteX9" fmla="*/ 140111 w 1121242"/>
                <a:gd name="connsiteY9" fmla="*/ 1266173 h 1562180"/>
                <a:gd name="connsiteX10" fmla="*/ 683095 w 1121242"/>
                <a:gd name="connsiteY10" fmla="*/ 1240976 h 1562180"/>
                <a:gd name="connsiteX11" fmla="*/ 1127813 w 1121242"/>
                <a:gd name="connsiteY11" fmla="*/ 1572310 h 1562180"/>
                <a:gd name="connsiteX12" fmla="*/ 1115215 w 1121242"/>
                <a:gd name="connsiteY12" fmla="*/ 294849 h 156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1242" h="1562180">
                  <a:moveTo>
                    <a:pt x="1115215" y="294849"/>
                  </a:moveTo>
                  <a:cubicBezTo>
                    <a:pt x="1014429" y="180205"/>
                    <a:pt x="877108" y="92017"/>
                    <a:pt x="720890" y="42884"/>
                  </a:cubicBezTo>
                  <a:cubicBezTo>
                    <a:pt x="500421" y="-27666"/>
                    <a:pt x="252236" y="-8769"/>
                    <a:pt x="43105" y="81939"/>
                  </a:cubicBezTo>
                  <a:cubicBezTo>
                    <a:pt x="12869" y="94537"/>
                    <a:pt x="-2249" y="124773"/>
                    <a:pt x="271" y="153749"/>
                  </a:cubicBezTo>
                  <a:lnTo>
                    <a:pt x="11609" y="1195623"/>
                  </a:lnTo>
                  <a:cubicBezTo>
                    <a:pt x="11609" y="1198142"/>
                    <a:pt x="11609" y="1200662"/>
                    <a:pt x="11609" y="1204441"/>
                  </a:cubicBezTo>
                  <a:lnTo>
                    <a:pt x="11609" y="1205701"/>
                  </a:lnTo>
                  <a:lnTo>
                    <a:pt x="11609" y="1205701"/>
                  </a:lnTo>
                  <a:cubicBezTo>
                    <a:pt x="12869" y="1217039"/>
                    <a:pt x="15389" y="1227118"/>
                    <a:pt x="21688" y="1237197"/>
                  </a:cubicBezTo>
                  <a:cubicBezTo>
                    <a:pt x="45624" y="1274991"/>
                    <a:pt x="97277" y="1283810"/>
                    <a:pt x="140111" y="1266173"/>
                  </a:cubicBezTo>
                  <a:cubicBezTo>
                    <a:pt x="308928" y="1193103"/>
                    <a:pt x="507980" y="1181764"/>
                    <a:pt x="683095" y="1240976"/>
                  </a:cubicBezTo>
                  <a:cubicBezTo>
                    <a:pt x="953957" y="1331683"/>
                    <a:pt x="1091278" y="1554672"/>
                    <a:pt x="1127813" y="1572310"/>
                  </a:cubicBezTo>
                  <a:lnTo>
                    <a:pt x="1115215" y="29484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/>
            <p:cNvSpPr/>
            <p:nvPr/>
          </p:nvSpPr>
          <p:spPr>
            <a:xfrm>
              <a:off x="9088544" y="2333110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79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/>
            <p:cNvSpPr/>
            <p:nvPr/>
          </p:nvSpPr>
          <p:spPr>
            <a:xfrm>
              <a:off x="9089403" y="2414623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/>
            <p:cNvSpPr/>
            <p:nvPr/>
          </p:nvSpPr>
          <p:spPr>
            <a:xfrm>
              <a:off x="9090261" y="2496136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/>
            <p:cNvSpPr/>
            <p:nvPr/>
          </p:nvSpPr>
          <p:spPr>
            <a:xfrm>
              <a:off x="9091119" y="2577649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/>
            <p:cNvSpPr/>
            <p:nvPr/>
          </p:nvSpPr>
          <p:spPr>
            <a:xfrm>
              <a:off x="9091976" y="2660020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172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/>
            <p:cNvSpPr/>
            <p:nvPr/>
          </p:nvSpPr>
          <p:spPr>
            <a:xfrm>
              <a:off x="9093693" y="2741290"/>
              <a:ext cx="652107" cy="188768"/>
            </a:xfrm>
            <a:custGeom>
              <a:avLst/>
              <a:gdLst>
                <a:gd name="connsiteX0" fmla="*/ 411610 w 957465"/>
                <a:gd name="connsiteY0" fmla="*/ 35784 h 277161"/>
                <a:gd name="connsiteX1" fmla="*/ 2167 w 957465"/>
                <a:gd name="connsiteY1" fmla="*/ 268851 h 277161"/>
                <a:gd name="connsiteX2" fmla="*/ 10986 w 957465"/>
                <a:gd name="connsiteY2" fmla="*/ 278930 h 277161"/>
                <a:gd name="connsiteX3" fmla="*/ 954594 w 957465"/>
                <a:gd name="connsiteY3" fmla="*/ 53421 h 277161"/>
                <a:gd name="connsiteX4" fmla="*/ 958373 w 957465"/>
                <a:gd name="connsiteY4" fmla="*/ 40823 h 277161"/>
                <a:gd name="connsiteX5" fmla="*/ 411610 w 957465"/>
                <a:gd name="connsiteY5" fmla="*/ 35784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7465" h="277161">
                  <a:moveTo>
                    <a:pt x="411610" y="35784"/>
                  </a:moveTo>
                  <a:cubicBezTo>
                    <a:pt x="260431" y="77358"/>
                    <a:pt x="118071" y="155467"/>
                    <a:pt x="2167" y="268851"/>
                  </a:cubicBezTo>
                  <a:cubicBezTo>
                    <a:pt x="-4132" y="275150"/>
                    <a:pt x="4687" y="283969"/>
                    <a:pt x="10986" y="278930"/>
                  </a:cubicBezTo>
                  <a:cubicBezTo>
                    <a:pt x="260431" y="34524"/>
                    <a:pt x="627039" y="-42325"/>
                    <a:pt x="954594" y="53421"/>
                  </a:cubicBezTo>
                  <a:cubicBezTo>
                    <a:pt x="962153" y="55941"/>
                    <a:pt x="965932" y="43343"/>
                    <a:pt x="958373" y="40823"/>
                  </a:cubicBezTo>
                  <a:cubicBezTo>
                    <a:pt x="778218" y="-12089"/>
                    <a:pt x="587985" y="-13349"/>
                    <a:pt x="411610" y="35784"/>
                  </a:cubicBezTo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/>
            <p:cNvSpPr/>
            <p:nvPr/>
          </p:nvSpPr>
          <p:spPr>
            <a:xfrm>
              <a:off x="9093693" y="2823047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/>
            <p:cNvSpPr/>
            <p:nvPr/>
          </p:nvSpPr>
          <p:spPr>
            <a:xfrm>
              <a:off x="9094551" y="2904561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/>
            <p:cNvSpPr/>
            <p:nvPr/>
          </p:nvSpPr>
          <p:spPr>
            <a:xfrm>
              <a:off x="8328711" y="2342139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/>
            <p:cNvSpPr/>
            <p:nvPr/>
          </p:nvSpPr>
          <p:spPr>
            <a:xfrm>
              <a:off x="8329569" y="2423652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/>
            <p:cNvSpPr/>
            <p:nvPr/>
          </p:nvSpPr>
          <p:spPr>
            <a:xfrm>
              <a:off x="8330428" y="2506024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/>
            <p:cNvSpPr/>
            <p:nvPr/>
          </p:nvSpPr>
          <p:spPr>
            <a:xfrm>
              <a:off x="8331286" y="2587537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5947"/>
                    <a:pt x="33419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/>
            <p:cNvSpPr/>
            <p:nvPr/>
          </p:nvSpPr>
          <p:spPr>
            <a:xfrm>
              <a:off x="8332143" y="2669050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/>
            <p:cNvSpPr/>
            <p:nvPr/>
          </p:nvSpPr>
          <p:spPr>
            <a:xfrm>
              <a:off x="8333001" y="2750563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/>
            <p:cNvSpPr/>
            <p:nvPr/>
          </p:nvSpPr>
          <p:spPr>
            <a:xfrm>
              <a:off x="8333859" y="2832077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/>
            <p:cNvSpPr/>
            <p:nvPr/>
          </p:nvSpPr>
          <p:spPr>
            <a:xfrm>
              <a:off x="8334718" y="2913590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/>
            <p:cNvSpPr/>
            <p:nvPr/>
          </p:nvSpPr>
          <p:spPr>
            <a:xfrm>
              <a:off x="9717244" y="3993509"/>
              <a:ext cx="248830" cy="892356"/>
            </a:xfrm>
            <a:custGeom>
              <a:avLst/>
              <a:gdLst>
                <a:gd name="connsiteX0" fmla="*/ 365349 w 365348"/>
                <a:gd name="connsiteY0" fmla="*/ 88188 h 1310216"/>
                <a:gd name="connsiteX1" fmla="*/ 365349 w 365348"/>
                <a:gd name="connsiteY1" fmla="*/ 0 h 1310216"/>
                <a:gd name="connsiteX2" fmla="*/ 357790 w 365348"/>
                <a:gd name="connsiteY2" fmla="*/ 7559 h 1310216"/>
                <a:gd name="connsiteX3" fmla="*/ 355270 w 365348"/>
                <a:gd name="connsiteY3" fmla="*/ 10079 h 1310216"/>
                <a:gd name="connsiteX4" fmla="*/ 352751 w 365348"/>
                <a:gd name="connsiteY4" fmla="*/ 12598 h 1310216"/>
                <a:gd name="connsiteX5" fmla="*/ 352751 w 365348"/>
                <a:gd name="connsiteY5" fmla="*/ 13858 h 1310216"/>
                <a:gd name="connsiteX6" fmla="*/ 352751 w 365348"/>
                <a:gd name="connsiteY6" fmla="*/ 12598 h 1310216"/>
                <a:gd name="connsiteX7" fmla="*/ 336373 w 365348"/>
                <a:gd name="connsiteY7" fmla="*/ 32755 h 1310216"/>
                <a:gd name="connsiteX8" fmla="*/ 325035 w 365348"/>
                <a:gd name="connsiteY8" fmla="*/ 47873 h 1310216"/>
                <a:gd name="connsiteX9" fmla="*/ 314956 w 365348"/>
                <a:gd name="connsiteY9" fmla="*/ 62991 h 1310216"/>
                <a:gd name="connsiteX10" fmla="*/ 307397 w 365348"/>
                <a:gd name="connsiteY10" fmla="*/ 76849 h 1310216"/>
                <a:gd name="connsiteX11" fmla="*/ 307397 w 365348"/>
                <a:gd name="connsiteY11" fmla="*/ 76849 h 1310216"/>
                <a:gd name="connsiteX12" fmla="*/ 302358 w 365348"/>
                <a:gd name="connsiteY12" fmla="*/ 85668 h 1310216"/>
                <a:gd name="connsiteX13" fmla="*/ 299838 w 365348"/>
                <a:gd name="connsiteY13" fmla="*/ 90707 h 1310216"/>
                <a:gd name="connsiteX14" fmla="*/ 299838 w 365348"/>
                <a:gd name="connsiteY14" fmla="*/ 90707 h 1310216"/>
                <a:gd name="connsiteX15" fmla="*/ 298578 w 365348"/>
                <a:gd name="connsiteY15" fmla="*/ 93227 h 1310216"/>
                <a:gd name="connsiteX16" fmla="*/ 292279 w 365348"/>
                <a:gd name="connsiteY16" fmla="*/ 107085 h 1310216"/>
                <a:gd name="connsiteX17" fmla="*/ 292279 w 365348"/>
                <a:gd name="connsiteY17" fmla="*/ 107085 h 1310216"/>
                <a:gd name="connsiteX18" fmla="*/ 292279 w 365348"/>
                <a:gd name="connsiteY18" fmla="*/ 108345 h 1310216"/>
                <a:gd name="connsiteX19" fmla="*/ 289759 w 365348"/>
                <a:gd name="connsiteY19" fmla="*/ 117164 h 1310216"/>
                <a:gd name="connsiteX20" fmla="*/ 289759 w 365348"/>
                <a:gd name="connsiteY20" fmla="*/ 118424 h 1310216"/>
                <a:gd name="connsiteX21" fmla="*/ 289759 w 365348"/>
                <a:gd name="connsiteY21" fmla="*/ 118424 h 1310216"/>
                <a:gd name="connsiteX22" fmla="*/ 287240 w 365348"/>
                <a:gd name="connsiteY22" fmla="*/ 125982 h 1310216"/>
                <a:gd name="connsiteX23" fmla="*/ 287240 w 365348"/>
                <a:gd name="connsiteY23" fmla="*/ 131022 h 1310216"/>
                <a:gd name="connsiteX24" fmla="*/ 287240 w 365348"/>
                <a:gd name="connsiteY24" fmla="*/ 133541 h 1310216"/>
                <a:gd name="connsiteX25" fmla="*/ 287240 w 365348"/>
                <a:gd name="connsiteY25" fmla="*/ 136061 h 1310216"/>
                <a:gd name="connsiteX26" fmla="*/ 287240 w 365348"/>
                <a:gd name="connsiteY26" fmla="*/ 141100 h 1310216"/>
                <a:gd name="connsiteX27" fmla="*/ 287240 w 365348"/>
                <a:gd name="connsiteY27" fmla="*/ 141100 h 1310216"/>
                <a:gd name="connsiteX28" fmla="*/ 287240 w 365348"/>
                <a:gd name="connsiteY28" fmla="*/ 141100 h 1310216"/>
                <a:gd name="connsiteX29" fmla="*/ 287240 w 365348"/>
                <a:gd name="connsiteY29" fmla="*/ 143620 h 1310216"/>
                <a:gd name="connsiteX30" fmla="*/ 287240 w 365348"/>
                <a:gd name="connsiteY30" fmla="*/ 149919 h 1310216"/>
                <a:gd name="connsiteX31" fmla="*/ 287240 w 365348"/>
                <a:gd name="connsiteY31" fmla="*/ 152439 h 1310216"/>
                <a:gd name="connsiteX32" fmla="*/ 287240 w 365348"/>
                <a:gd name="connsiteY32" fmla="*/ 159998 h 1310216"/>
                <a:gd name="connsiteX33" fmla="*/ 291019 w 365348"/>
                <a:gd name="connsiteY33" fmla="*/ 177635 h 1310216"/>
                <a:gd name="connsiteX34" fmla="*/ 291019 w 365348"/>
                <a:gd name="connsiteY34" fmla="*/ 178895 h 1310216"/>
                <a:gd name="connsiteX35" fmla="*/ 294799 w 365348"/>
                <a:gd name="connsiteY35" fmla="*/ 188974 h 1310216"/>
                <a:gd name="connsiteX36" fmla="*/ 298578 w 365348"/>
                <a:gd name="connsiteY36" fmla="*/ 197792 h 1310216"/>
                <a:gd name="connsiteX37" fmla="*/ 301098 w 365348"/>
                <a:gd name="connsiteY37" fmla="*/ 201572 h 1310216"/>
                <a:gd name="connsiteX38" fmla="*/ 302358 w 365348"/>
                <a:gd name="connsiteY38" fmla="*/ 204092 h 1310216"/>
                <a:gd name="connsiteX39" fmla="*/ 302358 w 365348"/>
                <a:gd name="connsiteY39" fmla="*/ 205351 h 1310216"/>
                <a:gd name="connsiteX40" fmla="*/ 308657 w 365348"/>
                <a:gd name="connsiteY40" fmla="*/ 212910 h 1310216"/>
                <a:gd name="connsiteX41" fmla="*/ 308657 w 365348"/>
                <a:gd name="connsiteY41" fmla="*/ 212910 h 1310216"/>
                <a:gd name="connsiteX42" fmla="*/ 311177 w 365348"/>
                <a:gd name="connsiteY42" fmla="*/ 215430 h 1310216"/>
                <a:gd name="connsiteX43" fmla="*/ 314956 w 365348"/>
                <a:gd name="connsiteY43" fmla="*/ 217949 h 1310216"/>
                <a:gd name="connsiteX44" fmla="*/ 316216 w 365348"/>
                <a:gd name="connsiteY44" fmla="*/ 217949 h 1310216"/>
                <a:gd name="connsiteX45" fmla="*/ 318736 w 365348"/>
                <a:gd name="connsiteY45" fmla="*/ 219209 h 1310216"/>
                <a:gd name="connsiteX46" fmla="*/ 326294 w 365348"/>
                <a:gd name="connsiteY46" fmla="*/ 222989 h 1310216"/>
                <a:gd name="connsiteX47" fmla="*/ 326294 w 365348"/>
                <a:gd name="connsiteY47" fmla="*/ 222989 h 1310216"/>
                <a:gd name="connsiteX48" fmla="*/ 335113 w 365348"/>
                <a:gd name="connsiteY48" fmla="*/ 225508 h 1310216"/>
                <a:gd name="connsiteX49" fmla="*/ 335113 w 365348"/>
                <a:gd name="connsiteY49" fmla="*/ 225508 h 1310216"/>
                <a:gd name="connsiteX50" fmla="*/ 335113 w 365348"/>
                <a:gd name="connsiteY50" fmla="*/ 225508 h 1310216"/>
                <a:gd name="connsiteX51" fmla="*/ 335113 w 365348"/>
                <a:gd name="connsiteY51" fmla="*/ 225508 h 1310216"/>
                <a:gd name="connsiteX52" fmla="*/ 335113 w 365348"/>
                <a:gd name="connsiteY52" fmla="*/ 225508 h 1310216"/>
                <a:gd name="connsiteX53" fmla="*/ 335113 w 365348"/>
                <a:gd name="connsiteY53" fmla="*/ 225508 h 1310216"/>
                <a:gd name="connsiteX54" fmla="*/ 335113 w 365348"/>
                <a:gd name="connsiteY54" fmla="*/ 225508 h 1310216"/>
                <a:gd name="connsiteX55" fmla="*/ 335113 w 365348"/>
                <a:gd name="connsiteY55" fmla="*/ 225508 h 1310216"/>
                <a:gd name="connsiteX56" fmla="*/ 335113 w 365348"/>
                <a:gd name="connsiteY56" fmla="*/ 225508 h 1310216"/>
                <a:gd name="connsiteX57" fmla="*/ 335113 w 365348"/>
                <a:gd name="connsiteY57" fmla="*/ 225508 h 1310216"/>
                <a:gd name="connsiteX58" fmla="*/ 333853 w 365348"/>
                <a:gd name="connsiteY58" fmla="*/ 225508 h 1310216"/>
                <a:gd name="connsiteX59" fmla="*/ 332593 w 365348"/>
                <a:gd name="connsiteY59" fmla="*/ 225508 h 1310216"/>
                <a:gd name="connsiteX60" fmla="*/ 328814 w 365348"/>
                <a:gd name="connsiteY60" fmla="*/ 225508 h 1310216"/>
                <a:gd name="connsiteX61" fmla="*/ 323775 w 365348"/>
                <a:gd name="connsiteY61" fmla="*/ 225508 h 1310216"/>
                <a:gd name="connsiteX62" fmla="*/ 303617 w 365348"/>
                <a:gd name="connsiteY62" fmla="*/ 226768 h 1310216"/>
                <a:gd name="connsiteX63" fmla="*/ 275901 w 365348"/>
                <a:gd name="connsiteY63" fmla="*/ 226768 h 1310216"/>
                <a:gd name="connsiteX64" fmla="*/ 268343 w 365348"/>
                <a:gd name="connsiteY64" fmla="*/ 226768 h 1310216"/>
                <a:gd name="connsiteX65" fmla="*/ 265823 w 365348"/>
                <a:gd name="connsiteY65" fmla="*/ 226768 h 1310216"/>
                <a:gd name="connsiteX66" fmla="*/ 265823 w 365348"/>
                <a:gd name="connsiteY66" fmla="*/ 226768 h 1310216"/>
                <a:gd name="connsiteX67" fmla="*/ 259524 w 365348"/>
                <a:gd name="connsiteY67" fmla="*/ 226768 h 1310216"/>
                <a:gd name="connsiteX68" fmla="*/ 250705 w 365348"/>
                <a:gd name="connsiteY68" fmla="*/ 226768 h 1310216"/>
                <a:gd name="connsiteX69" fmla="*/ 245666 w 365348"/>
                <a:gd name="connsiteY69" fmla="*/ 226768 h 1310216"/>
                <a:gd name="connsiteX70" fmla="*/ 245666 w 365348"/>
                <a:gd name="connsiteY70" fmla="*/ 226768 h 1310216"/>
                <a:gd name="connsiteX71" fmla="*/ 245666 w 365348"/>
                <a:gd name="connsiteY71" fmla="*/ 226768 h 1310216"/>
                <a:gd name="connsiteX72" fmla="*/ 233067 w 365348"/>
                <a:gd name="connsiteY72" fmla="*/ 226768 h 1310216"/>
                <a:gd name="connsiteX73" fmla="*/ 226768 w 365348"/>
                <a:gd name="connsiteY73" fmla="*/ 226768 h 1310216"/>
                <a:gd name="connsiteX74" fmla="*/ 225508 w 365348"/>
                <a:gd name="connsiteY74" fmla="*/ 226768 h 1310216"/>
                <a:gd name="connsiteX75" fmla="*/ 214170 w 365348"/>
                <a:gd name="connsiteY75" fmla="*/ 226768 h 1310216"/>
                <a:gd name="connsiteX76" fmla="*/ 209131 w 365348"/>
                <a:gd name="connsiteY76" fmla="*/ 226768 h 1310216"/>
                <a:gd name="connsiteX77" fmla="*/ 207871 w 365348"/>
                <a:gd name="connsiteY77" fmla="*/ 226768 h 1310216"/>
                <a:gd name="connsiteX78" fmla="*/ 207871 w 365348"/>
                <a:gd name="connsiteY78" fmla="*/ 226768 h 1310216"/>
                <a:gd name="connsiteX79" fmla="*/ 207871 w 365348"/>
                <a:gd name="connsiteY79" fmla="*/ 226768 h 1310216"/>
                <a:gd name="connsiteX80" fmla="*/ 196533 w 365348"/>
                <a:gd name="connsiteY80" fmla="*/ 226768 h 1310216"/>
                <a:gd name="connsiteX81" fmla="*/ 188973 w 365348"/>
                <a:gd name="connsiteY81" fmla="*/ 226768 h 1310216"/>
                <a:gd name="connsiteX82" fmla="*/ 178895 w 365348"/>
                <a:gd name="connsiteY82" fmla="*/ 226768 h 1310216"/>
                <a:gd name="connsiteX83" fmla="*/ 161258 w 365348"/>
                <a:gd name="connsiteY83" fmla="*/ 225508 h 1310216"/>
                <a:gd name="connsiteX84" fmla="*/ 159998 w 365348"/>
                <a:gd name="connsiteY84" fmla="*/ 225508 h 1310216"/>
                <a:gd name="connsiteX85" fmla="*/ 151179 w 365348"/>
                <a:gd name="connsiteY85" fmla="*/ 224249 h 1310216"/>
                <a:gd name="connsiteX86" fmla="*/ 149919 w 365348"/>
                <a:gd name="connsiteY86" fmla="*/ 224249 h 1310216"/>
                <a:gd name="connsiteX87" fmla="*/ 149919 w 365348"/>
                <a:gd name="connsiteY87" fmla="*/ 224249 h 1310216"/>
                <a:gd name="connsiteX88" fmla="*/ 143620 w 365348"/>
                <a:gd name="connsiteY88" fmla="*/ 222989 h 1310216"/>
                <a:gd name="connsiteX89" fmla="*/ 141100 w 365348"/>
                <a:gd name="connsiteY89" fmla="*/ 222989 h 1310216"/>
                <a:gd name="connsiteX90" fmla="*/ 133541 w 365348"/>
                <a:gd name="connsiteY90" fmla="*/ 222989 h 1310216"/>
                <a:gd name="connsiteX91" fmla="*/ 127242 w 365348"/>
                <a:gd name="connsiteY91" fmla="*/ 222989 h 1310216"/>
                <a:gd name="connsiteX92" fmla="*/ 125982 w 365348"/>
                <a:gd name="connsiteY92" fmla="*/ 222989 h 1310216"/>
                <a:gd name="connsiteX93" fmla="*/ 124722 w 365348"/>
                <a:gd name="connsiteY93" fmla="*/ 222989 h 1310216"/>
                <a:gd name="connsiteX94" fmla="*/ 120943 w 365348"/>
                <a:gd name="connsiteY94" fmla="*/ 222989 h 1310216"/>
                <a:gd name="connsiteX95" fmla="*/ 120943 w 365348"/>
                <a:gd name="connsiteY95" fmla="*/ 222989 h 1310216"/>
                <a:gd name="connsiteX96" fmla="*/ 115904 w 365348"/>
                <a:gd name="connsiteY96" fmla="*/ 222989 h 1310216"/>
                <a:gd name="connsiteX97" fmla="*/ 109605 w 365348"/>
                <a:gd name="connsiteY97" fmla="*/ 222989 h 1310216"/>
                <a:gd name="connsiteX98" fmla="*/ 107085 w 365348"/>
                <a:gd name="connsiteY98" fmla="*/ 222989 h 1310216"/>
                <a:gd name="connsiteX99" fmla="*/ 107085 w 365348"/>
                <a:gd name="connsiteY99" fmla="*/ 222989 h 1310216"/>
                <a:gd name="connsiteX100" fmla="*/ 105825 w 365348"/>
                <a:gd name="connsiteY100" fmla="*/ 222989 h 1310216"/>
                <a:gd name="connsiteX101" fmla="*/ 95747 w 365348"/>
                <a:gd name="connsiteY101" fmla="*/ 222989 h 1310216"/>
                <a:gd name="connsiteX102" fmla="*/ 86928 w 365348"/>
                <a:gd name="connsiteY102" fmla="*/ 222989 h 1310216"/>
                <a:gd name="connsiteX103" fmla="*/ 86928 w 365348"/>
                <a:gd name="connsiteY103" fmla="*/ 222989 h 1310216"/>
                <a:gd name="connsiteX104" fmla="*/ 85668 w 365348"/>
                <a:gd name="connsiteY104" fmla="*/ 222989 h 1310216"/>
                <a:gd name="connsiteX105" fmla="*/ 78109 w 365348"/>
                <a:gd name="connsiteY105" fmla="*/ 222989 h 1310216"/>
                <a:gd name="connsiteX106" fmla="*/ 78109 w 365348"/>
                <a:gd name="connsiteY106" fmla="*/ 222989 h 1310216"/>
                <a:gd name="connsiteX107" fmla="*/ 78109 w 365348"/>
                <a:gd name="connsiteY107" fmla="*/ 222989 h 1310216"/>
                <a:gd name="connsiteX108" fmla="*/ 49133 w 365348"/>
                <a:gd name="connsiteY108" fmla="*/ 224249 h 1310216"/>
                <a:gd name="connsiteX109" fmla="*/ 31496 w 365348"/>
                <a:gd name="connsiteY109" fmla="*/ 224249 h 1310216"/>
                <a:gd name="connsiteX110" fmla="*/ 30236 w 365348"/>
                <a:gd name="connsiteY110" fmla="*/ 224249 h 1310216"/>
                <a:gd name="connsiteX111" fmla="*/ 28976 w 365348"/>
                <a:gd name="connsiteY111" fmla="*/ 224249 h 1310216"/>
                <a:gd name="connsiteX112" fmla="*/ 28976 w 365348"/>
                <a:gd name="connsiteY112" fmla="*/ 224249 h 1310216"/>
                <a:gd name="connsiteX113" fmla="*/ 27716 w 365348"/>
                <a:gd name="connsiteY113" fmla="*/ 224249 h 1310216"/>
                <a:gd name="connsiteX114" fmla="*/ 22677 w 365348"/>
                <a:gd name="connsiteY114" fmla="*/ 224249 h 1310216"/>
                <a:gd name="connsiteX115" fmla="*/ 18897 w 365348"/>
                <a:gd name="connsiteY115" fmla="*/ 224249 h 1310216"/>
                <a:gd name="connsiteX116" fmla="*/ 15118 w 365348"/>
                <a:gd name="connsiteY116" fmla="*/ 224249 h 1310216"/>
                <a:gd name="connsiteX117" fmla="*/ 15118 w 365348"/>
                <a:gd name="connsiteY117" fmla="*/ 224249 h 1310216"/>
                <a:gd name="connsiteX118" fmla="*/ 12598 w 365348"/>
                <a:gd name="connsiteY118" fmla="*/ 222989 h 1310216"/>
                <a:gd name="connsiteX119" fmla="*/ 10079 w 365348"/>
                <a:gd name="connsiteY119" fmla="*/ 221729 h 1310216"/>
                <a:gd name="connsiteX120" fmla="*/ 7559 w 365348"/>
                <a:gd name="connsiteY120" fmla="*/ 219209 h 1310216"/>
                <a:gd name="connsiteX121" fmla="*/ 7559 w 365348"/>
                <a:gd name="connsiteY121" fmla="*/ 248185 h 1310216"/>
                <a:gd name="connsiteX122" fmla="*/ 7559 w 365348"/>
                <a:gd name="connsiteY122" fmla="*/ 275901 h 1310216"/>
                <a:gd name="connsiteX123" fmla="*/ 7559 w 365348"/>
                <a:gd name="connsiteY123" fmla="*/ 288500 h 1310216"/>
                <a:gd name="connsiteX124" fmla="*/ 7559 w 365348"/>
                <a:gd name="connsiteY124" fmla="*/ 328814 h 1310216"/>
                <a:gd name="connsiteX125" fmla="*/ 7559 w 365348"/>
                <a:gd name="connsiteY125" fmla="*/ 369128 h 1310216"/>
                <a:gd name="connsiteX126" fmla="*/ 7559 w 365348"/>
                <a:gd name="connsiteY126" fmla="*/ 385506 h 1310216"/>
                <a:gd name="connsiteX127" fmla="*/ 7559 w 365348"/>
                <a:gd name="connsiteY127" fmla="*/ 411962 h 1310216"/>
                <a:gd name="connsiteX128" fmla="*/ 7559 w 365348"/>
                <a:gd name="connsiteY128" fmla="*/ 414482 h 1310216"/>
                <a:gd name="connsiteX129" fmla="*/ 7559 w 365348"/>
                <a:gd name="connsiteY129" fmla="*/ 432119 h 1310216"/>
                <a:gd name="connsiteX130" fmla="*/ 6299 w 365348"/>
                <a:gd name="connsiteY130" fmla="*/ 454796 h 1310216"/>
                <a:gd name="connsiteX131" fmla="*/ 6299 w 365348"/>
                <a:gd name="connsiteY131" fmla="*/ 459836 h 1310216"/>
                <a:gd name="connsiteX132" fmla="*/ 6299 w 365348"/>
                <a:gd name="connsiteY132" fmla="*/ 473694 h 1310216"/>
                <a:gd name="connsiteX133" fmla="*/ 6299 w 365348"/>
                <a:gd name="connsiteY133" fmla="*/ 482512 h 1310216"/>
                <a:gd name="connsiteX134" fmla="*/ 6299 w 365348"/>
                <a:gd name="connsiteY134" fmla="*/ 495111 h 1310216"/>
                <a:gd name="connsiteX135" fmla="*/ 5039 w 365348"/>
                <a:gd name="connsiteY135" fmla="*/ 536685 h 1310216"/>
                <a:gd name="connsiteX136" fmla="*/ 3780 w 365348"/>
                <a:gd name="connsiteY136" fmla="*/ 569440 h 1310216"/>
                <a:gd name="connsiteX137" fmla="*/ 3780 w 365348"/>
                <a:gd name="connsiteY137" fmla="*/ 578259 h 1310216"/>
                <a:gd name="connsiteX138" fmla="*/ 2520 w 365348"/>
                <a:gd name="connsiteY138" fmla="*/ 599676 h 1310216"/>
                <a:gd name="connsiteX139" fmla="*/ 1260 w 365348"/>
                <a:gd name="connsiteY139" fmla="*/ 621093 h 1310216"/>
                <a:gd name="connsiteX140" fmla="*/ 1260 w 365348"/>
                <a:gd name="connsiteY140" fmla="*/ 637471 h 1310216"/>
                <a:gd name="connsiteX141" fmla="*/ 0 w 365348"/>
                <a:gd name="connsiteY141" fmla="*/ 660147 h 1310216"/>
                <a:gd name="connsiteX142" fmla="*/ 0 w 365348"/>
                <a:gd name="connsiteY142" fmla="*/ 702982 h 1310216"/>
                <a:gd name="connsiteX143" fmla="*/ 0 w 365348"/>
                <a:gd name="connsiteY143" fmla="*/ 735737 h 1310216"/>
                <a:gd name="connsiteX144" fmla="*/ 0 w 365348"/>
                <a:gd name="connsiteY144" fmla="*/ 745816 h 1310216"/>
                <a:gd name="connsiteX145" fmla="*/ 1260 w 365348"/>
                <a:gd name="connsiteY145" fmla="*/ 825184 h 1310216"/>
                <a:gd name="connsiteX146" fmla="*/ 1260 w 365348"/>
                <a:gd name="connsiteY146" fmla="*/ 832743 h 1310216"/>
                <a:gd name="connsiteX147" fmla="*/ 1260 w 365348"/>
                <a:gd name="connsiteY147" fmla="*/ 846601 h 1310216"/>
                <a:gd name="connsiteX148" fmla="*/ 1260 w 365348"/>
                <a:gd name="connsiteY148" fmla="*/ 850381 h 1310216"/>
                <a:gd name="connsiteX149" fmla="*/ 1260 w 365348"/>
                <a:gd name="connsiteY149" fmla="*/ 865499 h 1310216"/>
                <a:gd name="connsiteX150" fmla="*/ 1260 w 365348"/>
                <a:gd name="connsiteY150" fmla="*/ 870538 h 1310216"/>
                <a:gd name="connsiteX151" fmla="*/ 0 w 365348"/>
                <a:gd name="connsiteY151" fmla="*/ 908333 h 1310216"/>
                <a:gd name="connsiteX152" fmla="*/ 0 w 365348"/>
                <a:gd name="connsiteY152" fmla="*/ 942348 h 1310216"/>
                <a:gd name="connsiteX153" fmla="*/ 0 w 365348"/>
                <a:gd name="connsiteY153" fmla="*/ 947387 h 1310216"/>
                <a:gd name="connsiteX154" fmla="*/ 0 w 365348"/>
                <a:gd name="connsiteY154" fmla="*/ 987701 h 1310216"/>
                <a:gd name="connsiteX155" fmla="*/ 1260 w 365348"/>
                <a:gd name="connsiteY155" fmla="*/ 1021717 h 1310216"/>
                <a:gd name="connsiteX156" fmla="*/ 2520 w 365348"/>
                <a:gd name="connsiteY156" fmla="*/ 1068330 h 1310216"/>
                <a:gd name="connsiteX157" fmla="*/ 3780 w 365348"/>
                <a:gd name="connsiteY157" fmla="*/ 1159037 h 1310216"/>
                <a:gd name="connsiteX158" fmla="*/ 5039 w 365348"/>
                <a:gd name="connsiteY158" fmla="*/ 1227068 h 1310216"/>
                <a:gd name="connsiteX159" fmla="*/ 6299 w 365348"/>
                <a:gd name="connsiteY159" fmla="*/ 1245965 h 1310216"/>
                <a:gd name="connsiteX160" fmla="*/ 7559 w 365348"/>
                <a:gd name="connsiteY160" fmla="*/ 1256044 h 1310216"/>
                <a:gd name="connsiteX161" fmla="*/ 8819 w 365348"/>
                <a:gd name="connsiteY161" fmla="*/ 1264863 h 1310216"/>
                <a:gd name="connsiteX162" fmla="*/ 11338 w 365348"/>
                <a:gd name="connsiteY162" fmla="*/ 1283760 h 1310216"/>
                <a:gd name="connsiteX163" fmla="*/ 11338 w 365348"/>
                <a:gd name="connsiteY163" fmla="*/ 1283760 h 1310216"/>
                <a:gd name="connsiteX164" fmla="*/ 11338 w 365348"/>
                <a:gd name="connsiteY164" fmla="*/ 1287540 h 1310216"/>
                <a:gd name="connsiteX165" fmla="*/ 12598 w 365348"/>
                <a:gd name="connsiteY165" fmla="*/ 1291319 h 1310216"/>
                <a:gd name="connsiteX166" fmla="*/ 12598 w 365348"/>
                <a:gd name="connsiteY166" fmla="*/ 1292579 h 1310216"/>
                <a:gd name="connsiteX167" fmla="*/ 12598 w 365348"/>
                <a:gd name="connsiteY167" fmla="*/ 1293839 h 1310216"/>
                <a:gd name="connsiteX168" fmla="*/ 15118 w 365348"/>
                <a:gd name="connsiteY168" fmla="*/ 1297618 h 1310216"/>
                <a:gd name="connsiteX169" fmla="*/ 15118 w 365348"/>
                <a:gd name="connsiteY169" fmla="*/ 1298878 h 1310216"/>
                <a:gd name="connsiteX170" fmla="*/ 15118 w 365348"/>
                <a:gd name="connsiteY170" fmla="*/ 1300138 h 1310216"/>
                <a:gd name="connsiteX171" fmla="*/ 17637 w 365348"/>
                <a:gd name="connsiteY171" fmla="*/ 1302657 h 1310216"/>
                <a:gd name="connsiteX172" fmla="*/ 18897 w 365348"/>
                <a:gd name="connsiteY172" fmla="*/ 1303917 h 1310216"/>
                <a:gd name="connsiteX173" fmla="*/ 20157 w 365348"/>
                <a:gd name="connsiteY173" fmla="*/ 1303917 h 1310216"/>
                <a:gd name="connsiteX174" fmla="*/ 22677 w 365348"/>
                <a:gd name="connsiteY174" fmla="*/ 1305177 h 1310216"/>
                <a:gd name="connsiteX175" fmla="*/ 22677 w 365348"/>
                <a:gd name="connsiteY175" fmla="*/ 1305177 h 1310216"/>
                <a:gd name="connsiteX176" fmla="*/ 23937 w 365348"/>
                <a:gd name="connsiteY176" fmla="*/ 1305177 h 1310216"/>
                <a:gd name="connsiteX177" fmla="*/ 27716 w 365348"/>
                <a:gd name="connsiteY177" fmla="*/ 1306437 h 1310216"/>
                <a:gd name="connsiteX178" fmla="*/ 28976 w 365348"/>
                <a:gd name="connsiteY178" fmla="*/ 1306437 h 1310216"/>
                <a:gd name="connsiteX179" fmla="*/ 32755 w 365348"/>
                <a:gd name="connsiteY179" fmla="*/ 1306437 h 1310216"/>
                <a:gd name="connsiteX180" fmla="*/ 42834 w 365348"/>
                <a:gd name="connsiteY180" fmla="*/ 1307697 h 1310216"/>
                <a:gd name="connsiteX181" fmla="*/ 49133 w 365348"/>
                <a:gd name="connsiteY181" fmla="*/ 1307697 h 1310216"/>
                <a:gd name="connsiteX182" fmla="*/ 51653 w 365348"/>
                <a:gd name="connsiteY182" fmla="*/ 1307697 h 1310216"/>
                <a:gd name="connsiteX183" fmla="*/ 68030 w 365348"/>
                <a:gd name="connsiteY183" fmla="*/ 1307697 h 1310216"/>
                <a:gd name="connsiteX184" fmla="*/ 84408 w 365348"/>
                <a:gd name="connsiteY184" fmla="*/ 1306437 h 1310216"/>
                <a:gd name="connsiteX185" fmla="*/ 86928 w 365348"/>
                <a:gd name="connsiteY185" fmla="*/ 1306437 h 1310216"/>
                <a:gd name="connsiteX186" fmla="*/ 86928 w 365348"/>
                <a:gd name="connsiteY186" fmla="*/ 1306437 h 1310216"/>
                <a:gd name="connsiteX187" fmla="*/ 90707 w 365348"/>
                <a:gd name="connsiteY187" fmla="*/ 1305177 h 1310216"/>
                <a:gd name="connsiteX188" fmla="*/ 93227 w 365348"/>
                <a:gd name="connsiteY188" fmla="*/ 1303917 h 1310216"/>
                <a:gd name="connsiteX189" fmla="*/ 94487 w 365348"/>
                <a:gd name="connsiteY189" fmla="*/ 1302657 h 1310216"/>
                <a:gd name="connsiteX190" fmla="*/ 98266 w 365348"/>
                <a:gd name="connsiteY190" fmla="*/ 1298878 h 1310216"/>
                <a:gd name="connsiteX191" fmla="*/ 100786 w 365348"/>
                <a:gd name="connsiteY191" fmla="*/ 1295099 h 1310216"/>
                <a:gd name="connsiteX192" fmla="*/ 102046 w 365348"/>
                <a:gd name="connsiteY192" fmla="*/ 1290059 h 1310216"/>
                <a:gd name="connsiteX193" fmla="*/ 102046 w 365348"/>
                <a:gd name="connsiteY193" fmla="*/ 1288800 h 1310216"/>
                <a:gd name="connsiteX194" fmla="*/ 103306 w 365348"/>
                <a:gd name="connsiteY194" fmla="*/ 1283760 h 1310216"/>
                <a:gd name="connsiteX195" fmla="*/ 104566 w 365348"/>
                <a:gd name="connsiteY195" fmla="*/ 1272422 h 1310216"/>
                <a:gd name="connsiteX196" fmla="*/ 104566 w 365348"/>
                <a:gd name="connsiteY196" fmla="*/ 1269902 h 1310216"/>
                <a:gd name="connsiteX197" fmla="*/ 105825 w 365348"/>
                <a:gd name="connsiteY197" fmla="*/ 1261083 h 1310216"/>
                <a:gd name="connsiteX198" fmla="*/ 108345 w 365348"/>
                <a:gd name="connsiteY198" fmla="*/ 1238407 h 1310216"/>
                <a:gd name="connsiteX199" fmla="*/ 108345 w 365348"/>
                <a:gd name="connsiteY199" fmla="*/ 1230848 h 1310216"/>
                <a:gd name="connsiteX200" fmla="*/ 109605 w 365348"/>
                <a:gd name="connsiteY200" fmla="*/ 1219509 h 1310216"/>
                <a:gd name="connsiteX201" fmla="*/ 109605 w 365348"/>
                <a:gd name="connsiteY201" fmla="*/ 1211950 h 1310216"/>
                <a:gd name="connsiteX202" fmla="*/ 110865 w 365348"/>
                <a:gd name="connsiteY202" fmla="*/ 1200612 h 1310216"/>
                <a:gd name="connsiteX203" fmla="*/ 110865 w 365348"/>
                <a:gd name="connsiteY203" fmla="*/ 1198092 h 1310216"/>
                <a:gd name="connsiteX204" fmla="*/ 112124 w 365348"/>
                <a:gd name="connsiteY204" fmla="*/ 1180455 h 1310216"/>
                <a:gd name="connsiteX205" fmla="*/ 113384 w 365348"/>
                <a:gd name="connsiteY205" fmla="*/ 1170376 h 1310216"/>
                <a:gd name="connsiteX206" fmla="*/ 114644 w 365348"/>
                <a:gd name="connsiteY206" fmla="*/ 1161557 h 1310216"/>
                <a:gd name="connsiteX207" fmla="*/ 115904 w 365348"/>
                <a:gd name="connsiteY207" fmla="*/ 1148959 h 1310216"/>
                <a:gd name="connsiteX208" fmla="*/ 118423 w 365348"/>
                <a:gd name="connsiteY208" fmla="*/ 1123763 h 1310216"/>
                <a:gd name="connsiteX209" fmla="*/ 120943 w 365348"/>
                <a:gd name="connsiteY209" fmla="*/ 1107385 h 1310216"/>
                <a:gd name="connsiteX210" fmla="*/ 122203 w 365348"/>
                <a:gd name="connsiteY210" fmla="*/ 1094786 h 1310216"/>
                <a:gd name="connsiteX211" fmla="*/ 122203 w 365348"/>
                <a:gd name="connsiteY211" fmla="*/ 1091007 h 1310216"/>
                <a:gd name="connsiteX212" fmla="*/ 123463 w 365348"/>
                <a:gd name="connsiteY212" fmla="*/ 1079669 h 1310216"/>
                <a:gd name="connsiteX213" fmla="*/ 124722 w 365348"/>
                <a:gd name="connsiteY213" fmla="*/ 1072110 h 1310216"/>
                <a:gd name="connsiteX214" fmla="*/ 125982 w 365348"/>
                <a:gd name="connsiteY214" fmla="*/ 1064551 h 1310216"/>
                <a:gd name="connsiteX215" fmla="*/ 128502 w 365348"/>
                <a:gd name="connsiteY215" fmla="*/ 1044393 h 1310216"/>
                <a:gd name="connsiteX216" fmla="*/ 129762 w 365348"/>
                <a:gd name="connsiteY216" fmla="*/ 1035575 h 1310216"/>
                <a:gd name="connsiteX217" fmla="*/ 129762 w 365348"/>
                <a:gd name="connsiteY217" fmla="*/ 1033055 h 1310216"/>
                <a:gd name="connsiteX218" fmla="*/ 132281 w 365348"/>
                <a:gd name="connsiteY218" fmla="*/ 1004079 h 1310216"/>
                <a:gd name="connsiteX219" fmla="*/ 133541 w 365348"/>
                <a:gd name="connsiteY219" fmla="*/ 992741 h 1310216"/>
                <a:gd name="connsiteX220" fmla="*/ 133541 w 365348"/>
                <a:gd name="connsiteY220" fmla="*/ 985182 h 1310216"/>
                <a:gd name="connsiteX221" fmla="*/ 134801 w 365348"/>
                <a:gd name="connsiteY221" fmla="*/ 973844 h 1310216"/>
                <a:gd name="connsiteX222" fmla="*/ 136061 w 365348"/>
                <a:gd name="connsiteY222" fmla="*/ 966285 h 1310216"/>
                <a:gd name="connsiteX223" fmla="*/ 137321 w 365348"/>
                <a:gd name="connsiteY223" fmla="*/ 957466 h 1310216"/>
                <a:gd name="connsiteX224" fmla="*/ 138581 w 365348"/>
                <a:gd name="connsiteY224" fmla="*/ 944868 h 1310216"/>
                <a:gd name="connsiteX225" fmla="*/ 138581 w 365348"/>
                <a:gd name="connsiteY225" fmla="*/ 938568 h 1310216"/>
                <a:gd name="connsiteX226" fmla="*/ 139840 w 365348"/>
                <a:gd name="connsiteY226" fmla="*/ 927230 h 1310216"/>
                <a:gd name="connsiteX227" fmla="*/ 141100 w 365348"/>
                <a:gd name="connsiteY227" fmla="*/ 914632 h 1310216"/>
                <a:gd name="connsiteX228" fmla="*/ 141100 w 365348"/>
                <a:gd name="connsiteY228" fmla="*/ 907073 h 1310216"/>
                <a:gd name="connsiteX229" fmla="*/ 142360 w 365348"/>
                <a:gd name="connsiteY229" fmla="*/ 888175 h 1310216"/>
                <a:gd name="connsiteX230" fmla="*/ 143620 w 365348"/>
                <a:gd name="connsiteY230" fmla="*/ 871798 h 1310216"/>
                <a:gd name="connsiteX231" fmla="*/ 146140 w 365348"/>
                <a:gd name="connsiteY231" fmla="*/ 849121 h 1310216"/>
                <a:gd name="connsiteX232" fmla="*/ 149919 w 365348"/>
                <a:gd name="connsiteY232" fmla="*/ 808807 h 1310216"/>
                <a:gd name="connsiteX233" fmla="*/ 151179 w 365348"/>
                <a:gd name="connsiteY233" fmla="*/ 796209 h 1310216"/>
                <a:gd name="connsiteX234" fmla="*/ 153699 w 365348"/>
                <a:gd name="connsiteY234" fmla="*/ 769752 h 1310216"/>
                <a:gd name="connsiteX235" fmla="*/ 153699 w 365348"/>
                <a:gd name="connsiteY235" fmla="*/ 760933 h 1310216"/>
                <a:gd name="connsiteX236" fmla="*/ 154958 w 365348"/>
                <a:gd name="connsiteY236" fmla="*/ 750855 h 1310216"/>
                <a:gd name="connsiteX237" fmla="*/ 156218 w 365348"/>
                <a:gd name="connsiteY237" fmla="*/ 730698 h 1310216"/>
                <a:gd name="connsiteX238" fmla="*/ 158738 w 365348"/>
                <a:gd name="connsiteY238" fmla="*/ 706761 h 1310216"/>
                <a:gd name="connsiteX239" fmla="*/ 159998 w 365348"/>
                <a:gd name="connsiteY239" fmla="*/ 690383 h 1310216"/>
                <a:gd name="connsiteX240" fmla="*/ 161258 w 365348"/>
                <a:gd name="connsiteY240" fmla="*/ 672746 h 1310216"/>
                <a:gd name="connsiteX241" fmla="*/ 162517 w 365348"/>
                <a:gd name="connsiteY241" fmla="*/ 652589 h 1310216"/>
                <a:gd name="connsiteX242" fmla="*/ 163777 w 365348"/>
                <a:gd name="connsiteY242" fmla="*/ 631172 h 1310216"/>
                <a:gd name="connsiteX243" fmla="*/ 165037 w 365348"/>
                <a:gd name="connsiteY243" fmla="*/ 613534 h 1310216"/>
                <a:gd name="connsiteX244" fmla="*/ 166297 w 365348"/>
                <a:gd name="connsiteY244" fmla="*/ 594637 h 1310216"/>
                <a:gd name="connsiteX245" fmla="*/ 167557 w 365348"/>
                <a:gd name="connsiteY245" fmla="*/ 573220 h 1310216"/>
                <a:gd name="connsiteX246" fmla="*/ 171336 w 365348"/>
                <a:gd name="connsiteY246" fmla="*/ 534165 h 1310216"/>
                <a:gd name="connsiteX247" fmla="*/ 172596 w 365348"/>
                <a:gd name="connsiteY247" fmla="*/ 517787 h 1310216"/>
                <a:gd name="connsiteX248" fmla="*/ 172596 w 365348"/>
                <a:gd name="connsiteY248" fmla="*/ 517787 h 1310216"/>
                <a:gd name="connsiteX249" fmla="*/ 176375 w 365348"/>
                <a:gd name="connsiteY249" fmla="*/ 479993 h 1310216"/>
                <a:gd name="connsiteX250" fmla="*/ 176375 w 365348"/>
                <a:gd name="connsiteY250" fmla="*/ 479993 h 1310216"/>
                <a:gd name="connsiteX251" fmla="*/ 176375 w 365348"/>
                <a:gd name="connsiteY251" fmla="*/ 477473 h 1310216"/>
                <a:gd name="connsiteX252" fmla="*/ 176375 w 365348"/>
                <a:gd name="connsiteY252" fmla="*/ 471174 h 1310216"/>
                <a:gd name="connsiteX253" fmla="*/ 176375 w 365348"/>
                <a:gd name="connsiteY253" fmla="*/ 467395 h 1310216"/>
                <a:gd name="connsiteX254" fmla="*/ 176375 w 365348"/>
                <a:gd name="connsiteY254" fmla="*/ 471174 h 1310216"/>
                <a:gd name="connsiteX255" fmla="*/ 177635 w 365348"/>
                <a:gd name="connsiteY255" fmla="*/ 481253 h 1310216"/>
                <a:gd name="connsiteX256" fmla="*/ 180155 w 365348"/>
                <a:gd name="connsiteY256" fmla="*/ 503929 h 1310216"/>
                <a:gd name="connsiteX257" fmla="*/ 181414 w 365348"/>
                <a:gd name="connsiteY257" fmla="*/ 522827 h 1310216"/>
                <a:gd name="connsiteX258" fmla="*/ 181414 w 365348"/>
                <a:gd name="connsiteY258" fmla="*/ 525346 h 1310216"/>
                <a:gd name="connsiteX259" fmla="*/ 181414 w 365348"/>
                <a:gd name="connsiteY259" fmla="*/ 529126 h 1310216"/>
                <a:gd name="connsiteX260" fmla="*/ 182674 w 365348"/>
                <a:gd name="connsiteY260" fmla="*/ 545504 h 1310216"/>
                <a:gd name="connsiteX261" fmla="*/ 183934 w 365348"/>
                <a:gd name="connsiteY261" fmla="*/ 568180 h 1310216"/>
                <a:gd name="connsiteX262" fmla="*/ 185194 w 365348"/>
                <a:gd name="connsiteY262" fmla="*/ 582039 h 1310216"/>
                <a:gd name="connsiteX263" fmla="*/ 185194 w 365348"/>
                <a:gd name="connsiteY263" fmla="*/ 588338 h 1310216"/>
                <a:gd name="connsiteX264" fmla="*/ 186454 w 365348"/>
                <a:gd name="connsiteY264" fmla="*/ 599676 h 1310216"/>
                <a:gd name="connsiteX265" fmla="*/ 186454 w 365348"/>
                <a:gd name="connsiteY265" fmla="*/ 608495 h 1310216"/>
                <a:gd name="connsiteX266" fmla="*/ 187714 w 365348"/>
                <a:gd name="connsiteY266" fmla="*/ 628652 h 1310216"/>
                <a:gd name="connsiteX267" fmla="*/ 187714 w 365348"/>
                <a:gd name="connsiteY267" fmla="*/ 629912 h 1310216"/>
                <a:gd name="connsiteX268" fmla="*/ 188973 w 365348"/>
                <a:gd name="connsiteY268" fmla="*/ 648809 h 1310216"/>
                <a:gd name="connsiteX269" fmla="*/ 188973 w 365348"/>
                <a:gd name="connsiteY269" fmla="*/ 653848 h 1310216"/>
                <a:gd name="connsiteX270" fmla="*/ 190233 w 365348"/>
                <a:gd name="connsiteY270" fmla="*/ 668966 h 1310216"/>
                <a:gd name="connsiteX271" fmla="*/ 192753 w 365348"/>
                <a:gd name="connsiteY271" fmla="*/ 696683 h 1310216"/>
                <a:gd name="connsiteX272" fmla="*/ 194013 w 365348"/>
                <a:gd name="connsiteY272" fmla="*/ 710540 h 1310216"/>
                <a:gd name="connsiteX273" fmla="*/ 195273 w 365348"/>
                <a:gd name="connsiteY273" fmla="*/ 720619 h 1310216"/>
                <a:gd name="connsiteX274" fmla="*/ 196533 w 365348"/>
                <a:gd name="connsiteY274" fmla="*/ 730698 h 1310216"/>
                <a:gd name="connsiteX275" fmla="*/ 196533 w 365348"/>
                <a:gd name="connsiteY275" fmla="*/ 731957 h 1310216"/>
                <a:gd name="connsiteX276" fmla="*/ 197792 w 365348"/>
                <a:gd name="connsiteY276" fmla="*/ 750855 h 1310216"/>
                <a:gd name="connsiteX277" fmla="*/ 199052 w 365348"/>
                <a:gd name="connsiteY277" fmla="*/ 759674 h 1310216"/>
                <a:gd name="connsiteX278" fmla="*/ 200312 w 365348"/>
                <a:gd name="connsiteY278" fmla="*/ 772272 h 1310216"/>
                <a:gd name="connsiteX279" fmla="*/ 201572 w 365348"/>
                <a:gd name="connsiteY279" fmla="*/ 783610 h 1310216"/>
                <a:gd name="connsiteX280" fmla="*/ 202832 w 365348"/>
                <a:gd name="connsiteY280" fmla="*/ 793689 h 1310216"/>
                <a:gd name="connsiteX281" fmla="*/ 204092 w 365348"/>
                <a:gd name="connsiteY281" fmla="*/ 805027 h 1310216"/>
                <a:gd name="connsiteX282" fmla="*/ 205351 w 365348"/>
                <a:gd name="connsiteY282" fmla="*/ 813846 h 1310216"/>
                <a:gd name="connsiteX283" fmla="*/ 207871 w 365348"/>
                <a:gd name="connsiteY283" fmla="*/ 834003 h 1310216"/>
                <a:gd name="connsiteX284" fmla="*/ 207871 w 365348"/>
                <a:gd name="connsiteY284" fmla="*/ 834003 h 1310216"/>
                <a:gd name="connsiteX285" fmla="*/ 209131 w 365348"/>
                <a:gd name="connsiteY285" fmla="*/ 844082 h 1310216"/>
                <a:gd name="connsiteX286" fmla="*/ 210391 w 365348"/>
                <a:gd name="connsiteY286" fmla="*/ 854160 h 1310216"/>
                <a:gd name="connsiteX287" fmla="*/ 210391 w 365348"/>
                <a:gd name="connsiteY287" fmla="*/ 854160 h 1310216"/>
                <a:gd name="connsiteX288" fmla="*/ 212910 w 365348"/>
                <a:gd name="connsiteY288" fmla="*/ 875577 h 1310216"/>
                <a:gd name="connsiteX289" fmla="*/ 215430 w 365348"/>
                <a:gd name="connsiteY289" fmla="*/ 898254 h 1310216"/>
                <a:gd name="connsiteX290" fmla="*/ 215430 w 365348"/>
                <a:gd name="connsiteY290" fmla="*/ 902034 h 1310216"/>
                <a:gd name="connsiteX291" fmla="*/ 215430 w 365348"/>
                <a:gd name="connsiteY291" fmla="*/ 907073 h 1310216"/>
                <a:gd name="connsiteX292" fmla="*/ 215430 w 365348"/>
                <a:gd name="connsiteY292" fmla="*/ 910853 h 1310216"/>
                <a:gd name="connsiteX293" fmla="*/ 216690 w 365348"/>
                <a:gd name="connsiteY293" fmla="*/ 918411 h 1310216"/>
                <a:gd name="connsiteX294" fmla="*/ 219209 w 365348"/>
                <a:gd name="connsiteY294" fmla="*/ 938568 h 1310216"/>
                <a:gd name="connsiteX295" fmla="*/ 220469 w 365348"/>
                <a:gd name="connsiteY295" fmla="*/ 947387 h 1310216"/>
                <a:gd name="connsiteX296" fmla="*/ 221729 w 365348"/>
                <a:gd name="connsiteY296" fmla="*/ 958726 h 1310216"/>
                <a:gd name="connsiteX297" fmla="*/ 222989 w 365348"/>
                <a:gd name="connsiteY297" fmla="*/ 970064 h 1310216"/>
                <a:gd name="connsiteX298" fmla="*/ 224249 w 365348"/>
                <a:gd name="connsiteY298" fmla="*/ 980143 h 1310216"/>
                <a:gd name="connsiteX299" fmla="*/ 225508 w 365348"/>
                <a:gd name="connsiteY299" fmla="*/ 990221 h 1310216"/>
                <a:gd name="connsiteX300" fmla="*/ 225508 w 365348"/>
                <a:gd name="connsiteY300" fmla="*/ 991481 h 1310216"/>
                <a:gd name="connsiteX301" fmla="*/ 225508 w 365348"/>
                <a:gd name="connsiteY301" fmla="*/ 996520 h 1310216"/>
                <a:gd name="connsiteX302" fmla="*/ 225508 w 365348"/>
                <a:gd name="connsiteY302" fmla="*/ 1000300 h 1310216"/>
                <a:gd name="connsiteX303" fmla="*/ 226768 w 365348"/>
                <a:gd name="connsiteY303" fmla="*/ 1009119 h 1310216"/>
                <a:gd name="connsiteX304" fmla="*/ 228028 w 365348"/>
                <a:gd name="connsiteY304" fmla="*/ 1020457 h 1310216"/>
                <a:gd name="connsiteX305" fmla="*/ 229288 w 365348"/>
                <a:gd name="connsiteY305" fmla="*/ 1033055 h 1310216"/>
                <a:gd name="connsiteX306" fmla="*/ 230548 w 365348"/>
                <a:gd name="connsiteY306" fmla="*/ 1040614 h 1310216"/>
                <a:gd name="connsiteX307" fmla="*/ 235587 w 365348"/>
                <a:gd name="connsiteY307" fmla="*/ 1082188 h 1310216"/>
                <a:gd name="connsiteX308" fmla="*/ 235587 w 365348"/>
                <a:gd name="connsiteY308" fmla="*/ 1087228 h 1310216"/>
                <a:gd name="connsiteX309" fmla="*/ 236847 w 365348"/>
                <a:gd name="connsiteY309" fmla="*/ 1099826 h 1310216"/>
                <a:gd name="connsiteX310" fmla="*/ 239366 w 365348"/>
                <a:gd name="connsiteY310" fmla="*/ 1117463 h 1310216"/>
                <a:gd name="connsiteX311" fmla="*/ 240626 w 365348"/>
                <a:gd name="connsiteY311" fmla="*/ 1125022 h 1310216"/>
                <a:gd name="connsiteX312" fmla="*/ 244406 w 365348"/>
                <a:gd name="connsiteY312" fmla="*/ 1152738 h 1310216"/>
                <a:gd name="connsiteX313" fmla="*/ 245666 w 365348"/>
                <a:gd name="connsiteY313" fmla="*/ 1159037 h 1310216"/>
                <a:gd name="connsiteX314" fmla="*/ 246925 w 365348"/>
                <a:gd name="connsiteY314" fmla="*/ 1170376 h 1310216"/>
                <a:gd name="connsiteX315" fmla="*/ 249445 w 365348"/>
                <a:gd name="connsiteY315" fmla="*/ 1188014 h 1310216"/>
                <a:gd name="connsiteX316" fmla="*/ 254484 w 365348"/>
                <a:gd name="connsiteY316" fmla="*/ 1220769 h 1310216"/>
                <a:gd name="connsiteX317" fmla="*/ 255744 w 365348"/>
                <a:gd name="connsiteY317" fmla="*/ 1233367 h 1310216"/>
                <a:gd name="connsiteX318" fmla="*/ 258264 w 365348"/>
                <a:gd name="connsiteY318" fmla="*/ 1247225 h 1310216"/>
                <a:gd name="connsiteX319" fmla="*/ 260784 w 365348"/>
                <a:gd name="connsiteY319" fmla="*/ 1258563 h 1310216"/>
                <a:gd name="connsiteX320" fmla="*/ 260784 w 365348"/>
                <a:gd name="connsiteY320" fmla="*/ 1261083 h 1310216"/>
                <a:gd name="connsiteX321" fmla="*/ 264563 w 365348"/>
                <a:gd name="connsiteY321" fmla="*/ 1285020 h 1310216"/>
                <a:gd name="connsiteX322" fmla="*/ 264563 w 365348"/>
                <a:gd name="connsiteY322" fmla="*/ 1290059 h 1310216"/>
                <a:gd name="connsiteX323" fmla="*/ 265823 w 365348"/>
                <a:gd name="connsiteY323" fmla="*/ 1298878 h 1310216"/>
                <a:gd name="connsiteX324" fmla="*/ 267083 w 365348"/>
                <a:gd name="connsiteY324" fmla="*/ 1305177 h 1310216"/>
                <a:gd name="connsiteX325" fmla="*/ 267083 w 365348"/>
                <a:gd name="connsiteY325" fmla="*/ 1305177 h 1310216"/>
                <a:gd name="connsiteX326" fmla="*/ 268343 w 365348"/>
                <a:gd name="connsiteY326" fmla="*/ 1312736 h 1310216"/>
                <a:gd name="connsiteX327" fmla="*/ 269602 w 365348"/>
                <a:gd name="connsiteY327" fmla="*/ 1315256 h 1310216"/>
                <a:gd name="connsiteX328" fmla="*/ 270862 w 365348"/>
                <a:gd name="connsiteY328" fmla="*/ 1317775 h 1310216"/>
                <a:gd name="connsiteX329" fmla="*/ 279681 w 365348"/>
                <a:gd name="connsiteY329" fmla="*/ 1320295 h 1310216"/>
                <a:gd name="connsiteX330" fmla="*/ 280941 w 365348"/>
                <a:gd name="connsiteY330" fmla="*/ 1320295 h 1310216"/>
                <a:gd name="connsiteX331" fmla="*/ 285980 w 365348"/>
                <a:gd name="connsiteY331" fmla="*/ 1320295 h 1310216"/>
                <a:gd name="connsiteX332" fmla="*/ 289759 w 365348"/>
                <a:gd name="connsiteY332" fmla="*/ 1320295 h 1310216"/>
                <a:gd name="connsiteX333" fmla="*/ 298578 w 365348"/>
                <a:gd name="connsiteY333" fmla="*/ 1320295 h 1310216"/>
                <a:gd name="connsiteX334" fmla="*/ 301098 w 365348"/>
                <a:gd name="connsiteY334" fmla="*/ 1320295 h 1310216"/>
                <a:gd name="connsiteX335" fmla="*/ 306137 w 365348"/>
                <a:gd name="connsiteY335" fmla="*/ 1320295 h 1310216"/>
                <a:gd name="connsiteX336" fmla="*/ 312436 w 365348"/>
                <a:gd name="connsiteY336" fmla="*/ 1320295 h 1310216"/>
                <a:gd name="connsiteX337" fmla="*/ 318736 w 365348"/>
                <a:gd name="connsiteY337" fmla="*/ 1320295 h 1310216"/>
                <a:gd name="connsiteX338" fmla="*/ 325035 w 365348"/>
                <a:gd name="connsiteY338" fmla="*/ 1320295 h 1310216"/>
                <a:gd name="connsiteX339" fmla="*/ 327554 w 365348"/>
                <a:gd name="connsiteY339" fmla="*/ 1320295 h 1310216"/>
                <a:gd name="connsiteX340" fmla="*/ 332593 w 365348"/>
                <a:gd name="connsiteY340" fmla="*/ 1320295 h 1310216"/>
                <a:gd name="connsiteX341" fmla="*/ 337633 w 365348"/>
                <a:gd name="connsiteY341" fmla="*/ 1320295 h 1310216"/>
                <a:gd name="connsiteX342" fmla="*/ 342672 w 365348"/>
                <a:gd name="connsiteY342" fmla="*/ 1320295 h 1310216"/>
                <a:gd name="connsiteX343" fmla="*/ 347711 w 365348"/>
                <a:gd name="connsiteY343" fmla="*/ 1320295 h 1310216"/>
                <a:gd name="connsiteX344" fmla="*/ 348971 w 365348"/>
                <a:gd name="connsiteY344" fmla="*/ 1320295 h 1310216"/>
                <a:gd name="connsiteX345" fmla="*/ 357790 w 365348"/>
                <a:gd name="connsiteY345" fmla="*/ 1320295 h 1310216"/>
                <a:gd name="connsiteX346" fmla="*/ 365349 w 365348"/>
                <a:gd name="connsiteY346" fmla="*/ 1319035 h 1310216"/>
                <a:gd name="connsiteX347" fmla="*/ 367869 w 365348"/>
                <a:gd name="connsiteY347" fmla="*/ 1317775 h 1310216"/>
                <a:gd name="connsiteX348" fmla="*/ 369128 w 365348"/>
                <a:gd name="connsiteY348" fmla="*/ 1316515 h 1310216"/>
                <a:gd name="connsiteX349" fmla="*/ 370388 w 365348"/>
                <a:gd name="connsiteY349" fmla="*/ 1315256 h 1310216"/>
                <a:gd name="connsiteX350" fmla="*/ 371648 w 365348"/>
                <a:gd name="connsiteY350" fmla="*/ 1311476 h 1310216"/>
                <a:gd name="connsiteX351" fmla="*/ 371648 w 365348"/>
                <a:gd name="connsiteY351" fmla="*/ 1307697 h 1310216"/>
                <a:gd name="connsiteX352" fmla="*/ 371648 w 365348"/>
                <a:gd name="connsiteY352" fmla="*/ 1307697 h 1310216"/>
                <a:gd name="connsiteX353" fmla="*/ 371648 w 365348"/>
                <a:gd name="connsiteY353" fmla="*/ 1302657 h 1310216"/>
                <a:gd name="connsiteX354" fmla="*/ 371648 w 365348"/>
                <a:gd name="connsiteY354" fmla="*/ 1287540 h 1310216"/>
                <a:gd name="connsiteX355" fmla="*/ 371648 w 365348"/>
                <a:gd name="connsiteY355" fmla="*/ 1283760 h 1310216"/>
                <a:gd name="connsiteX356" fmla="*/ 371648 w 365348"/>
                <a:gd name="connsiteY356" fmla="*/ 1263603 h 1310216"/>
                <a:gd name="connsiteX357" fmla="*/ 371648 w 365348"/>
                <a:gd name="connsiteY357" fmla="*/ 1258563 h 1310216"/>
                <a:gd name="connsiteX358" fmla="*/ 371648 w 365348"/>
                <a:gd name="connsiteY358" fmla="*/ 1244706 h 1310216"/>
                <a:gd name="connsiteX359" fmla="*/ 372908 w 365348"/>
                <a:gd name="connsiteY359" fmla="*/ 1224548 h 1310216"/>
                <a:gd name="connsiteX360" fmla="*/ 372908 w 365348"/>
                <a:gd name="connsiteY360" fmla="*/ 1219509 h 1310216"/>
                <a:gd name="connsiteX361" fmla="*/ 374168 w 365348"/>
                <a:gd name="connsiteY361" fmla="*/ 1203131 h 1310216"/>
                <a:gd name="connsiteX362" fmla="*/ 375428 w 365348"/>
                <a:gd name="connsiteY362" fmla="*/ 1182974 h 1310216"/>
                <a:gd name="connsiteX363" fmla="*/ 375428 w 365348"/>
                <a:gd name="connsiteY363" fmla="*/ 1167856 h 1310216"/>
                <a:gd name="connsiteX364" fmla="*/ 375428 w 365348"/>
                <a:gd name="connsiteY364" fmla="*/ 1162817 h 1310216"/>
                <a:gd name="connsiteX365" fmla="*/ 375428 w 365348"/>
                <a:gd name="connsiteY365" fmla="*/ 1159037 h 1310216"/>
                <a:gd name="connsiteX366" fmla="*/ 375428 w 365348"/>
                <a:gd name="connsiteY366" fmla="*/ 1142660 h 1310216"/>
                <a:gd name="connsiteX367" fmla="*/ 375428 w 365348"/>
                <a:gd name="connsiteY367" fmla="*/ 1123763 h 1310216"/>
                <a:gd name="connsiteX368" fmla="*/ 375428 w 365348"/>
                <a:gd name="connsiteY368" fmla="*/ 1098566 h 1310216"/>
                <a:gd name="connsiteX369" fmla="*/ 375428 w 365348"/>
                <a:gd name="connsiteY369" fmla="*/ 1084708 h 1310216"/>
                <a:gd name="connsiteX370" fmla="*/ 374168 w 365348"/>
                <a:gd name="connsiteY370" fmla="*/ 1016678 h 1310216"/>
                <a:gd name="connsiteX371" fmla="*/ 372908 w 365348"/>
                <a:gd name="connsiteY371" fmla="*/ 973844 h 1310216"/>
                <a:gd name="connsiteX372" fmla="*/ 371648 w 365348"/>
                <a:gd name="connsiteY372" fmla="*/ 933529 h 1310216"/>
                <a:gd name="connsiteX373" fmla="*/ 370388 w 365348"/>
                <a:gd name="connsiteY373" fmla="*/ 912112 h 1310216"/>
                <a:gd name="connsiteX374" fmla="*/ 369128 w 365348"/>
                <a:gd name="connsiteY374" fmla="*/ 890695 h 1310216"/>
                <a:gd name="connsiteX375" fmla="*/ 369128 w 365348"/>
                <a:gd name="connsiteY375" fmla="*/ 879357 h 1310216"/>
                <a:gd name="connsiteX376" fmla="*/ 367869 w 365348"/>
                <a:gd name="connsiteY376" fmla="*/ 849121 h 1310216"/>
                <a:gd name="connsiteX377" fmla="*/ 365349 w 365348"/>
                <a:gd name="connsiteY377" fmla="*/ 806287 h 1310216"/>
                <a:gd name="connsiteX378" fmla="*/ 364089 w 365348"/>
                <a:gd name="connsiteY378" fmla="*/ 769752 h 1310216"/>
                <a:gd name="connsiteX379" fmla="*/ 364089 w 365348"/>
                <a:gd name="connsiteY379" fmla="*/ 764713 h 1310216"/>
                <a:gd name="connsiteX380" fmla="*/ 364089 w 365348"/>
                <a:gd name="connsiteY380" fmla="*/ 744556 h 1310216"/>
                <a:gd name="connsiteX381" fmla="*/ 362829 w 365348"/>
                <a:gd name="connsiteY381" fmla="*/ 681565 h 1310216"/>
                <a:gd name="connsiteX382" fmla="*/ 362829 w 365348"/>
                <a:gd name="connsiteY382" fmla="*/ 639990 h 1310216"/>
                <a:gd name="connsiteX383" fmla="*/ 362829 w 365348"/>
                <a:gd name="connsiteY383" fmla="*/ 613534 h 1310216"/>
                <a:gd name="connsiteX384" fmla="*/ 362829 w 365348"/>
                <a:gd name="connsiteY384" fmla="*/ 599676 h 1310216"/>
                <a:gd name="connsiteX385" fmla="*/ 361569 w 365348"/>
                <a:gd name="connsiteY385" fmla="*/ 515268 h 1310216"/>
                <a:gd name="connsiteX386" fmla="*/ 361569 w 365348"/>
                <a:gd name="connsiteY386" fmla="*/ 482512 h 1310216"/>
                <a:gd name="connsiteX387" fmla="*/ 361569 w 365348"/>
                <a:gd name="connsiteY387" fmla="*/ 430860 h 1310216"/>
                <a:gd name="connsiteX388" fmla="*/ 361569 w 365348"/>
                <a:gd name="connsiteY388" fmla="*/ 420781 h 1310216"/>
                <a:gd name="connsiteX389" fmla="*/ 361569 w 365348"/>
                <a:gd name="connsiteY389" fmla="*/ 386766 h 1310216"/>
                <a:gd name="connsiteX390" fmla="*/ 361569 w 365348"/>
                <a:gd name="connsiteY390" fmla="*/ 384246 h 1310216"/>
                <a:gd name="connsiteX391" fmla="*/ 362829 w 365348"/>
                <a:gd name="connsiteY391" fmla="*/ 345192 h 1310216"/>
                <a:gd name="connsiteX392" fmla="*/ 362829 w 365348"/>
                <a:gd name="connsiteY392" fmla="*/ 335113 h 1310216"/>
                <a:gd name="connsiteX393" fmla="*/ 362829 w 365348"/>
                <a:gd name="connsiteY393" fmla="*/ 331334 h 1310216"/>
                <a:gd name="connsiteX394" fmla="*/ 362829 w 365348"/>
                <a:gd name="connsiteY394" fmla="*/ 323775 h 1310216"/>
                <a:gd name="connsiteX395" fmla="*/ 362829 w 365348"/>
                <a:gd name="connsiteY395" fmla="*/ 301098 h 1310216"/>
                <a:gd name="connsiteX396" fmla="*/ 362829 w 365348"/>
                <a:gd name="connsiteY396" fmla="*/ 262043 h 1310216"/>
                <a:gd name="connsiteX397" fmla="*/ 362829 w 365348"/>
                <a:gd name="connsiteY397" fmla="*/ 259524 h 1310216"/>
                <a:gd name="connsiteX398" fmla="*/ 362829 w 365348"/>
                <a:gd name="connsiteY398" fmla="*/ 240626 h 1310216"/>
                <a:gd name="connsiteX399" fmla="*/ 362829 w 365348"/>
                <a:gd name="connsiteY399" fmla="*/ 217949 h 1310216"/>
                <a:gd name="connsiteX400" fmla="*/ 362829 w 365348"/>
                <a:gd name="connsiteY400" fmla="*/ 212910 h 1310216"/>
                <a:gd name="connsiteX401" fmla="*/ 362829 w 365348"/>
                <a:gd name="connsiteY401" fmla="*/ 197792 h 1310216"/>
                <a:gd name="connsiteX402" fmla="*/ 362829 w 365348"/>
                <a:gd name="connsiteY402" fmla="*/ 192753 h 1310216"/>
                <a:gd name="connsiteX403" fmla="*/ 362829 w 365348"/>
                <a:gd name="connsiteY403" fmla="*/ 176375 h 1310216"/>
                <a:gd name="connsiteX404" fmla="*/ 362829 w 365348"/>
                <a:gd name="connsiteY404" fmla="*/ 132281 h 1310216"/>
                <a:gd name="connsiteX405" fmla="*/ 365349 w 365348"/>
                <a:gd name="connsiteY405" fmla="*/ 88188 h 1310216"/>
                <a:gd name="connsiteX406" fmla="*/ 88188 w 365348"/>
                <a:gd name="connsiteY406" fmla="*/ 1286280 h 1310216"/>
                <a:gd name="connsiteX407" fmla="*/ 88188 w 365348"/>
                <a:gd name="connsiteY407" fmla="*/ 1286280 h 1310216"/>
                <a:gd name="connsiteX408" fmla="*/ 88188 w 365348"/>
                <a:gd name="connsiteY408" fmla="*/ 1286280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</a:cxnLst>
              <a:rect l="l" t="t" r="r" b="b"/>
              <a:pathLst>
                <a:path w="365348" h="1310216">
                  <a:moveTo>
                    <a:pt x="365349" y="88188"/>
                  </a:moveTo>
                  <a:cubicBezTo>
                    <a:pt x="365349" y="59212"/>
                    <a:pt x="365349" y="28976"/>
                    <a:pt x="365349" y="0"/>
                  </a:cubicBezTo>
                  <a:cubicBezTo>
                    <a:pt x="362829" y="2520"/>
                    <a:pt x="360310" y="5039"/>
                    <a:pt x="357790" y="7559"/>
                  </a:cubicBezTo>
                  <a:lnTo>
                    <a:pt x="355270" y="10079"/>
                  </a:lnTo>
                  <a:cubicBezTo>
                    <a:pt x="354010" y="11339"/>
                    <a:pt x="354010" y="12598"/>
                    <a:pt x="352751" y="12598"/>
                  </a:cubicBezTo>
                  <a:cubicBezTo>
                    <a:pt x="352751" y="12598"/>
                    <a:pt x="352751" y="13858"/>
                    <a:pt x="352751" y="13858"/>
                  </a:cubicBezTo>
                  <a:cubicBezTo>
                    <a:pt x="352751" y="13858"/>
                    <a:pt x="352751" y="13858"/>
                    <a:pt x="352751" y="12598"/>
                  </a:cubicBezTo>
                  <a:cubicBezTo>
                    <a:pt x="347711" y="18897"/>
                    <a:pt x="341412" y="25196"/>
                    <a:pt x="336373" y="32755"/>
                  </a:cubicBezTo>
                  <a:cubicBezTo>
                    <a:pt x="333853" y="36535"/>
                    <a:pt x="328814" y="42834"/>
                    <a:pt x="325035" y="47873"/>
                  </a:cubicBezTo>
                  <a:cubicBezTo>
                    <a:pt x="321255" y="52913"/>
                    <a:pt x="318736" y="59212"/>
                    <a:pt x="314956" y="62991"/>
                  </a:cubicBezTo>
                  <a:cubicBezTo>
                    <a:pt x="312436" y="68031"/>
                    <a:pt x="309917" y="71810"/>
                    <a:pt x="307397" y="76849"/>
                  </a:cubicBezTo>
                  <a:lnTo>
                    <a:pt x="307397" y="76849"/>
                  </a:lnTo>
                  <a:cubicBezTo>
                    <a:pt x="306137" y="79369"/>
                    <a:pt x="304877" y="81889"/>
                    <a:pt x="302358" y="85668"/>
                  </a:cubicBezTo>
                  <a:cubicBezTo>
                    <a:pt x="301098" y="86928"/>
                    <a:pt x="301098" y="89448"/>
                    <a:pt x="299838" y="90707"/>
                  </a:cubicBezTo>
                  <a:lnTo>
                    <a:pt x="299838" y="90707"/>
                  </a:lnTo>
                  <a:cubicBezTo>
                    <a:pt x="299838" y="91967"/>
                    <a:pt x="298578" y="91967"/>
                    <a:pt x="298578" y="93227"/>
                  </a:cubicBezTo>
                  <a:cubicBezTo>
                    <a:pt x="296058" y="98266"/>
                    <a:pt x="294799" y="103306"/>
                    <a:pt x="292279" y="107085"/>
                  </a:cubicBezTo>
                  <a:lnTo>
                    <a:pt x="292279" y="107085"/>
                  </a:lnTo>
                  <a:lnTo>
                    <a:pt x="292279" y="108345"/>
                  </a:lnTo>
                  <a:cubicBezTo>
                    <a:pt x="291019" y="110864"/>
                    <a:pt x="289759" y="114644"/>
                    <a:pt x="289759" y="117164"/>
                  </a:cubicBezTo>
                  <a:lnTo>
                    <a:pt x="289759" y="118424"/>
                  </a:lnTo>
                  <a:lnTo>
                    <a:pt x="289759" y="118424"/>
                  </a:lnTo>
                  <a:cubicBezTo>
                    <a:pt x="288499" y="120943"/>
                    <a:pt x="288499" y="123463"/>
                    <a:pt x="287240" y="125982"/>
                  </a:cubicBezTo>
                  <a:cubicBezTo>
                    <a:pt x="287240" y="127242"/>
                    <a:pt x="287240" y="128502"/>
                    <a:pt x="287240" y="131022"/>
                  </a:cubicBezTo>
                  <a:lnTo>
                    <a:pt x="287240" y="133541"/>
                  </a:lnTo>
                  <a:lnTo>
                    <a:pt x="287240" y="136061"/>
                  </a:lnTo>
                  <a:cubicBezTo>
                    <a:pt x="287240" y="137321"/>
                    <a:pt x="287240" y="139840"/>
                    <a:pt x="287240" y="141100"/>
                  </a:cubicBezTo>
                  <a:lnTo>
                    <a:pt x="287240" y="141100"/>
                  </a:lnTo>
                  <a:lnTo>
                    <a:pt x="287240" y="141100"/>
                  </a:lnTo>
                  <a:lnTo>
                    <a:pt x="287240" y="143620"/>
                  </a:lnTo>
                  <a:cubicBezTo>
                    <a:pt x="287240" y="146140"/>
                    <a:pt x="287240" y="147399"/>
                    <a:pt x="287240" y="149919"/>
                  </a:cubicBezTo>
                  <a:lnTo>
                    <a:pt x="287240" y="152439"/>
                  </a:lnTo>
                  <a:cubicBezTo>
                    <a:pt x="287240" y="154958"/>
                    <a:pt x="287240" y="157478"/>
                    <a:pt x="287240" y="159998"/>
                  </a:cubicBezTo>
                  <a:cubicBezTo>
                    <a:pt x="288499" y="167557"/>
                    <a:pt x="288499" y="172596"/>
                    <a:pt x="291019" y="177635"/>
                  </a:cubicBezTo>
                  <a:lnTo>
                    <a:pt x="291019" y="178895"/>
                  </a:lnTo>
                  <a:cubicBezTo>
                    <a:pt x="292279" y="182674"/>
                    <a:pt x="292279" y="185194"/>
                    <a:pt x="294799" y="188974"/>
                  </a:cubicBezTo>
                  <a:cubicBezTo>
                    <a:pt x="296058" y="191493"/>
                    <a:pt x="297318" y="195273"/>
                    <a:pt x="298578" y="197792"/>
                  </a:cubicBezTo>
                  <a:cubicBezTo>
                    <a:pt x="298578" y="199052"/>
                    <a:pt x="299838" y="200312"/>
                    <a:pt x="301098" y="201572"/>
                  </a:cubicBezTo>
                  <a:cubicBezTo>
                    <a:pt x="301098" y="202832"/>
                    <a:pt x="302358" y="202832"/>
                    <a:pt x="302358" y="204092"/>
                  </a:cubicBezTo>
                  <a:lnTo>
                    <a:pt x="302358" y="205351"/>
                  </a:lnTo>
                  <a:cubicBezTo>
                    <a:pt x="304877" y="207871"/>
                    <a:pt x="306137" y="210391"/>
                    <a:pt x="308657" y="212910"/>
                  </a:cubicBezTo>
                  <a:lnTo>
                    <a:pt x="308657" y="212910"/>
                  </a:lnTo>
                  <a:cubicBezTo>
                    <a:pt x="309917" y="214170"/>
                    <a:pt x="309917" y="214170"/>
                    <a:pt x="311177" y="215430"/>
                  </a:cubicBezTo>
                  <a:cubicBezTo>
                    <a:pt x="312436" y="216690"/>
                    <a:pt x="313696" y="217949"/>
                    <a:pt x="314956" y="217949"/>
                  </a:cubicBezTo>
                  <a:lnTo>
                    <a:pt x="316216" y="217949"/>
                  </a:lnTo>
                  <a:cubicBezTo>
                    <a:pt x="317476" y="217949"/>
                    <a:pt x="318736" y="219209"/>
                    <a:pt x="318736" y="219209"/>
                  </a:cubicBezTo>
                  <a:cubicBezTo>
                    <a:pt x="321255" y="220469"/>
                    <a:pt x="323775" y="221729"/>
                    <a:pt x="326294" y="222989"/>
                  </a:cubicBezTo>
                  <a:lnTo>
                    <a:pt x="326294" y="222989"/>
                  </a:lnTo>
                  <a:cubicBezTo>
                    <a:pt x="328814" y="224249"/>
                    <a:pt x="33259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3853" y="225508"/>
                    <a:pt x="333853" y="225508"/>
                  </a:cubicBezTo>
                  <a:lnTo>
                    <a:pt x="332593" y="225508"/>
                  </a:lnTo>
                  <a:cubicBezTo>
                    <a:pt x="331334" y="225508"/>
                    <a:pt x="330074" y="225508"/>
                    <a:pt x="328814" y="225508"/>
                  </a:cubicBezTo>
                  <a:cubicBezTo>
                    <a:pt x="327554" y="225508"/>
                    <a:pt x="325035" y="225508"/>
                    <a:pt x="323775" y="225508"/>
                  </a:cubicBezTo>
                  <a:cubicBezTo>
                    <a:pt x="317476" y="225508"/>
                    <a:pt x="311177" y="226768"/>
                    <a:pt x="303617" y="226768"/>
                  </a:cubicBezTo>
                  <a:cubicBezTo>
                    <a:pt x="294799" y="226768"/>
                    <a:pt x="284720" y="226768"/>
                    <a:pt x="275901" y="226768"/>
                  </a:cubicBezTo>
                  <a:cubicBezTo>
                    <a:pt x="273382" y="226768"/>
                    <a:pt x="270862" y="226768"/>
                    <a:pt x="268343" y="226768"/>
                  </a:cubicBezTo>
                  <a:lnTo>
                    <a:pt x="265823" y="226768"/>
                  </a:lnTo>
                  <a:lnTo>
                    <a:pt x="265823" y="226768"/>
                  </a:lnTo>
                  <a:cubicBezTo>
                    <a:pt x="263303" y="226768"/>
                    <a:pt x="262043" y="226768"/>
                    <a:pt x="259524" y="226768"/>
                  </a:cubicBezTo>
                  <a:cubicBezTo>
                    <a:pt x="257004" y="226768"/>
                    <a:pt x="253225" y="226768"/>
                    <a:pt x="250705" y="226768"/>
                  </a:cubicBezTo>
                  <a:cubicBezTo>
                    <a:pt x="249445" y="226768"/>
                    <a:pt x="248185" y="226768"/>
                    <a:pt x="245666" y="226768"/>
                  </a:cubicBezTo>
                  <a:lnTo>
                    <a:pt x="245666" y="226768"/>
                  </a:lnTo>
                  <a:lnTo>
                    <a:pt x="245666" y="226768"/>
                  </a:lnTo>
                  <a:cubicBezTo>
                    <a:pt x="241886" y="226768"/>
                    <a:pt x="236847" y="226768"/>
                    <a:pt x="233067" y="226768"/>
                  </a:cubicBezTo>
                  <a:cubicBezTo>
                    <a:pt x="230548" y="226768"/>
                    <a:pt x="229288" y="226768"/>
                    <a:pt x="226768" y="226768"/>
                  </a:cubicBezTo>
                  <a:lnTo>
                    <a:pt x="225508" y="226768"/>
                  </a:lnTo>
                  <a:cubicBezTo>
                    <a:pt x="222989" y="226768"/>
                    <a:pt x="217950" y="226768"/>
                    <a:pt x="214170" y="226768"/>
                  </a:cubicBezTo>
                  <a:lnTo>
                    <a:pt x="209131" y="226768"/>
                  </a:lnTo>
                  <a:lnTo>
                    <a:pt x="207871" y="226768"/>
                  </a:lnTo>
                  <a:lnTo>
                    <a:pt x="207871" y="226768"/>
                  </a:lnTo>
                  <a:lnTo>
                    <a:pt x="207871" y="226768"/>
                  </a:lnTo>
                  <a:cubicBezTo>
                    <a:pt x="204092" y="226768"/>
                    <a:pt x="200312" y="226768"/>
                    <a:pt x="196533" y="226768"/>
                  </a:cubicBezTo>
                  <a:cubicBezTo>
                    <a:pt x="194013" y="226768"/>
                    <a:pt x="191493" y="226768"/>
                    <a:pt x="188973" y="226768"/>
                  </a:cubicBezTo>
                  <a:cubicBezTo>
                    <a:pt x="185194" y="226768"/>
                    <a:pt x="182674" y="226768"/>
                    <a:pt x="178895" y="226768"/>
                  </a:cubicBezTo>
                  <a:cubicBezTo>
                    <a:pt x="173856" y="226768"/>
                    <a:pt x="167557" y="226768"/>
                    <a:pt x="161258" y="225508"/>
                  </a:cubicBezTo>
                  <a:cubicBezTo>
                    <a:pt x="161258" y="225508"/>
                    <a:pt x="159998" y="225508"/>
                    <a:pt x="159998" y="225508"/>
                  </a:cubicBezTo>
                  <a:cubicBezTo>
                    <a:pt x="157478" y="225508"/>
                    <a:pt x="153699" y="225508"/>
                    <a:pt x="151179" y="224249"/>
                  </a:cubicBezTo>
                  <a:lnTo>
                    <a:pt x="149919" y="224249"/>
                  </a:lnTo>
                  <a:lnTo>
                    <a:pt x="149919" y="224249"/>
                  </a:lnTo>
                  <a:cubicBezTo>
                    <a:pt x="147399" y="224249"/>
                    <a:pt x="144880" y="224249"/>
                    <a:pt x="143620" y="222989"/>
                  </a:cubicBezTo>
                  <a:cubicBezTo>
                    <a:pt x="142360" y="222989"/>
                    <a:pt x="142360" y="222989"/>
                    <a:pt x="141100" y="222989"/>
                  </a:cubicBezTo>
                  <a:cubicBezTo>
                    <a:pt x="138581" y="222989"/>
                    <a:pt x="136061" y="222989"/>
                    <a:pt x="133541" y="222989"/>
                  </a:cubicBezTo>
                  <a:cubicBezTo>
                    <a:pt x="131022" y="222989"/>
                    <a:pt x="128502" y="222989"/>
                    <a:pt x="127242" y="222989"/>
                  </a:cubicBezTo>
                  <a:lnTo>
                    <a:pt x="125982" y="222989"/>
                  </a:lnTo>
                  <a:lnTo>
                    <a:pt x="124722" y="222989"/>
                  </a:lnTo>
                  <a:cubicBezTo>
                    <a:pt x="123463" y="222989"/>
                    <a:pt x="122203" y="222989"/>
                    <a:pt x="120943" y="222989"/>
                  </a:cubicBezTo>
                  <a:lnTo>
                    <a:pt x="120943" y="222989"/>
                  </a:lnTo>
                  <a:cubicBezTo>
                    <a:pt x="119683" y="222989"/>
                    <a:pt x="117164" y="222989"/>
                    <a:pt x="115904" y="222989"/>
                  </a:cubicBezTo>
                  <a:cubicBezTo>
                    <a:pt x="113384" y="222989"/>
                    <a:pt x="112124" y="222989"/>
                    <a:pt x="109605" y="222989"/>
                  </a:cubicBezTo>
                  <a:cubicBezTo>
                    <a:pt x="108345" y="222989"/>
                    <a:pt x="108345" y="222989"/>
                    <a:pt x="107085" y="222989"/>
                  </a:cubicBezTo>
                  <a:lnTo>
                    <a:pt x="107085" y="222989"/>
                  </a:lnTo>
                  <a:cubicBezTo>
                    <a:pt x="107085" y="222989"/>
                    <a:pt x="105825" y="222989"/>
                    <a:pt x="105825" y="222989"/>
                  </a:cubicBezTo>
                  <a:cubicBezTo>
                    <a:pt x="103306" y="222989"/>
                    <a:pt x="99526" y="222989"/>
                    <a:pt x="95747" y="222989"/>
                  </a:cubicBezTo>
                  <a:cubicBezTo>
                    <a:pt x="93227" y="222989"/>
                    <a:pt x="89448" y="222989"/>
                    <a:pt x="86928" y="222989"/>
                  </a:cubicBezTo>
                  <a:lnTo>
                    <a:pt x="86928" y="222989"/>
                  </a:lnTo>
                  <a:lnTo>
                    <a:pt x="85668" y="222989"/>
                  </a:lnTo>
                  <a:cubicBezTo>
                    <a:pt x="83148" y="222989"/>
                    <a:pt x="80629" y="222989"/>
                    <a:pt x="78109" y="222989"/>
                  </a:cubicBezTo>
                  <a:lnTo>
                    <a:pt x="78109" y="222989"/>
                  </a:lnTo>
                  <a:lnTo>
                    <a:pt x="78109" y="222989"/>
                  </a:lnTo>
                  <a:cubicBezTo>
                    <a:pt x="69290" y="224249"/>
                    <a:pt x="59212" y="224249"/>
                    <a:pt x="49133" y="224249"/>
                  </a:cubicBezTo>
                  <a:cubicBezTo>
                    <a:pt x="42834" y="224249"/>
                    <a:pt x="36535" y="224249"/>
                    <a:pt x="31496" y="224249"/>
                  </a:cubicBezTo>
                  <a:cubicBezTo>
                    <a:pt x="31496" y="224249"/>
                    <a:pt x="30236" y="224249"/>
                    <a:pt x="30236" y="224249"/>
                  </a:cubicBezTo>
                  <a:lnTo>
                    <a:pt x="28976" y="224249"/>
                  </a:lnTo>
                  <a:lnTo>
                    <a:pt x="28976" y="224249"/>
                  </a:lnTo>
                  <a:lnTo>
                    <a:pt x="27716" y="224249"/>
                  </a:lnTo>
                  <a:cubicBezTo>
                    <a:pt x="26456" y="224249"/>
                    <a:pt x="23937" y="224249"/>
                    <a:pt x="22677" y="224249"/>
                  </a:cubicBezTo>
                  <a:cubicBezTo>
                    <a:pt x="21417" y="224249"/>
                    <a:pt x="20157" y="224249"/>
                    <a:pt x="18897" y="224249"/>
                  </a:cubicBezTo>
                  <a:cubicBezTo>
                    <a:pt x="17637" y="224249"/>
                    <a:pt x="16378" y="224249"/>
                    <a:pt x="15118" y="224249"/>
                  </a:cubicBezTo>
                  <a:lnTo>
                    <a:pt x="15118" y="224249"/>
                  </a:lnTo>
                  <a:cubicBezTo>
                    <a:pt x="13858" y="224249"/>
                    <a:pt x="12598" y="224249"/>
                    <a:pt x="12598" y="222989"/>
                  </a:cubicBezTo>
                  <a:cubicBezTo>
                    <a:pt x="11338" y="222989"/>
                    <a:pt x="11338" y="221729"/>
                    <a:pt x="10079" y="221729"/>
                  </a:cubicBezTo>
                  <a:cubicBezTo>
                    <a:pt x="8819" y="221729"/>
                    <a:pt x="8819" y="220469"/>
                    <a:pt x="7559" y="219209"/>
                  </a:cubicBezTo>
                  <a:cubicBezTo>
                    <a:pt x="7559" y="229288"/>
                    <a:pt x="7559" y="238107"/>
                    <a:pt x="7559" y="248185"/>
                  </a:cubicBezTo>
                  <a:cubicBezTo>
                    <a:pt x="7559" y="257004"/>
                    <a:pt x="7559" y="267083"/>
                    <a:pt x="7559" y="275901"/>
                  </a:cubicBezTo>
                  <a:cubicBezTo>
                    <a:pt x="7559" y="279681"/>
                    <a:pt x="7559" y="284720"/>
                    <a:pt x="7559" y="288500"/>
                  </a:cubicBezTo>
                  <a:cubicBezTo>
                    <a:pt x="7559" y="299838"/>
                    <a:pt x="7559" y="313696"/>
                    <a:pt x="7559" y="328814"/>
                  </a:cubicBezTo>
                  <a:cubicBezTo>
                    <a:pt x="7559" y="341412"/>
                    <a:pt x="7559" y="355270"/>
                    <a:pt x="7559" y="369128"/>
                  </a:cubicBezTo>
                  <a:cubicBezTo>
                    <a:pt x="7559" y="374168"/>
                    <a:pt x="7559" y="379207"/>
                    <a:pt x="7559" y="385506"/>
                  </a:cubicBezTo>
                  <a:cubicBezTo>
                    <a:pt x="7559" y="394325"/>
                    <a:pt x="7559" y="403143"/>
                    <a:pt x="7559" y="411962"/>
                  </a:cubicBezTo>
                  <a:lnTo>
                    <a:pt x="7559" y="414482"/>
                  </a:lnTo>
                  <a:cubicBezTo>
                    <a:pt x="7559" y="420781"/>
                    <a:pt x="7559" y="427080"/>
                    <a:pt x="7559" y="432119"/>
                  </a:cubicBezTo>
                  <a:cubicBezTo>
                    <a:pt x="7559" y="439678"/>
                    <a:pt x="7559" y="447237"/>
                    <a:pt x="6299" y="454796"/>
                  </a:cubicBezTo>
                  <a:lnTo>
                    <a:pt x="6299" y="459836"/>
                  </a:lnTo>
                  <a:cubicBezTo>
                    <a:pt x="6299" y="464875"/>
                    <a:pt x="6299" y="468654"/>
                    <a:pt x="6299" y="473694"/>
                  </a:cubicBezTo>
                  <a:cubicBezTo>
                    <a:pt x="6299" y="476213"/>
                    <a:pt x="6299" y="478733"/>
                    <a:pt x="6299" y="482512"/>
                  </a:cubicBezTo>
                  <a:cubicBezTo>
                    <a:pt x="6299" y="486292"/>
                    <a:pt x="6299" y="490071"/>
                    <a:pt x="6299" y="495111"/>
                  </a:cubicBezTo>
                  <a:cubicBezTo>
                    <a:pt x="5039" y="511488"/>
                    <a:pt x="5039" y="524087"/>
                    <a:pt x="5039" y="536685"/>
                  </a:cubicBezTo>
                  <a:cubicBezTo>
                    <a:pt x="5039" y="548023"/>
                    <a:pt x="5039" y="558102"/>
                    <a:pt x="3780" y="569440"/>
                  </a:cubicBezTo>
                  <a:lnTo>
                    <a:pt x="3780" y="578259"/>
                  </a:lnTo>
                  <a:cubicBezTo>
                    <a:pt x="3780" y="585818"/>
                    <a:pt x="3780" y="593377"/>
                    <a:pt x="2520" y="599676"/>
                  </a:cubicBezTo>
                  <a:cubicBezTo>
                    <a:pt x="2520" y="605975"/>
                    <a:pt x="2520" y="613534"/>
                    <a:pt x="1260" y="621093"/>
                  </a:cubicBezTo>
                  <a:cubicBezTo>
                    <a:pt x="1260" y="626132"/>
                    <a:pt x="1260" y="632431"/>
                    <a:pt x="1260" y="637471"/>
                  </a:cubicBezTo>
                  <a:cubicBezTo>
                    <a:pt x="1260" y="645030"/>
                    <a:pt x="0" y="652589"/>
                    <a:pt x="0" y="660147"/>
                  </a:cubicBezTo>
                  <a:cubicBezTo>
                    <a:pt x="0" y="674005"/>
                    <a:pt x="0" y="687864"/>
                    <a:pt x="0" y="702982"/>
                  </a:cubicBezTo>
                  <a:cubicBezTo>
                    <a:pt x="0" y="714320"/>
                    <a:pt x="0" y="724398"/>
                    <a:pt x="0" y="735737"/>
                  </a:cubicBezTo>
                  <a:lnTo>
                    <a:pt x="0" y="745816"/>
                  </a:lnTo>
                  <a:cubicBezTo>
                    <a:pt x="0" y="768492"/>
                    <a:pt x="1260" y="793689"/>
                    <a:pt x="1260" y="825184"/>
                  </a:cubicBezTo>
                  <a:lnTo>
                    <a:pt x="1260" y="832743"/>
                  </a:lnTo>
                  <a:cubicBezTo>
                    <a:pt x="1260" y="837783"/>
                    <a:pt x="1260" y="841562"/>
                    <a:pt x="1260" y="846601"/>
                  </a:cubicBezTo>
                  <a:lnTo>
                    <a:pt x="1260" y="850381"/>
                  </a:lnTo>
                  <a:cubicBezTo>
                    <a:pt x="1260" y="855420"/>
                    <a:pt x="1260" y="860460"/>
                    <a:pt x="1260" y="865499"/>
                  </a:cubicBezTo>
                  <a:lnTo>
                    <a:pt x="1260" y="870538"/>
                  </a:lnTo>
                  <a:cubicBezTo>
                    <a:pt x="1260" y="883136"/>
                    <a:pt x="1260" y="895734"/>
                    <a:pt x="0" y="908333"/>
                  </a:cubicBezTo>
                  <a:cubicBezTo>
                    <a:pt x="0" y="919671"/>
                    <a:pt x="0" y="931009"/>
                    <a:pt x="0" y="942348"/>
                  </a:cubicBezTo>
                  <a:lnTo>
                    <a:pt x="0" y="947387"/>
                  </a:lnTo>
                  <a:cubicBezTo>
                    <a:pt x="0" y="959986"/>
                    <a:pt x="0" y="973844"/>
                    <a:pt x="0" y="987701"/>
                  </a:cubicBezTo>
                  <a:cubicBezTo>
                    <a:pt x="0" y="999040"/>
                    <a:pt x="0" y="1010378"/>
                    <a:pt x="1260" y="1021717"/>
                  </a:cubicBezTo>
                  <a:cubicBezTo>
                    <a:pt x="1260" y="1036835"/>
                    <a:pt x="1260" y="1053212"/>
                    <a:pt x="2520" y="1068330"/>
                  </a:cubicBezTo>
                  <a:cubicBezTo>
                    <a:pt x="2520" y="1098566"/>
                    <a:pt x="3780" y="1128802"/>
                    <a:pt x="3780" y="1159037"/>
                  </a:cubicBezTo>
                  <a:cubicBezTo>
                    <a:pt x="3780" y="1181715"/>
                    <a:pt x="3780" y="1204391"/>
                    <a:pt x="5039" y="1227068"/>
                  </a:cubicBezTo>
                  <a:cubicBezTo>
                    <a:pt x="5039" y="1233367"/>
                    <a:pt x="5039" y="1239666"/>
                    <a:pt x="6299" y="1245965"/>
                  </a:cubicBezTo>
                  <a:cubicBezTo>
                    <a:pt x="6299" y="1249745"/>
                    <a:pt x="7559" y="1253524"/>
                    <a:pt x="7559" y="1256044"/>
                  </a:cubicBezTo>
                  <a:cubicBezTo>
                    <a:pt x="7559" y="1258563"/>
                    <a:pt x="8819" y="1262343"/>
                    <a:pt x="8819" y="1264863"/>
                  </a:cubicBezTo>
                  <a:cubicBezTo>
                    <a:pt x="8819" y="1269902"/>
                    <a:pt x="10079" y="1276201"/>
                    <a:pt x="11338" y="1283760"/>
                  </a:cubicBezTo>
                  <a:lnTo>
                    <a:pt x="11338" y="1283760"/>
                  </a:lnTo>
                  <a:cubicBezTo>
                    <a:pt x="11338" y="1285020"/>
                    <a:pt x="11338" y="1286280"/>
                    <a:pt x="11338" y="1287540"/>
                  </a:cubicBezTo>
                  <a:cubicBezTo>
                    <a:pt x="11338" y="1288800"/>
                    <a:pt x="11338" y="1290059"/>
                    <a:pt x="12598" y="1291319"/>
                  </a:cubicBezTo>
                  <a:lnTo>
                    <a:pt x="12598" y="1292579"/>
                  </a:lnTo>
                  <a:lnTo>
                    <a:pt x="12598" y="1293839"/>
                  </a:lnTo>
                  <a:cubicBezTo>
                    <a:pt x="13858" y="1295099"/>
                    <a:pt x="13858" y="1296358"/>
                    <a:pt x="15118" y="1297618"/>
                  </a:cubicBezTo>
                  <a:lnTo>
                    <a:pt x="15118" y="1298878"/>
                  </a:lnTo>
                  <a:lnTo>
                    <a:pt x="15118" y="1300138"/>
                  </a:lnTo>
                  <a:cubicBezTo>
                    <a:pt x="16378" y="1301398"/>
                    <a:pt x="16378" y="1301398"/>
                    <a:pt x="17637" y="1302657"/>
                  </a:cubicBezTo>
                  <a:lnTo>
                    <a:pt x="18897" y="1303917"/>
                  </a:lnTo>
                  <a:lnTo>
                    <a:pt x="20157" y="1303917"/>
                  </a:lnTo>
                  <a:lnTo>
                    <a:pt x="22677" y="1305177"/>
                  </a:lnTo>
                  <a:lnTo>
                    <a:pt x="22677" y="1305177"/>
                  </a:lnTo>
                  <a:lnTo>
                    <a:pt x="23937" y="1305177"/>
                  </a:lnTo>
                  <a:cubicBezTo>
                    <a:pt x="25196" y="1305177"/>
                    <a:pt x="26456" y="1306437"/>
                    <a:pt x="27716" y="1306437"/>
                  </a:cubicBezTo>
                  <a:lnTo>
                    <a:pt x="28976" y="1306437"/>
                  </a:lnTo>
                  <a:cubicBezTo>
                    <a:pt x="30236" y="1306437"/>
                    <a:pt x="31496" y="1306437"/>
                    <a:pt x="32755" y="1306437"/>
                  </a:cubicBezTo>
                  <a:cubicBezTo>
                    <a:pt x="36535" y="1306437"/>
                    <a:pt x="39055" y="1307697"/>
                    <a:pt x="42834" y="1307697"/>
                  </a:cubicBezTo>
                  <a:cubicBezTo>
                    <a:pt x="45354" y="1307697"/>
                    <a:pt x="46614" y="1307697"/>
                    <a:pt x="49133" y="1307697"/>
                  </a:cubicBezTo>
                  <a:lnTo>
                    <a:pt x="51653" y="1307697"/>
                  </a:lnTo>
                  <a:cubicBezTo>
                    <a:pt x="57952" y="1307697"/>
                    <a:pt x="62991" y="1307697"/>
                    <a:pt x="68030" y="1307697"/>
                  </a:cubicBezTo>
                  <a:cubicBezTo>
                    <a:pt x="73070" y="1307697"/>
                    <a:pt x="78109" y="1307697"/>
                    <a:pt x="84408" y="1306437"/>
                  </a:cubicBezTo>
                  <a:cubicBezTo>
                    <a:pt x="85668" y="1306437"/>
                    <a:pt x="86928" y="1306437"/>
                    <a:pt x="86928" y="1306437"/>
                  </a:cubicBezTo>
                  <a:lnTo>
                    <a:pt x="86928" y="1306437"/>
                  </a:lnTo>
                  <a:cubicBezTo>
                    <a:pt x="88188" y="1306437"/>
                    <a:pt x="89448" y="1306437"/>
                    <a:pt x="90707" y="1305177"/>
                  </a:cubicBezTo>
                  <a:cubicBezTo>
                    <a:pt x="91967" y="1305177"/>
                    <a:pt x="93227" y="1305177"/>
                    <a:pt x="93227" y="1303917"/>
                  </a:cubicBezTo>
                  <a:lnTo>
                    <a:pt x="94487" y="1302657"/>
                  </a:lnTo>
                  <a:cubicBezTo>
                    <a:pt x="95747" y="1301398"/>
                    <a:pt x="97007" y="1300138"/>
                    <a:pt x="98266" y="1298878"/>
                  </a:cubicBezTo>
                  <a:cubicBezTo>
                    <a:pt x="99526" y="1297618"/>
                    <a:pt x="99526" y="1296358"/>
                    <a:pt x="100786" y="1295099"/>
                  </a:cubicBezTo>
                  <a:cubicBezTo>
                    <a:pt x="100786" y="1293839"/>
                    <a:pt x="102046" y="1291319"/>
                    <a:pt x="102046" y="1290059"/>
                  </a:cubicBezTo>
                  <a:cubicBezTo>
                    <a:pt x="102046" y="1290059"/>
                    <a:pt x="102046" y="1288800"/>
                    <a:pt x="102046" y="1288800"/>
                  </a:cubicBezTo>
                  <a:cubicBezTo>
                    <a:pt x="102046" y="1287540"/>
                    <a:pt x="103306" y="1286280"/>
                    <a:pt x="103306" y="1283760"/>
                  </a:cubicBezTo>
                  <a:cubicBezTo>
                    <a:pt x="104566" y="1279981"/>
                    <a:pt x="104566" y="1276201"/>
                    <a:pt x="104566" y="1272422"/>
                  </a:cubicBezTo>
                  <a:lnTo>
                    <a:pt x="104566" y="1269902"/>
                  </a:lnTo>
                  <a:cubicBezTo>
                    <a:pt x="104566" y="1267382"/>
                    <a:pt x="105825" y="1263603"/>
                    <a:pt x="105825" y="1261083"/>
                  </a:cubicBezTo>
                  <a:cubicBezTo>
                    <a:pt x="107085" y="1253524"/>
                    <a:pt x="107085" y="1244706"/>
                    <a:pt x="108345" y="1238407"/>
                  </a:cubicBezTo>
                  <a:cubicBezTo>
                    <a:pt x="108345" y="1235887"/>
                    <a:pt x="108345" y="1233367"/>
                    <a:pt x="108345" y="1230848"/>
                  </a:cubicBezTo>
                  <a:cubicBezTo>
                    <a:pt x="108345" y="1227068"/>
                    <a:pt x="109605" y="1223289"/>
                    <a:pt x="109605" y="1219509"/>
                  </a:cubicBezTo>
                  <a:cubicBezTo>
                    <a:pt x="109605" y="1216989"/>
                    <a:pt x="109605" y="1214470"/>
                    <a:pt x="109605" y="1211950"/>
                  </a:cubicBezTo>
                  <a:cubicBezTo>
                    <a:pt x="109605" y="1208171"/>
                    <a:pt x="109605" y="1204391"/>
                    <a:pt x="110865" y="1200612"/>
                  </a:cubicBezTo>
                  <a:lnTo>
                    <a:pt x="110865" y="1198092"/>
                  </a:lnTo>
                  <a:cubicBezTo>
                    <a:pt x="110865" y="1191793"/>
                    <a:pt x="112124" y="1186754"/>
                    <a:pt x="112124" y="1180455"/>
                  </a:cubicBezTo>
                  <a:cubicBezTo>
                    <a:pt x="112124" y="1176675"/>
                    <a:pt x="112124" y="1174156"/>
                    <a:pt x="113384" y="1170376"/>
                  </a:cubicBezTo>
                  <a:cubicBezTo>
                    <a:pt x="113384" y="1167856"/>
                    <a:pt x="113384" y="1164077"/>
                    <a:pt x="114644" y="1161557"/>
                  </a:cubicBezTo>
                  <a:cubicBezTo>
                    <a:pt x="114644" y="1157778"/>
                    <a:pt x="115904" y="1152738"/>
                    <a:pt x="115904" y="1148959"/>
                  </a:cubicBezTo>
                  <a:cubicBezTo>
                    <a:pt x="115904" y="1140140"/>
                    <a:pt x="117164" y="1131322"/>
                    <a:pt x="118423" y="1123763"/>
                  </a:cubicBezTo>
                  <a:cubicBezTo>
                    <a:pt x="119683" y="1117463"/>
                    <a:pt x="119683" y="1112424"/>
                    <a:pt x="120943" y="1107385"/>
                  </a:cubicBezTo>
                  <a:cubicBezTo>
                    <a:pt x="120943" y="1103605"/>
                    <a:pt x="122203" y="1098566"/>
                    <a:pt x="122203" y="1094786"/>
                  </a:cubicBezTo>
                  <a:lnTo>
                    <a:pt x="122203" y="1091007"/>
                  </a:lnTo>
                  <a:cubicBezTo>
                    <a:pt x="122203" y="1087228"/>
                    <a:pt x="123463" y="1083448"/>
                    <a:pt x="123463" y="1079669"/>
                  </a:cubicBezTo>
                  <a:cubicBezTo>
                    <a:pt x="123463" y="1077149"/>
                    <a:pt x="124722" y="1074630"/>
                    <a:pt x="124722" y="1072110"/>
                  </a:cubicBezTo>
                  <a:cubicBezTo>
                    <a:pt x="124722" y="1069590"/>
                    <a:pt x="124722" y="1067071"/>
                    <a:pt x="125982" y="1064551"/>
                  </a:cubicBezTo>
                  <a:cubicBezTo>
                    <a:pt x="127242" y="1058252"/>
                    <a:pt x="127242" y="1050693"/>
                    <a:pt x="128502" y="1044393"/>
                  </a:cubicBezTo>
                  <a:lnTo>
                    <a:pt x="129762" y="1035575"/>
                  </a:lnTo>
                  <a:lnTo>
                    <a:pt x="129762" y="1033055"/>
                  </a:lnTo>
                  <a:cubicBezTo>
                    <a:pt x="131022" y="1024237"/>
                    <a:pt x="132281" y="1014158"/>
                    <a:pt x="132281" y="1004079"/>
                  </a:cubicBezTo>
                  <a:cubicBezTo>
                    <a:pt x="132281" y="1000300"/>
                    <a:pt x="133541" y="996520"/>
                    <a:pt x="133541" y="992741"/>
                  </a:cubicBezTo>
                  <a:cubicBezTo>
                    <a:pt x="133541" y="990221"/>
                    <a:pt x="133541" y="987701"/>
                    <a:pt x="133541" y="985182"/>
                  </a:cubicBezTo>
                  <a:cubicBezTo>
                    <a:pt x="133541" y="981402"/>
                    <a:pt x="133541" y="977623"/>
                    <a:pt x="134801" y="973844"/>
                  </a:cubicBezTo>
                  <a:cubicBezTo>
                    <a:pt x="134801" y="971324"/>
                    <a:pt x="134801" y="968804"/>
                    <a:pt x="136061" y="966285"/>
                  </a:cubicBezTo>
                  <a:cubicBezTo>
                    <a:pt x="136061" y="963765"/>
                    <a:pt x="136061" y="959986"/>
                    <a:pt x="137321" y="957466"/>
                  </a:cubicBezTo>
                  <a:cubicBezTo>
                    <a:pt x="137321" y="953686"/>
                    <a:pt x="138581" y="949907"/>
                    <a:pt x="138581" y="944868"/>
                  </a:cubicBezTo>
                  <a:cubicBezTo>
                    <a:pt x="138581" y="942348"/>
                    <a:pt x="138581" y="939828"/>
                    <a:pt x="138581" y="938568"/>
                  </a:cubicBezTo>
                  <a:cubicBezTo>
                    <a:pt x="138581" y="934789"/>
                    <a:pt x="139840" y="931009"/>
                    <a:pt x="139840" y="927230"/>
                  </a:cubicBezTo>
                  <a:cubicBezTo>
                    <a:pt x="139840" y="923451"/>
                    <a:pt x="139840" y="918411"/>
                    <a:pt x="141100" y="914632"/>
                  </a:cubicBezTo>
                  <a:cubicBezTo>
                    <a:pt x="141100" y="912112"/>
                    <a:pt x="141100" y="909593"/>
                    <a:pt x="141100" y="907073"/>
                  </a:cubicBezTo>
                  <a:cubicBezTo>
                    <a:pt x="141100" y="900774"/>
                    <a:pt x="142360" y="894475"/>
                    <a:pt x="142360" y="888175"/>
                  </a:cubicBezTo>
                  <a:cubicBezTo>
                    <a:pt x="142360" y="883136"/>
                    <a:pt x="143620" y="876837"/>
                    <a:pt x="143620" y="871798"/>
                  </a:cubicBezTo>
                  <a:cubicBezTo>
                    <a:pt x="144880" y="864239"/>
                    <a:pt x="144880" y="856680"/>
                    <a:pt x="146140" y="849121"/>
                  </a:cubicBezTo>
                  <a:cubicBezTo>
                    <a:pt x="147399" y="835263"/>
                    <a:pt x="148659" y="821405"/>
                    <a:pt x="149919" y="808807"/>
                  </a:cubicBezTo>
                  <a:cubicBezTo>
                    <a:pt x="149919" y="805027"/>
                    <a:pt x="151179" y="799988"/>
                    <a:pt x="151179" y="796209"/>
                  </a:cubicBezTo>
                  <a:cubicBezTo>
                    <a:pt x="152439" y="787390"/>
                    <a:pt x="152439" y="778571"/>
                    <a:pt x="153699" y="769752"/>
                  </a:cubicBezTo>
                  <a:cubicBezTo>
                    <a:pt x="153699" y="767232"/>
                    <a:pt x="153699" y="763453"/>
                    <a:pt x="153699" y="760933"/>
                  </a:cubicBezTo>
                  <a:cubicBezTo>
                    <a:pt x="153699" y="757154"/>
                    <a:pt x="153699" y="754634"/>
                    <a:pt x="154958" y="750855"/>
                  </a:cubicBezTo>
                  <a:cubicBezTo>
                    <a:pt x="154958" y="744556"/>
                    <a:pt x="156218" y="738257"/>
                    <a:pt x="156218" y="730698"/>
                  </a:cubicBezTo>
                  <a:cubicBezTo>
                    <a:pt x="156218" y="723139"/>
                    <a:pt x="157478" y="714320"/>
                    <a:pt x="158738" y="706761"/>
                  </a:cubicBezTo>
                  <a:cubicBezTo>
                    <a:pt x="158738" y="701722"/>
                    <a:pt x="159998" y="695423"/>
                    <a:pt x="159998" y="690383"/>
                  </a:cubicBezTo>
                  <a:cubicBezTo>
                    <a:pt x="159998" y="684084"/>
                    <a:pt x="161258" y="677785"/>
                    <a:pt x="161258" y="672746"/>
                  </a:cubicBezTo>
                  <a:cubicBezTo>
                    <a:pt x="161258" y="666446"/>
                    <a:pt x="162517" y="658888"/>
                    <a:pt x="162517" y="652589"/>
                  </a:cubicBezTo>
                  <a:cubicBezTo>
                    <a:pt x="162517" y="645030"/>
                    <a:pt x="163777" y="638731"/>
                    <a:pt x="163777" y="631172"/>
                  </a:cubicBezTo>
                  <a:cubicBezTo>
                    <a:pt x="163777" y="624872"/>
                    <a:pt x="165037" y="618573"/>
                    <a:pt x="165037" y="613534"/>
                  </a:cubicBezTo>
                  <a:cubicBezTo>
                    <a:pt x="165037" y="607235"/>
                    <a:pt x="166297" y="600936"/>
                    <a:pt x="166297" y="594637"/>
                  </a:cubicBezTo>
                  <a:cubicBezTo>
                    <a:pt x="167557" y="587078"/>
                    <a:pt x="167557" y="580779"/>
                    <a:pt x="167557" y="573220"/>
                  </a:cubicBezTo>
                  <a:cubicBezTo>
                    <a:pt x="168816" y="560621"/>
                    <a:pt x="170076" y="548023"/>
                    <a:pt x="171336" y="534165"/>
                  </a:cubicBezTo>
                  <a:cubicBezTo>
                    <a:pt x="171336" y="529126"/>
                    <a:pt x="172596" y="522827"/>
                    <a:pt x="172596" y="517787"/>
                  </a:cubicBezTo>
                  <a:cubicBezTo>
                    <a:pt x="172596" y="517787"/>
                    <a:pt x="172596" y="517787"/>
                    <a:pt x="172596" y="517787"/>
                  </a:cubicBezTo>
                  <a:cubicBezTo>
                    <a:pt x="173856" y="505189"/>
                    <a:pt x="175115" y="492591"/>
                    <a:pt x="176375" y="479993"/>
                  </a:cubicBezTo>
                  <a:lnTo>
                    <a:pt x="176375" y="479993"/>
                  </a:lnTo>
                  <a:cubicBezTo>
                    <a:pt x="176375" y="478733"/>
                    <a:pt x="176375" y="477473"/>
                    <a:pt x="176375" y="477473"/>
                  </a:cubicBezTo>
                  <a:lnTo>
                    <a:pt x="176375" y="471174"/>
                  </a:lnTo>
                  <a:cubicBezTo>
                    <a:pt x="176375" y="469914"/>
                    <a:pt x="176375" y="468654"/>
                    <a:pt x="176375" y="467395"/>
                  </a:cubicBezTo>
                  <a:lnTo>
                    <a:pt x="176375" y="471174"/>
                  </a:lnTo>
                  <a:cubicBezTo>
                    <a:pt x="176375" y="474954"/>
                    <a:pt x="176375" y="477473"/>
                    <a:pt x="177635" y="481253"/>
                  </a:cubicBezTo>
                  <a:cubicBezTo>
                    <a:pt x="178895" y="488811"/>
                    <a:pt x="178895" y="496371"/>
                    <a:pt x="180155" y="503929"/>
                  </a:cubicBezTo>
                  <a:cubicBezTo>
                    <a:pt x="180155" y="510228"/>
                    <a:pt x="181414" y="516528"/>
                    <a:pt x="181414" y="522827"/>
                  </a:cubicBezTo>
                  <a:lnTo>
                    <a:pt x="181414" y="525346"/>
                  </a:lnTo>
                  <a:lnTo>
                    <a:pt x="181414" y="529126"/>
                  </a:lnTo>
                  <a:cubicBezTo>
                    <a:pt x="181414" y="534165"/>
                    <a:pt x="182674" y="540464"/>
                    <a:pt x="182674" y="545504"/>
                  </a:cubicBezTo>
                  <a:cubicBezTo>
                    <a:pt x="182674" y="553063"/>
                    <a:pt x="183934" y="560621"/>
                    <a:pt x="183934" y="568180"/>
                  </a:cubicBezTo>
                  <a:cubicBezTo>
                    <a:pt x="183934" y="573220"/>
                    <a:pt x="185194" y="578259"/>
                    <a:pt x="185194" y="582039"/>
                  </a:cubicBezTo>
                  <a:cubicBezTo>
                    <a:pt x="185194" y="584558"/>
                    <a:pt x="185194" y="585818"/>
                    <a:pt x="185194" y="588338"/>
                  </a:cubicBezTo>
                  <a:cubicBezTo>
                    <a:pt x="185194" y="592117"/>
                    <a:pt x="185194" y="595896"/>
                    <a:pt x="186454" y="599676"/>
                  </a:cubicBezTo>
                  <a:cubicBezTo>
                    <a:pt x="186454" y="602196"/>
                    <a:pt x="186454" y="604715"/>
                    <a:pt x="186454" y="608495"/>
                  </a:cubicBezTo>
                  <a:cubicBezTo>
                    <a:pt x="186454" y="614794"/>
                    <a:pt x="187714" y="619833"/>
                    <a:pt x="187714" y="628652"/>
                  </a:cubicBezTo>
                  <a:lnTo>
                    <a:pt x="187714" y="629912"/>
                  </a:lnTo>
                  <a:cubicBezTo>
                    <a:pt x="187714" y="636211"/>
                    <a:pt x="188973" y="642510"/>
                    <a:pt x="188973" y="648809"/>
                  </a:cubicBezTo>
                  <a:lnTo>
                    <a:pt x="188973" y="653848"/>
                  </a:lnTo>
                  <a:cubicBezTo>
                    <a:pt x="188973" y="658888"/>
                    <a:pt x="190233" y="663927"/>
                    <a:pt x="190233" y="668966"/>
                  </a:cubicBezTo>
                  <a:cubicBezTo>
                    <a:pt x="191493" y="677785"/>
                    <a:pt x="191493" y="687864"/>
                    <a:pt x="192753" y="696683"/>
                  </a:cubicBezTo>
                  <a:cubicBezTo>
                    <a:pt x="192753" y="700462"/>
                    <a:pt x="194013" y="705501"/>
                    <a:pt x="194013" y="710540"/>
                  </a:cubicBezTo>
                  <a:cubicBezTo>
                    <a:pt x="194013" y="714320"/>
                    <a:pt x="194013" y="716839"/>
                    <a:pt x="195273" y="720619"/>
                  </a:cubicBezTo>
                  <a:cubicBezTo>
                    <a:pt x="195273" y="724398"/>
                    <a:pt x="195273" y="726918"/>
                    <a:pt x="196533" y="730698"/>
                  </a:cubicBezTo>
                  <a:lnTo>
                    <a:pt x="196533" y="731957"/>
                  </a:lnTo>
                  <a:cubicBezTo>
                    <a:pt x="196533" y="738257"/>
                    <a:pt x="197792" y="744556"/>
                    <a:pt x="197792" y="750855"/>
                  </a:cubicBezTo>
                  <a:cubicBezTo>
                    <a:pt x="197792" y="753375"/>
                    <a:pt x="197792" y="757154"/>
                    <a:pt x="199052" y="759674"/>
                  </a:cubicBezTo>
                  <a:cubicBezTo>
                    <a:pt x="199052" y="763453"/>
                    <a:pt x="200312" y="768492"/>
                    <a:pt x="200312" y="772272"/>
                  </a:cubicBezTo>
                  <a:cubicBezTo>
                    <a:pt x="200312" y="776051"/>
                    <a:pt x="201572" y="779831"/>
                    <a:pt x="201572" y="783610"/>
                  </a:cubicBezTo>
                  <a:cubicBezTo>
                    <a:pt x="201572" y="787390"/>
                    <a:pt x="202832" y="789909"/>
                    <a:pt x="202832" y="793689"/>
                  </a:cubicBezTo>
                  <a:cubicBezTo>
                    <a:pt x="202832" y="797468"/>
                    <a:pt x="204092" y="801248"/>
                    <a:pt x="204092" y="805027"/>
                  </a:cubicBezTo>
                  <a:cubicBezTo>
                    <a:pt x="204092" y="807547"/>
                    <a:pt x="204092" y="810067"/>
                    <a:pt x="205351" y="813846"/>
                  </a:cubicBezTo>
                  <a:cubicBezTo>
                    <a:pt x="206611" y="820145"/>
                    <a:pt x="206611" y="827704"/>
                    <a:pt x="207871" y="834003"/>
                  </a:cubicBezTo>
                  <a:lnTo>
                    <a:pt x="207871" y="834003"/>
                  </a:lnTo>
                  <a:cubicBezTo>
                    <a:pt x="207871" y="837783"/>
                    <a:pt x="209131" y="840302"/>
                    <a:pt x="209131" y="844082"/>
                  </a:cubicBezTo>
                  <a:cubicBezTo>
                    <a:pt x="209131" y="847861"/>
                    <a:pt x="210391" y="850381"/>
                    <a:pt x="210391" y="854160"/>
                  </a:cubicBezTo>
                  <a:lnTo>
                    <a:pt x="210391" y="854160"/>
                  </a:lnTo>
                  <a:cubicBezTo>
                    <a:pt x="211651" y="861719"/>
                    <a:pt x="211651" y="869278"/>
                    <a:pt x="212910" y="875577"/>
                  </a:cubicBezTo>
                  <a:cubicBezTo>
                    <a:pt x="214170" y="883136"/>
                    <a:pt x="214170" y="890695"/>
                    <a:pt x="215430" y="898254"/>
                  </a:cubicBezTo>
                  <a:lnTo>
                    <a:pt x="215430" y="902034"/>
                  </a:lnTo>
                  <a:cubicBezTo>
                    <a:pt x="215430" y="903293"/>
                    <a:pt x="215430" y="905813"/>
                    <a:pt x="215430" y="907073"/>
                  </a:cubicBezTo>
                  <a:cubicBezTo>
                    <a:pt x="215430" y="908333"/>
                    <a:pt x="215430" y="909593"/>
                    <a:pt x="215430" y="910853"/>
                  </a:cubicBezTo>
                  <a:cubicBezTo>
                    <a:pt x="215430" y="913372"/>
                    <a:pt x="215430" y="915892"/>
                    <a:pt x="216690" y="918411"/>
                  </a:cubicBezTo>
                  <a:cubicBezTo>
                    <a:pt x="217950" y="924710"/>
                    <a:pt x="217950" y="932269"/>
                    <a:pt x="219209" y="938568"/>
                  </a:cubicBezTo>
                  <a:cubicBezTo>
                    <a:pt x="219209" y="941088"/>
                    <a:pt x="220469" y="943608"/>
                    <a:pt x="220469" y="947387"/>
                  </a:cubicBezTo>
                  <a:cubicBezTo>
                    <a:pt x="220469" y="951167"/>
                    <a:pt x="221729" y="954946"/>
                    <a:pt x="221729" y="958726"/>
                  </a:cubicBezTo>
                  <a:cubicBezTo>
                    <a:pt x="221729" y="962505"/>
                    <a:pt x="222989" y="966285"/>
                    <a:pt x="222989" y="970064"/>
                  </a:cubicBezTo>
                  <a:cubicBezTo>
                    <a:pt x="222989" y="973844"/>
                    <a:pt x="224249" y="977623"/>
                    <a:pt x="224249" y="980143"/>
                  </a:cubicBezTo>
                  <a:cubicBezTo>
                    <a:pt x="224249" y="983922"/>
                    <a:pt x="225508" y="986442"/>
                    <a:pt x="225508" y="990221"/>
                  </a:cubicBezTo>
                  <a:lnTo>
                    <a:pt x="225508" y="991481"/>
                  </a:lnTo>
                  <a:cubicBezTo>
                    <a:pt x="225508" y="992741"/>
                    <a:pt x="225508" y="995260"/>
                    <a:pt x="225508" y="996520"/>
                  </a:cubicBezTo>
                  <a:cubicBezTo>
                    <a:pt x="225508" y="997780"/>
                    <a:pt x="225508" y="999040"/>
                    <a:pt x="225508" y="1000300"/>
                  </a:cubicBezTo>
                  <a:cubicBezTo>
                    <a:pt x="225508" y="1002819"/>
                    <a:pt x="225508" y="1005339"/>
                    <a:pt x="226768" y="1009119"/>
                  </a:cubicBezTo>
                  <a:cubicBezTo>
                    <a:pt x="226768" y="1012898"/>
                    <a:pt x="228028" y="1016678"/>
                    <a:pt x="228028" y="1020457"/>
                  </a:cubicBezTo>
                  <a:cubicBezTo>
                    <a:pt x="228028" y="1024237"/>
                    <a:pt x="229288" y="1029276"/>
                    <a:pt x="229288" y="1033055"/>
                  </a:cubicBezTo>
                  <a:cubicBezTo>
                    <a:pt x="229288" y="1035575"/>
                    <a:pt x="230548" y="1038094"/>
                    <a:pt x="230548" y="1040614"/>
                  </a:cubicBezTo>
                  <a:cubicBezTo>
                    <a:pt x="233067" y="1056992"/>
                    <a:pt x="234327" y="1069590"/>
                    <a:pt x="235587" y="1082188"/>
                  </a:cubicBezTo>
                  <a:lnTo>
                    <a:pt x="235587" y="1087228"/>
                  </a:lnTo>
                  <a:cubicBezTo>
                    <a:pt x="235587" y="1091007"/>
                    <a:pt x="236847" y="1096046"/>
                    <a:pt x="236847" y="1099826"/>
                  </a:cubicBezTo>
                  <a:cubicBezTo>
                    <a:pt x="238107" y="1106125"/>
                    <a:pt x="238107" y="1111164"/>
                    <a:pt x="239366" y="1117463"/>
                  </a:cubicBezTo>
                  <a:lnTo>
                    <a:pt x="240626" y="1125022"/>
                  </a:lnTo>
                  <a:cubicBezTo>
                    <a:pt x="241886" y="1133841"/>
                    <a:pt x="243146" y="1143920"/>
                    <a:pt x="244406" y="1152738"/>
                  </a:cubicBezTo>
                  <a:cubicBezTo>
                    <a:pt x="244406" y="1155258"/>
                    <a:pt x="244406" y="1156518"/>
                    <a:pt x="245666" y="1159037"/>
                  </a:cubicBezTo>
                  <a:cubicBezTo>
                    <a:pt x="245666" y="1162817"/>
                    <a:pt x="246925" y="1166597"/>
                    <a:pt x="246925" y="1170376"/>
                  </a:cubicBezTo>
                  <a:cubicBezTo>
                    <a:pt x="248185" y="1176675"/>
                    <a:pt x="248185" y="1181715"/>
                    <a:pt x="249445" y="1188014"/>
                  </a:cubicBezTo>
                  <a:cubicBezTo>
                    <a:pt x="250705" y="1199352"/>
                    <a:pt x="253225" y="1210690"/>
                    <a:pt x="254484" y="1220769"/>
                  </a:cubicBezTo>
                  <a:cubicBezTo>
                    <a:pt x="254484" y="1224548"/>
                    <a:pt x="255744" y="1229588"/>
                    <a:pt x="255744" y="1233367"/>
                  </a:cubicBezTo>
                  <a:cubicBezTo>
                    <a:pt x="255744" y="1237147"/>
                    <a:pt x="257004" y="1242186"/>
                    <a:pt x="258264" y="1247225"/>
                  </a:cubicBezTo>
                  <a:cubicBezTo>
                    <a:pt x="258264" y="1251005"/>
                    <a:pt x="259524" y="1254784"/>
                    <a:pt x="260784" y="1258563"/>
                  </a:cubicBezTo>
                  <a:lnTo>
                    <a:pt x="260784" y="1261083"/>
                  </a:lnTo>
                  <a:cubicBezTo>
                    <a:pt x="262043" y="1268642"/>
                    <a:pt x="263303" y="1276201"/>
                    <a:pt x="264563" y="1285020"/>
                  </a:cubicBezTo>
                  <a:cubicBezTo>
                    <a:pt x="264563" y="1286280"/>
                    <a:pt x="264563" y="1288800"/>
                    <a:pt x="264563" y="1290059"/>
                  </a:cubicBezTo>
                  <a:cubicBezTo>
                    <a:pt x="264563" y="1292579"/>
                    <a:pt x="265823" y="1295099"/>
                    <a:pt x="265823" y="1298878"/>
                  </a:cubicBezTo>
                  <a:cubicBezTo>
                    <a:pt x="265823" y="1301398"/>
                    <a:pt x="265823" y="1303917"/>
                    <a:pt x="267083" y="1305177"/>
                  </a:cubicBezTo>
                  <a:lnTo>
                    <a:pt x="267083" y="1305177"/>
                  </a:lnTo>
                  <a:cubicBezTo>
                    <a:pt x="267083" y="1307697"/>
                    <a:pt x="268343" y="1311476"/>
                    <a:pt x="268343" y="1312736"/>
                  </a:cubicBezTo>
                  <a:cubicBezTo>
                    <a:pt x="268343" y="1313996"/>
                    <a:pt x="269602" y="1313996"/>
                    <a:pt x="269602" y="1315256"/>
                  </a:cubicBezTo>
                  <a:cubicBezTo>
                    <a:pt x="269602" y="1316515"/>
                    <a:pt x="270862" y="1316515"/>
                    <a:pt x="270862" y="1317775"/>
                  </a:cubicBezTo>
                  <a:cubicBezTo>
                    <a:pt x="273382" y="1320295"/>
                    <a:pt x="275901" y="1320295"/>
                    <a:pt x="279681" y="1320295"/>
                  </a:cubicBezTo>
                  <a:lnTo>
                    <a:pt x="280941" y="1320295"/>
                  </a:lnTo>
                  <a:cubicBezTo>
                    <a:pt x="282200" y="1320295"/>
                    <a:pt x="284720" y="1320295"/>
                    <a:pt x="285980" y="1320295"/>
                  </a:cubicBezTo>
                  <a:cubicBezTo>
                    <a:pt x="287240" y="1320295"/>
                    <a:pt x="288499" y="1320295"/>
                    <a:pt x="289759" y="1320295"/>
                  </a:cubicBezTo>
                  <a:cubicBezTo>
                    <a:pt x="292279" y="1320295"/>
                    <a:pt x="294799" y="1320295"/>
                    <a:pt x="298578" y="1320295"/>
                  </a:cubicBezTo>
                  <a:lnTo>
                    <a:pt x="301098" y="1320295"/>
                  </a:lnTo>
                  <a:cubicBezTo>
                    <a:pt x="302358" y="1320295"/>
                    <a:pt x="303617" y="1320295"/>
                    <a:pt x="306137" y="1320295"/>
                  </a:cubicBezTo>
                  <a:cubicBezTo>
                    <a:pt x="308657" y="1320295"/>
                    <a:pt x="309917" y="1320295"/>
                    <a:pt x="312436" y="1320295"/>
                  </a:cubicBezTo>
                  <a:cubicBezTo>
                    <a:pt x="314956" y="1320295"/>
                    <a:pt x="316216" y="1320295"/>
                    <a:pt x="318736" y="1320295"/>
                  </a:cubicBezTo>
                  <a:cubicBezTo>
                    <a:pt x="321255" y="1320295"/>
                    <a:pt x="322515" y="1320295"/>
                    <a:pt x="325035" y="1320295"/>
                  </a:cubicBezTo>
                  <a:cubicBezTo>
                    <a:pt x="326294" y="1320295"/>
                    <a:pt x="326294" y="1320295"/>
                    <a:pt x="327554" y="1320295"/>
                  </a:cubicBezTo>
                  <a:cubicBezTo>
                    <a:pt x="328814" y="1320295"/>
                    <a:pt x="331334" y="1320295"/>
                    <a:pt x="332593" y="1320295"/>
                  </a:cubicBezTo>
                  <a:cubicBezTo>
                    <a:pt x="333853" y="1320295"/>
                    <a:pt x="336373" y="1320295"/>
                    <a:pt x="337633" y="1320295"/>
                  </a:cubicBezTo>
                  <a:cubicBezTo>
                    <a:pt x="338892" y="1320295"/>
                    <a:pt x="340152" y="1320295"/>
                    <a:pt x="342672" y="1320295"/>
                  </a:cubicBezTo>
                  <a:cubicBezTo>
                    <a:pt x="343932" y="1320295"/>
                    <a:pt x="345192" y="1320295"/>
                    <a:pt x="347711" y="1320295"/>
                  </a:cubicBezTo>
                  <a:cubicBezTo>
                    <a:pt x="348971" y="1320295"/>
                    <a:pt x="348971" y="1320295"/>
                    <a:pt x="348971" y="1320295"/>
                  </a:cubicBezTo>
                  <a:cubicBezTo>
                    <a:pt x="351491" y="1320295"/>
                    <a:pt x="354010" y="1320295"/>
                    <a:pt x="357790" y="1320295"/>
                  </a:cubicBezTo>
                  <a:cubicBezTo>
                    <a:pt x="360310" y="1320295"/>
                    <a:pt x="362829" y="1320295"/>
                    <a:pt x="365349" y="1319035"/>
                  </a:cubicBezTo>
                  <a:cubicBezTo>
                    <a:pt x="366609" y="1319035"/>
                    <a:pt x="366609" y="1319035"/>
                    <a:pt x="367869" y="1317775"/>
                  </a:cubicBezTo>
                  <a:cubicBezTo>
                    <a:pt x="367869" y="1317775"/>
                    <a:pt x="369128" y="1317775"/>
                    <a:pt x="369128" y="1316515"/>
                  </a:cubicBezTo>
                  <a:cubicBezTo>
                    <a:pt x="369128" y="1316515"/>
                    <a:pt x="370388" y="1315256"/>
                    <a:pt x="370388" y="1315256"/>
                  </a:cubicBezTo>
                  <a:cubicBezTo>
                    <a:pt x="371648" y="1313996"/>
                    <a:pt x="371648" y="1312736"/>
                    <a:pt x="371648" y="1311476"/>
                  </a:cubicBezTo>
                  <a:cubicBezTo>
                    <a:pt x="371648" y="1310216"/>
                    <a:pt x="371648" y="1308956"/>
                    <a:pt x="371648" y="1307697"/>
                  </a:cubicBezTo>
                  <a:lnTo>
                    <a:pt x="371648" y="1307697"/>
                  </a:lnTo>
                  <a:cubicBezTo>
                    <a:pt x="371648" y="1306437"/>
                    <a:pt x="371648" y="1305177"/>
                    <a:pt x="371648" y="1302657"/>
                  </a:cubicBezTo>
                  <a:cubicBezTo>
                    <a:pt x="371648" y="1297618"/>
                    <a:pt x="371648" y="1292579"/>
                    <a:pt x="371648" y="1287540"/>
                  </a:cubicBezTo>
                  <a:cubicBezTo>
                    <a:pt x="371648" y="1286280"/>
                    <a:pt x="371648" y="1285020"/>
                    <a:pt x="371648" y="1283760"/>
                  </a:cubicBezTo>
                  <a:cubicBezTo>
                    <a:pt x="371648" y="1276201"/>
                    <a:pt x="371648" y="1269902"/>
                    <a:pt x="371648" y="1263603"/>
                  </a:cubicBezTo>
                  <a:cubicBezTo>
                    <a:pt x="371648" y="1262343"/>
                    <a:pt x="371648" y="1259823"/>
                    <a:pt x="371648" y="1258563"/>
                  </a:cubicBezTo>
                  <a:cubicBezTo>
                    <a:pt x="371648" y="1253524"/>
                    <a:pt x="371648" y="1248485"/>
                    <a:pt x="371648" y="1244706"/>
                  </a:cubicBezTo>
                  <a:cubicBezTo>
                    <a:pt x="371648" y="1237147"/>
                    <a:pt x="371648" y="1230848"/>
                    <a:pt x="372908" y="1224548"/>
                  </a:cubicBezTo>
                  <a:lnTo>
                    <a:pt x="372908" y="1219509"/>
                  </a:lnTo>
                  <a:cubicBezTo>
                    <a:pt x="372908" y="1214470"/>
                    <a:pt x="372908" y="1208171"/>
                    <a:pt x="374168" y="1203131"/>
                  </a:cubicBezTo>
                  <a:cubicBezTo>
                    <a:pt x="374168" y="1195572"/>
                    <a:pt x="374168" y="1188014"/>
                    <a:pt x="375428" y="1182974"/>
                  </a:cubicBezTo>
                  <a:cubicBezTo>
                    <a:pt x="375428" y="1177935"/>
                    <a:pt x="375428" y="1172896"/>
                    <a:pt x="375428" y="1167856"/>
                  </a:cubicBezTo>
                  <a:lnTo>
                    <a:pt x="375428" y="1162817"/>
                  </a:lnTo>
                  <a:lnTo>
                    <a:pt x="375428" y="1159037"/>
                  </a:lnTo>
                  <a:cubicBezTo>
                    <a:pt x="375428" y="1153998"/>
                    <a:pt x="375428" y="1147699"/>
                    <a:pt x="375428" y="1142660"/>
                  </a:cubicBezTo>
                  <a:cubicBezTo>
                    <a:pt x="375428" y="1136361"/>
                    <a:pt x="375428" y="1130062"/>
                    <a:pt x="375428" y="1123763"/>
                  </a:cubicBezTo>
                  <a:cubicBezTo>
                    <a:pt x="375428" y="1114944"/>
                    <a:pt x="375428" y="1107385"/>
                    <a:pt x="375428" y="1098566"/>
                  </a:cubicBezTo>
                  <a:lnTo>
                    <a:pt x="375428" y="1084708"/>
                  </a:lnTo>
                  <a:cubicBezTo>
                    <a:pt x="375428" y="1062031"/>
                    <a:pt x="375428" y="1039354"/>
                    <a:pt x="374168" y="1016678"/>
                  </a:cubicBezTo>
                  <a:cubicBezTo>
                    <a:pt x="374168" y="1002819"/>
                    <a:pt x="374168" y="987701"/>
                    <a:pt x="372908" y="973844"/>
                  </a:cubicBezTo>
                  <a:cubicBezTo>
                    <a:pt x="372908" y="961245"/>
                    <a:pt x="372908" y="947387"/>
                    <a:pt x="371648" y="933529"/>
                  </a:cubicBezTo>
                  <a:cubicBezTo>
                    <a:pt x="371648" y="927230"/>
                    <a:pt x="371648" y="920931"/>
                    <a:pt x="370388" y="912112"/>
                  </a:cubicBezTo>
                  <a:cubicBezTo>
                    <a:pt x="370388" y="904553"/>
                    <a:pt x="369128" y="896994"/>
                    <a:pt x="369128" y="890695"/>
                  </a:cubicBezTo>
                  <a:cubicBezTo>
                    <a:pt x="369128" y="886916"/>
                    <a:pt x="369128" y="883136"/>
                    <a:pt x="369128" y="879357"/>
                  </a:cubicBezTo>
                  <a:cubicBezTo>
                    <a:pt x="369128" y="869278"/>
                    <a:pt x="369128" y="859200"/>
                    <a:pt x="367869" y="849121"/>
                  </a:cubicBezTo>
                  <a:cubicBezTo>
                    <a:pt x="367869" y="834003"/>
                    <a:pt x="366609" y="820145"/>
                    <a:pt x="365349" y="806287"/>
                  </a:cubicBezTo>
                  <a:cubicBezTo>
                    <a:pt x="364089" y="793689"/>
                    <a:pt x="364089" y="782350"/>
                    <a:pt x="364089" y="769752"/>
                  </a:cubicBezTo>
                  <a:lnTo>
                    <a:pt x="364089" y="764713"/>
                  </a:lnTo>
                  <a:lnTo>
                    <a:pt x="364089" y="744556"/>
                  </a:lnTo>
                  <a:cubicBezTo>
                    <a:pt x="364089" y="723139"/>
                    <a:pt x="364089" y="701722"/>
                    <a:pt x="362829" y="681565"/>
                  </a:cubicBezTo>
                  <a:cubicBezTo>
                    <a:pt x="362829" y="666446"/>
                    <a:pt x="362829" y="652589"/>
                    <a:pt x="362829" y="639990"/>
                  </a:cubicBezTo>
                  <a:cubicBezTo>
                    <a:pt x="362829" y="631172"/>
                    <a:pt x="362829" y="622353"/>
                    <a:pt x="362829" y="613534"/>
                  </a:cubicBezTo>
                  <a:cubicBezTo>
                    <a:pt x="362829" y="608495"/>
                    <a:pt x="362829" y="604715"/>
                    <a:pt x="362829" y="599676"/>
                  </a:cubicBezTo>
                  <a:cubicBezTo>
                    <a:pt x="362829" y="571960"/>
                    <a:pt x="362829" y="544244"/>
                    <a:pt x="361569" y="515268"/>
                  </a:cubicBezTo>
                  <a:cubicBezTo>
                    <a:pt x="361569" y="503929"/>
                    <a:pt x="361569" y="493851"/>
                    <a:pt x="361569" y="482512"/>
                  </a:cubicBezTo>
                  <a:cubicBezTo>
                    <a:pt x="361569" y="464875"/>
                    <a:pt x="361569" y="448497"/>
                    <a:pt x="361569" y="430860"/>
                  </a:cubicBezTo>
                  <a:cubicBezTo>
                    <a:pt x="361569" y="427080"/>
                    <a:pt x="361569" y="424561"/>
                    <a:pt x="361569" y="420781"/>
                  </a:cubicBezTo>
                  <a:cubicBezTo>
                    <a:pt x="361569" y="409443"/>
                    <a:pt x="361569" y="398104"/>
                    <a:pt x="361569" y="386766"/>
                  </a:cubicBezTo>
                  <a:lnTo>
                    <a:pt x="361569" y="384246"/>
                  </a:lnTo>
                  <a:cubicBezTo>
                    <a:pt x="361569" y="371648"/>
                    <a:pt x="361569" y="357790"/>
                    <a:pt x="362829" y="345192"/>
                  </a:cubicBezTo>
                  <a:cubicBezTo>
                    <a:pt x="362829" y="341412"/>
                    <a:pt x="362829" y="337633"/>
                    <a:pt x="362829" y="335113"/>
                  </a:cubicBezTo>
                  <a:cubicBezTo>
                    <a:pt x="362829" y="333853"/>
                    <a:pt x="362829" y="332593"/>
                    <a:pt x="362829" y="331334"/>
                  </a:cubicBezTo>
                  <a:cubicBezTo>
                    <a:pt x="362829" y="328814"/>
                    <a:pt x="362829" y="326294"/>
                    <a:pt x="362829" y="323775"/>
                  </a:cubicBezTo>
                  <a:cubicBezTo>
                    <a:pt x="362829" y="316216"/>
                    <a:pt x="362829" y="308657"/>
                    <a:pt x="362829" y="301098"/>
                  </a:cubicBezTo>
                  <a:cubicBezTo>
                    <a:pt x="362829" y="288500"/>
                    <a:pt x="362829" y="274642"/>
                    <a:pt x="362829" y="262043"/>
                  </a:cubicBezTo>
                  <a:lnTo>
                    <a:pt x="362829" y="259524"/>
                  </a:lnTo>
                  <a:cubicBezTo>
                    <a:pt x="362829" y="253225"/>
                    <a:pt x="362829" y="246925"/>
                    <a:pt x="362829" y="240626"/>
                  </a:cubicBezTo>
                  <a:cubicBezTo>
                    <a:pt x="362829" y="231808"/>
                    <a:pt x="362829" y="224249"/>
                    <a:pt x="362829" y="217949"/>
                  </a:cubicBezTo>
                  <a:lnTo>
                    <a:pt x="362829" y="212910"/>
                  </a:lnTo>
                  <a:cubicBezTo>
                    <a:pt x="362829" y="207871"/>
                    <a:pt x="362829" y="202832"/>
                    <a:pt x="362829" y="197792"/>
                  </a:cubicBezTo>
                  <a:lnTo>
                    <a:pt x="362829" y="192753"/>
                  </a:lnTo>
                  <a:cubicBezTo>
                    <a:pt x="362829" y="187714"/>
                    <a:pt x="362829" y="181415"/>
                    <a:pt x="362829" y="176375"/>
                  </a:cubicBezTo>
                  <a:cubicBezTo>
                    <a:pt x="362829" y="161257"/>
                    <a:pt x="362829" y="147399"/>
                    <a:pt x="362829" y="132281"/>
                  </a:cubicBezTo>
                  <a:cubicBezTo>
                    <a:pt x="366609" y="113384"/>
                    <a:pt x="365349" y="100786"/>
                    <a:pt x="365349" y="88188"/>
                  </a:cubicBezTo>
                  <a:moveTo>
                    <a:pt x="88188" y="1286280"/>
                  </a:moveTo>
                  <a:cubicBezTo>
                    <a:pt x="88188" y="1286280"/>
                    <a:pt x="88188" y="1286280"/>
                    <a:pt x="88188" y="1286280"/>
                  </a:cubicBezTo>
                  <a:cubicBezTo>
                    <a:pt x="88188" y="1286280"/>
                    <a:pt x="88188" y="1286280"/>
                    <a:pt x="88188" y="12862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/>
            <p:cNvSpPr/>
            <p:nvPr/>
          </p:nvSpPr>
          <p:spPr>
            <a:xfrm>
              <a:off x="9719818" y="4721980"/>
              <a:ext cx="8580" cy="163026"/>
            </a:xfrm>
            <a:custGeom>
              <a:avLst/>
              <a:gdLst>
                <a:gd name="connsiteX0" fmla="*/ 12598 w 12598"/>
                <a:gd name="connsiteY0" fmla="*/ 5040 h 239366"/>
                <a:gd name="connsiteX1" fmla="*/ 12598 w 12598"/>
                <a:gd name="connsiteY1" fmla="*/ 30236 h 239366"/>
                <a:gd name="connsiteX2" fmla="*/ 11338 w 12598"/>
                <a:gd name="connsiteY2" fmla="*/ 55433 h 239366"/>
                <a:gd name="connsiteX3" fmla="*/ 10078 w 12598"/>
                <a:gd name="connsiteY3" fmla="*/ 68031 h 239366"/>
                <a:gd name="connsiteX4" fmla="*/ 10078 w 12598"/>
                <a:gd name="connsiteY4" fmla="*/ 80629 h 239366"/>
                <a:gd name="connsiteX5" fmla="*/ 10078 w 12598"/>
                <a:gd name="connsiteY5" fmla="*/ 105825 h 239366"/>
                <a:gd name="connsiteX6" fmla="*/ 10078 w 12598"/>
                <a:gd name="connsiteY6" fmla="*/ 118424 h 239366"/>
                <a:gd name="connsiteX7" fmla="*/ 10078 w 12598"/>
                <a:gd name="connsiteY7" fmla="*/ 124723 h 239366"/>
                <a:gd name="connsiteX8" fmla="*/ 10078 w 12598"/>
                <a:gd name="connsiteY8" fmla="*/ 131022 h 239366"/>
                <a:gd name="connsiteX9" fmla="*/ 10078 w 12598"/>
                <a:gd name="connsiteY9" fmla="*/ 156218 h 239366"/>
                <a:gd name="connsiteX10" fmla="*/ 10078 w 12598"/>
                <a:gd name="connsiteY10" fmla="*/ 168817 h 239366"/>
                <a:gd name="connsiteX11" fmla="*/ 10078 w 12598"/>
                <a:gd name="connsiteY11" fmla="*/ 181415 h 239366"/>
                <a:gd name="connsiteX12" fmla="*/ 10078 w 12598"/>
                <a:gd name="connsiteY12" fmla="*/ 194013 h 239366"/>
                <a:gd name="connsiteX13" fmla="*/ 8819 w 12598"/>
                <a:gd name="connsiteY13" fmla="*/ 206611 h 239366"/>
                <a:gd name="connsiteX14" fmla="*/ 7559 w 12598"/>
                <a:gd name="connsiteY14" fmla="*/ 216690 h 239366"/>
                <a:gd name="connsiteX15" fmla="*/ 7559 w 12598"/>
                <a:gd name="connsiteY15" fmla="*/ 226768 h 239366"/>
                <a:gd name="connsiteX16" fmla="*/ 7559 w 12598"/>
                <a:gd name="connsiteY16" fmla="*/ 235587 h 239366"/>
                <a:gd name="connsiteX17" fmla="*/ 7559 w 12598"/>
                <a:gd name="connsiteY17" fmla="*/ 246925 h 239366"/>
                <a:gd name="connsiteX18" fmla="*/ 3779 w 12598"/>
                <a:gd name="connsiteY18" fmla="*/ 250705 h 239366"/>
                <a:gd name="connsiteX19" fmla="*/ 0 w 12598"/>
                <a:gd name="connsiteY19" fmla="*/ 246925 h 239366"/>
                <a:gd name="connsiteX20" fmla="*/ 0 w 12598"/>
                <a:gd name="connsiteY20" fmla="*/ 239366 h 239366"/>
                <a:gd name="connsiteX21" fmla="*/ 0 w 12598"/>
                <a:gd name="connsiteY21" fmla="*/ 233067 h 239366"/>
                <a:gd name="connsiteX22" fmla="*/ 0 w 12598"/>
                <a:gd name="connsiteY22" fmla="*/ 220469 h 239366"/>
                <a:gd name="connsiteX23" fmla="*/ 0 w 12598"/>
                <a:gd name="connsiteY23" fmla="*/ 214170 h 239366"/>
                <a:gd name="connsiteX24" fmla="*/ 0 w 12598"/>
                <a:gd name="connsiteY24" fmla="*/ 207871 h 239366"/>
                <a:gd name="connsiteX25" fmla="*/ 1260 w 12598"/>
                <a:gd name="connsiteY25" fmla="*/ 195273 h 239366"/>
                <a:gd name="connsiteX26" fmla="*/ 2519 w 12598"/>
                <a:gd name="connsiteY26" fmla="*/ 170076 h 239366"/>
                <a:gd name="connsiteX27" fmla="*/ 3779 w 12598"/>
                <a:gd name="connsiteY27" fmla="*/ 143620 h 239366"/>
                <a:gd name="connsiteX28" fmla="*/ 3779 w 12598"/>
                <a:gd name="connsiteY28" fmla="*/ 131022 h 239366"/>
                <a:gd name="connsiteX29" fmla="*/ 3779 w 12598"/>
                <a:gd name="connsiteY29" fmla="*/ 118424 h 239366"/>
                <a:gd name="connsiteX30" fmla="*/ 3779 w 12598"/>
                <a:gd name="connsiteY30" fmla="*/ 105825 h 239366"/>
                <a:gd name="connsiteX31" fmla="*/ 3779 w 12598"/>
                <a:gd name="connsiteY31" fmla="*/ 93227 h 239366"/>
                <a:gd name="connsiteX32" fmla="*/ 3779 w 12598"/>
                <a:gd name="connsiteY32" fmla="*/ 68031 h 239366"/>
                <a:gd name="connsiteX33" fmla="*/ 5039 w 12598"/>
                <a:gd name="connsiteY33" fmla="*/ 42834 h 239366"/>
                <a:gd name="connsiteX34" fmla="*/ 5039 w 12598"/>
                <a:gd name="connsiteY34" fmla="*/ 23937 h 239366"/>
                <a:gd name="connsiteX35" fmla="*/ 6299 w 12598"/>
                <a:gd name="connsiteY35" fmla="*/ 3780 h 239366"/>
                <a:gd name="connsiteX36" fmla="*/ 10078 w 12598"/>
                <a:gd name="connsiteY36" fmla="*/ 0 h 239366"/>
                <a:gd name="connsiteX37" fmla="*/ 10078 w 12598"/>
                <a:gd name="connsiteY37" fmla="*/ 0 h 239366"/>
                <a:gd name="connsiteX38" fmla="*/ 12598 w 12598"/>
                <a:gd name="connsiteY38" fmla="*/ 5040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598" h="239366">
                  <a:moveTo>
                    <a:pt x="12598" y="5040"/>
                  </a:moveTo>
                  <a:cubicBezTo>
                    <a:pt x="12598" y="13858"/>
                    <a:pt x="12598" y="21417"/>
                    <a:pt x="12598" y="30236"/>
                  </a:cubicBezTo>
                  <a:cubicBezTo>
                    <a:pt x="12598" y="39055"/>
                    <a:pt x="12598" y="46614"/>
                    <a:pt x="11338" y="55433"/>
                  </a:cubicBezTo>
                  <a:cubicBezTo>
                    <a:pt x="11338" y="59212"/>
                    <a:pt x="11338" y="64251"/>
                    <a:pt x="10078" y="68031"/>
                  </a:cubicBezTo>
                  <a:cubicBezTo>
                    <a:pt x="10078" y="71810"/>
                    <a:pt x="10078" y="75589"/>
                    <a:pt x="10078" y="80629"/>
                  </a:cubicBezTo>
                  <a:cubicBezTo>
                    <a:pt x="10078" y="89448"/>
                    <a:pt x="10078" y="97007"/>
                    <a:pt x="10078" y="105825"/>
                  </a:cubicBezTo>
                  <a:cubicBezTo>
                    <a:pt x="10078" y="109605"/>
                    <a:pt x="10078" y="114644"/>
                    <a:pt x="10078" y="118424"/>
                  </a:cubicBezTo>
                  <a:cubicBezTo>
                    <a:pt x="10078" y="120943"/>
                    <a:pt x="10078" y="122203"/>
                    <a:pt x="10078" y="124723"/>
                  </a:cubicBezTo>
                  <a:cubicBezTo>
                    <a:pt x="10078" y="127242"/>
                    <a:pt x="10078" y="128502"/>
                    <a:pt x="10078" y="131022"/>
                  </a:cubicBezTo>
                  <a:cubicBezTo>
                    <a:pt x="10078" y="139840"/>
                    <a:pt x="10078" y="147399"/>
                    <a:pt x="10078" y="156218"/>
                  </a:cubicBezTo>
                  <a:cubicBezTo>
                    <a:pt x="10078" y="159998"/>
                    <a:pt x="10078" y="165037"/>
                    <a:pt x="10078" y="168817"/>
                  </a:cubicBezTo>
                  <a:cubicBezTo>
                    <a:pt x="10078" y="172596"/>
                    <a:pt x="10078" y="177635"/>
                    <a:pt x="10078" y="181415"/>
                  </a:cubicBezTo>
                  <a:cubicBezTo>
                    <a:pt x="10078" y="185194"/>
                    <a:pt x="10078" y="190233"/>
                    <a:pt x="10078" y="194013"/>
                  </a:cubicBezTo>
                  <a:cubicBezTo>
                    <a:pt x="10078" y="197792"/>
                    <a:pt x="10078" y="202832"/>
                    <a:pt x="8819" y="206611"/>
                  </a:cubicBezTo>
                  <a:cubicBezTo>
                    <a:pt x="8819" y="210391"/>
                    <a:pt x="8819" y="212910"/>
                    <a:pt x="7559" y="216690"/>
                  </a:cubicBezTo>
                  <a:cubicBezTo>
                    <a:pt x="7559" y="220469"/>
                    <a:pt x="7559" y="222989"/>
                    <a:pt x="7559" y="226768"/>
                  </a:cubicBezTo>
                  <a:cubicBezTo>
                    <a:pt x="7559" y="229288"/>
                    <a:pt x="7559" y="233067"/>
                    <a:pt x="7559" y="235587"/>
                  </a:cubicBezTo>
                  <a:cubicBezTo>
                    <a:pt x="7559" y="239366"/>
                    <a:pt x="7559" y="243146"/>
                    <a:pt x="7559" y="246925"/>
                  </a:cubicBezTo>
                  <a:cubicBezTo>
                    <a:pt x="7559" y="249445"/>
                    <a:pt x="5039" y="250705"/>
                    <a:pt x="3779" y="250705"/>
                  </a:cubicBezTo>
                  <a:cubicBezTo>
                    <a:pt x="1260" y="250705"/>
                    <a:pt x="0" y="248185"/>
                    <a:pt x="0" y="246925"/>
                  </a:cubicBezTo>
                  <a:cubicBezTo>
                    <a:pt x="0" y="244406"/>
                    <a:pt x="0" y="241886"/>
                    <a:pt x="0" y="239366"/>
                  </a:cubicBezTo>
                  <a:cubicBezTo>
                    <a:pt x="0" y="236847"/>
                    <a:pt x="0" y="235587"/>
                    <a:pt x="0" y="233067"/>
                  </a:cubicBezTo>
                  <a:cubicBezTo>
                    <a:pt x="0" y="229288"/>
                    <a:pt x="0" y="224249"/>
                    <a:pt x="0" y="220469"/>
                  </a:cubicBezTo>
                  <a:cubicBezTo>
                    <a:pt x="0" y="217950"/>
                    <a:pt x="0" y="216690"/>
                    <a:pt x="0" y="214170"/>
                  </a:cubicBezTo>
                  <a:cubicBezTo>
                    <a:pt x="0" y="211651"/>
                    <a:pt x="0" y="210391"/>
                    <a:pt x="0" y="207871"/>
                  </a:cubicBezTo>
                  <a:cubicBezTo>
                    <a:pt x="0" y="204092"/>
                    <a:pt x="1260" y="199052"/>
                    <a:pt x="1260" y="195273"/>
                  </a:cubicBezTo>
                  <a:cubicBezTo>
                    <a:pt x="1260" y="186454"/>
                    <a:pt x="2519" y="178895"/>
                    <a:pt x="2519" y="170076"/>
                  </a:cubicBezTo>
                  <a:cubicBezTo>
                    <a:pt x="3779" y="161258"/>
                    <a:pt x="3779" y="152439"/>
                    <a:pt x="3779" y="143620"/>
                  </a:cubicBezTo>
                  <a:cubicBezTo>
                    <a:pt x="3779" y="139840"/>
                    <a:pt x="3779" y="136061"/>
                    <a:pt x="3779" y="131022"/>
                  </a:cubicBezTo>
                  <a:cubicBezTo>
                    <a:pt x="3779" y="127242"/>
                    <a:pt x="3779" y="123463"/>
                    <a:pt x="3779" y="118424"/>
                  </a:cubicBezTo>
                  <a:cubicBezTo>
                    <a:pt x="3779" y="114644"/>
                    <a:pt x="3779" y="109605"/>
                    <a:pt x="3779" y="105825"/>
                  </a:cubicBezTo>
                  <a:cubicBezTo>
                    <a:pt x="3779" y="102046"/>
                    <a:pt x="3779" y="97007"/>
                    <a:pt x="3779" y="93227"/>
                  </a:cubicBezTo>
                  <a:cubicBezTo>
                    <a:pt x="3779" y="84408"/>
                    <a:pt x="3779" y="76849"/>
                    <a:pt x="3779" y="68031"/>
                  </a:cubicBezTo>
                  <a:cubicBezTo>
                    <a:pt x="3779" y="59212"/>
                    <a:pt x="5039" y="51653"/>
                    <a:pt x="5039" y="42834"/>
                  </a:cubicBezTo>
                  <a:cubicBezTo>
                    <a:pt x="5039" y="36535"/>
                    <a:pt x="5039" y="30236"/>
                    <a:pt x="5039" y="23937"/>
                  </a:cubicBezTo>
                  <a:cubicBezTo>
                    <a:pt x="5039" y="17638"/>
                    <a:pt x="6299" y="10079"/>
                    <a:pt x="6299" y="3780"/>
                  </a:cubicBezTo>
                  <a:cubicBezTo>
                    <a:pt x="6299" y="2520"/>
                    <a:pt x="7559" y="0"/>
                    <a:pt x="10078" y="0"/>
                  </a:cubicBezTo>
                  <a:cubicBezTo>
                    <a:pt x="10078" y="0"/>
                    <a:pt x="10078" y="0"/>
                    <a:pt x="10078" y="0"/>
                  </a:cubicBezTo>
                  <a:cubicBezTo>
                    <a:pt x="11338" y="2520"/>
                    <a:pt x="12598" y="3780"/>
                    <a:pt x="12598" y="504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/>
            <p:cNvSpPr/>
            <p:nvPr/>
          </p:nvSpPr>
          <p:spPr>
            <a:xfrm>
              <a:off x="9718960" y="4797488"/>
              <a:ext cx="8580" cy="94384"/>
            </a:xfrm>
            <a:custGeom>
              <a:avLst/>
              <a:gdLst>
                <a:gd name="connsiteX0" fmla="*/ 10078 w 0"/>
                <a:gd name="connsiteY0" fmla="*/ 1260 h 138580"/>
                <a:gd name="connsiteX1" fmla="*/ 8819 w 0"/>
                <a:gd name="connsiteY1" fmla="*/ 25196 h 138580"/>
                <a:gd name="connsiteX2" fmla="*/ 7559 w 0"/>
                <a:gd name="connsiteY2" fmla="*/ 46613 h 138580"/>
                <a:gd name="connsiteX3" fmla="*/ 7559 w 0"/>
                <a:gd name="connsiteY3" fmla="*/ 93227 h 138580"/>
                <a:gd name="connsiteX4" fmla="*/ 8819 w 0"/>
                <a:gd name="connsiteY4" fmla="*/ 109604 h 138580"/>
                <a:gd name="connsiteX5" fmla="*/ 10078 w 0"/>
                <a:gd name="connsiteY5" fmla="*/ 124722 h 138580"/>
                <a:gd name="connsiteX6" fmla="*/ 10078 w 0"/>
                <a:gd name="connsiteY6" fmla="*/ 128502 h 138580"/>
                <a:gd name="connsiteX7" fmla="*/ 10078 w 0"/>
                <a:gd name="connsiteY7" fmla="*/ 131022 h 138580"/>
                <a:gd name="connsiteX8" fmla="*/ 10078 w 0"/>
                <a:gd name="connsiteY8" fmla="*/ 134801 h 138580"/>
                <a:gd name="connsiteX9" fmla="*/ 8819 w 0"/>
                <a:gd name="connsiteY9" fmla="*/ 137321 h 138580"/>
                <a:gd name="connsiteX10" fmla="*/ 6299 w 0"/>
                <a:gd name="connsiteY10" fmla="*/ 139840 h 138580"/>
                <a:gd name="connsiteX11" fmla="*/ 3779 w 0"/>
                <a:gd name="connsiteY11" fmla="*/ 139840 h 138580"/>
                <a:gd name="connsiteX12" fmla="*/ 1260 w 0"/>
                <a:gd name="connsiteY12" fmla="*/ 137321 h 138580"/>
                <a:gd name="connsiteX13" fmla="*/ 0 w 0"/>
                <a:gd name="connsiteY13" fmla="*/ 134801 h 138580"/>
                <a:gd name="connsiteX14" fmla="*/ 0 w 0"/>
                <a:gd name="connsiteY14" fmla="*/ 133541 h 138580"/>
                <a:gd name="connsiteX15" fmla="*/ 0 w 0"/>
                <a:gd name="connsiteY15" fmla="*/ 132281 h 138580"/>
                <a:gd name="connsiteX16" fmla="*/ 0 w 0"/>
                <a:gd name="connsiteY16" fmla="*/ 129762 h 138580"/>
                <a:gd name="connsiteX17" fmla="*/ 0 w 0"/>
                <a:gd name="connsiteY17" fmla="*/ 124722 h 138580"/>
                <a:gd name="connsiteX18" fmla="*/ 0 w 0"/>
                <a:gd name="connsiteY18" fmla="*/ 113384 h 138580"/>
                <a:gd name="connsiteX19" fmla="*/ 0 w 0"/>
                <a:gd name="connsiteY19" fmla="*/ 90707 h 138580"/>
                <a:gd name="connsiteX20" fmla="*/ 0 w 0"/>
                <a:gd name="connsiteY20" fmla="*/ 85668 h 138580"/>
                <a:gd name="connsiteX21" fmla="*/ 0 w 0"/>
                <a:gd name="connsiteY21" fmla="*/ 80629 h 138580"/>
                <a:gd name="connsiteX22" fmla="*/ 0 w 0"/>
                <a:gd name="connsiteY22" fmla="*/ 69290 h 138580"/>
                <a:gd name="connsiteX23" fmla="*/ 1260 w 0"/>
                <a:gd name="connsiteY23" fmla="*/ 45354 h 138580"/>
                <a:gd name="connsiteX24" fmla="*/ 2519 w 0"/>
                <a:gd name="connsiteY24" fmla="*/ 23937 h 138580"/>
                <a:gd name="connsiteX25" fmla="*/ 3779 w 0"/>
                <a:gd name="connsiteY25" fmla="*/ 1260 h 138580"/>
                <a:gd name="connsiteX26" fmla="*/ 5039 w 0"/>
                <a:gd name="connsiteY26" fmla="*/ 0 h 138580"/>
                <a:gd name="connsiteX27" fmla="*/ 5039 w 0"/>
                <a:gd name="connsiteY27" fmla="*/ 0 h 138580"/>
                <a:gd name="connsiteX28" fmla="*/ 10078 w 0"/>
                <a:gd name="connsiteY28" fmla="*/ 126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h="138580">
                  <a:moveTo>
                    <a:pt x="10078" y="1260"/>
                  </a:moveTo>
                  <a:cubicBezTo>
                    <a:pt x="10078" y="8819"/>
                    <a:pt x="8819" y="17637"/>
                    <a:pt x="8819" y="25196"/>
                  </a:cubicBezTo>
                  <a:cubicBezTo>
                    <a:pt x="8819" y="32755"/>
                    <a:pt x="7559" y="39055"/>
                    <a:pt x="7559" y="46613"/>
                  </a:cubicBezTo>
                  <a:cubicBezTo>
                    <a:pt x="7559" y="61731"/>
                    <a:pt x="7559" y="76849"/>
                    <a:pt x="7559" y="93227"/>
                  </a:cubicBezTo>
                  <a:cubicBezTo>
                    <a:pt x="7559" y="98266"/>
                    <a:pt x="8819" y="104565"/>
                    <a:pt x="8819" y="109604"/>
                  </a:cubicBezTo>
                  <a:cubicBezTo>
                    <a:pt x="8819" y="114644"/>
                    <a:pt x="10078" y="119683"/>
                    <a:pt x="10078" y="124722"/>
                  </a:cubicBezTo>
                  <a:cubicBezTo>
                    <a:pt x="10078" y="125982"/>
                    <a:pt x="10078" y="127242"/>
                    <a:pt x="10078" y="128502"/>
                  </a:cubicBezTo>
                  <a:cubicBezTo>
                    <a:pt x="10078" y="129762"/>
                    <a:pt x="10078" y="129762"/>
                    <a:pt x="10078" y="131022"/>
                  </a:cubicBezTo>
                  <a:cubicBezTo>
                    <a:pt x="10078" y="132281"/>
                    <a:pt x="10078" y="133541"/>
                    <a:pt x="10078" y="134801"/>
                  </a:cubicBezTo>
                  <a:cubicBezTo>
                    <a:pt x="10078" y="136061"/>
                    <a:pt x="10078" y="136061"/>
                    <a:pt x="8819" y="137321"/>
                  </a:cubicBezTo>
                  <a:cubicBezTo>
                    <a:pt x="7559" y="138581"/>
                    <a:pt x="7559" y="139840"/>
                    <a:pt x="6299" y="139840"/>
                  </a:cubicBezTo>
                  <a:cubicBezTo>
                    <a:pt x="5039" y="139840"/>
                    <a:pt x="5039" y="139840"/>
                    <a:pt x="3779" y="139840"/>
                  </a:cubicBezTo>
                  <a:cubicBezTo>
                    <a:pt x="2519" y="139840"/>
                    <a:pt x="1260" y="138581"/>
                    <a:pt x="1260" y="137321"/>
                  </a:cubicBezTo>
                  <a:cubicBezTo>
                    <a:pt x="1260" y="136061"/>
                    <a:pt x="0" y="136061"/>
                    <a:pt x="0" y="134801"/>
                  </a:cubicBezTo>
                  <a:cubicBezTo>
                    <a:pt x="0" y="134801"/>
                    <a:pt x="0" y="134801"/>
                    <a:pt x="0" y="133541"/>
                  </a:cubicBezTo>
                  <a:cubicBezTo>
                    <a:pt x="0" y="133541"/>
                    <a:pt x="0" y="132281"/>
                    <a:pt x="0" y="132281"/>
                  </a:cubicBezTo>
                  <a:cubicBezTo>
                    <a:pt x="0" y="131022"/>
                    <a:pt x="0" y="129762"/>
                    <a:pt x="0" y="129762"/>
                  </a:cubicBezTo>
                  <a:cubicBezTo>
                    <a:pt x="0" y="128502"/>
                    <a:pt x="0" y="125982"/>
                    <a:pt x="0" y="124722"/>
                  </a:cubicBezTo>
                  <a:cubicBezTo>
                    <a:pt x="0" y="120943"/>
                    <a:pt x="0" y="117163"/>
                    <a:pt x="0" y="113384"/>
                  </a:cubicBezTo>
                  <a:cubicBezTo>
                    <a:pt x="0" y="105825"/>
                    <a:pt x="0" y="98266"/>
                    <a:pt x="0" y="90707"/>
                  </a:cubicBezTo>
                  <a:cubicBezTo>
                    <a:pt x="0" y="89448"/>
                    <a:pt x="0" y="88188"/>
                    <a:pt x="0" y="85668"/>
                  </a:cubicBezTo>
                  <a:cubicBezTo>
                    <a:pt x="0" y="84408"/>
                    <a:pt x="0" y="81889"/>
                    <a:pt x="0" y="80629"/>
                  </a:cubicBezTo>
                  <a:cubicBezTo>
                    <a:pt x="0" y="76849"/>
                    <a:pt x="0" y="73070"/>
                    <a:pt x="0" y="69290"/>
                  </a:cubicBezTo>
                  <a:cubicBezTo>
                    <a:pt x="0" y="61731"/>
                    <a:pt x="1260" y="52912"/>
                    <a:pt x="1260" y="45354"/>
                  </a:cubicBezTo>
                  <a:cubicBezTo>
                    <a:pt x="1260" y="37795"/>
                    <a:pt x="2519" y="31496"/>
                    <a:pt x="2519" y="23937"/>
                  </a:cubicBezTo>
                  <a:cubicBezTo>
                    <a:pt x="2519" y="16378"/>
                    <a:pt x="3779" y="8819"/>
                    <a:pt x="3779" y="1260"/>
                  </a:cubicBezTo>
                  <a:cubicBezTo>
                    <a:pt x="3779" y="0"/>
                    <a:pt x="5039" y="0"/>
                    <a:pt x="5039" y="0"/>
                  </a:cubicBezTo>
                  <a:cubicBezTo>
                    <a:pt x="5039" y="0"/>
                    <a:pt x="5039" y="0"/>
                    <a:pt x="5039" y="0"/>
                  </a:cubicBezTo>
                  <a:cubicBezTo>
                    <a:pt x="10078" y="0"/>
                    <a:pt x="10078" y="1260"/>
                    <a:pt x="10078" y="126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/>
            <p:cNvSpPr/>
            <p:nvPr/>
          </p:nvSpPr>
          <p:spPr>
            <a:xfrm>
              <a:off x="9716386" y="4788737"/>
              <a:ext cx="8580" cy="102964"/>
            </a:xfrm>
            <a:custGeom>
              <a:avLst/>
              <a:gdLst>
                <a:gd name="connsiteX0" fmla="*/ 18897 w 12598"/>
                <a:gd name="connsiteY0" fmla="*/ 5289 h 151178"/>
                <a:gd name="connsiteX1" fmla="*/ 17638 w 12598"/>
                <a:gd name="connsiteY1" fmla="*/ 25447 h 151178"/>
                <a:gd name="connsiteX2" fmla="*/ 16378 w 12598"/>
                <a:gd name="connsiteY2" fmla="*/ 44344 h 151178"/>
                <a:gd name="connsiteX3" fmla="*/ 15118 w 12598"/>
                <a:gd name="connsiteY3" fmla="*/ 84658 h 151178"/>
                <a:gd name="connsiteX4" fmla="*/ 15118 w 12598"/>
                <a:gd name="connsiteY4" fmla="*/ 111115 h 151178"/>
                <a:gd name="connsiteX5" fmla="*/ 15118 w 12598"/>
                <a:gd name="connsiteY5" fmla="*/ 123713 h 151178"/>
                <a:gd name="connsiteX6" fmla="*/ 16378 w 12598"/>
                <a:gd name="connsiteY6" fmla="*/ 136311 h 151178"/>
                <a:gd name="connsiteX7" fmla="*/ 17638 w 12598"/>
                <a:gd name="connsiteY7" fmla="*/ 147649 h 151178"/>
                <a:gd name="connsiteX8" fmla="*/ 16378 w 12598"/>
                <a:gd name="connsiteY8" fmla="*/ 151429 h 151178"/>
                <a:gd name="connsiteX9" fmla="*/ 12598 w 12598"/>
                <a:gd name="connsiteY9" fmla="*/ 153948 h 151178"/>
                <a:gd name="connsiteX10" fmla="*/ 5040 w 12598"/>
                <a:gd name="connsiteY10" fmla="*/ 150169 h 151178"/>
                <a:gd name="connsiteX11" fmla="*/ 1260 w 12598"/>
                <a:gd name="connsiteY11" fmla="*/ 108595 h 151178"/>
                <a:gd name="connsiteX12" fmla="*/ 0 w 12598"/>
                <a:gd name="connsiteY12" fmla="*/ 67021 h 151178"/>
                <a:gd name="connsiteX13" fmla="*/ 0 w 12598"/>
                <a:gd name="connsiteY13" fmla="*/ 35525 h 151178"/>
                <a:gd name="connsiteX14" fmla="*/ 1260 w 12598"/>
                <a:gd name="connsiteY14" fmla="*/ 20408 h 151178"/>
                <a:gd name="connsiteX15" fmla="*/ 2520 w 12598"/>
                <a:gd name="connsiteY15" fmla="*/ 11589 h 151178"/>
                <a:gd name="connsiteX16" fmla="*/ 3780 w 12598"/>
                <a:gd name="connsiteY16" fmla="*/ 4030 h 151178"/>
                <a:gd name="connsiteX17" fmla="*/ 5040 w 12598"/>
                <a:gd name="connsiteY17" fmla="*/ 1510 h 151178"/>
                <a:gd name="connsiteX18" fmla="*/ 8819 w 12598"/>
                <a:gd name="connsiteY18" fmla="*/ 250 h 151178"/>
                <a:gd name="connsiteX19" fmla="*/ 8819 w 12598"/>
                <a:gd name="connsiteY19" fmla="*/ 250 h 151178"/>
                <a:gd name="connsiteX20" fmla="*/ 18897 w 12598"/>
                <a:gd name="connsiteY20" fmla="*/ 528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598" h="151178">
                  <a:moveTo>
                    <a:pt x="18897" y="5289"/>
                  </a:moveTo>
                  <a:cubicBezTo>
                    <a:pt x="18897" y="11589"/>
                    <a:pt x="18897" y="19148"/>
                    <a:pt x="17638" y="25447"/>
                  </a:cubicBezTo>
                  <a:cubicBezTo>
                    <a:pt x="17638" y="31746"/>
                    <a:pt x="17638" y="38045"/>
                    <a:pt x="16378" y="44344"/>
                  </a:cubicBezTo>
                  <a:cubicBezTo>
                    <a:pt x="16378" y="58202"/>
                    <a:pt x="15118" y="70800"/>
                    <a:pt x="15118" y="84658"/>
                  </a:cubicBezTo>
                  <a:cubicBezTo>
                    <a:pt x="15118" y="93477"/>
                    <a:pt x="15118" y="102296"/>
                    <a:pt x="15118" y="111115"/>
                  </a:cubicBezTo>
                  <a:cubicBezTo>
                    <a:pt x="15118" y="114894"/>
                    <a:pt x="15118" y="119933"/>
                    <a:pt x="15118" y="123713"/>
                  </a:cubicBezTo>
                  <a:cubicBezTo>
                    <a:pt x="15118" y="127493"/>
                    <a:pt x="15118" y="131272"/>
                    <a:pt x="16378" y="136311"/>
                  </a:cubicBezTo>
                  <a:cubicBezTo>
                    <a:pt x="16378" y="140091"/>
                    <a:pt x="17638" y="143870"/>
                    <a:pt x="17638" y="147649"/>
                  </a:cubicBezTo>
                  <a:cubicBezTo>
                    <a:pt x="17638" y="148909"/>
                    <a:pt x="17638" y="150169"/>
                    <a:pt x="16378" y="151429"/>
                  </a:cubicBezTo>
                  <a:cubicBezTo>
                    <a:pt x="15118" y="152689"/>
                    <a:pt x="13858" y="153948"/>
                    <a:pt x="12598" y="153948"/>
                  </a:cubicBezTo>
                  <a:cubicBezTo>
                    <a:pt x="10079" y="155208"/>
                    <a:pt x="6299" y="152689"/>
                    <a:pt x="5040" y="150169"/>
                  </a:cubicBezTo>
                  <a:cubicBezTo>
                    <a:pt x="2520" y="136311"/>
                    <a:pt x="1260" y="122453"/>
                    <a:pt x="1260" y="108595"/>
                  </a:cubicBezTo>
                  <a:cubicBezTo>
                    <a:pt x="1260" y="94737"/>
                    <a:pt x="0" y="80879"/>
                    <a:pt x="0" y="67021"/>
                  </a:cubicBezTo>
                  <a:cubicBezTo>
                    <a:pt x="0" y="56942"/>
                    <a:pt x="0" y="45604"/>
                    <a:pt x="0" y="35525"/>
                  </a:cubicBezTo>
                  <a:cubicBezTo>
                    <a:pt x="0" y="30486"/>
                    <a:pt x="0" y="25447"/>
                    <a:pt x="1260" y="20408"/>
                  </a:cubicBezTo>
                  <a:cubicBezTo>
                    <a:pt x="1260" y="17888"/>
                    <a:pt x="2520" y="14108"/>
                    <a:pt x="2520" y="11589"/>
                  </a:cubicBezTo>
                  <a:cubicBezTo>
                    <a:pt x="2520" y="9069"/>
                    <a:pt x="3780" y="6549"/>
                    <a:pt x="3780" y="4030"/>
                  </a:cubicBezTo>
                  <a:cubicBezTo>
                    <a:pt x="3780" y="2770"/>
                    <a:pt x="5040" y="2770"/>
                    <a:pt x="5040" y="1510"/>
                  </a:cubicBezTo>
                  <a:cubicBezTo>
                    <a:pt x="6299" y="250"/>
                    <a:pt x="7559" y="250"/>
                    <a:pt x="8819" y="250"/>
                  </a:cubicBezTo>
                  <a:cubicBezTo>
                    <a:pt x="8819" y="250"/>
                    <a:pt x="8819" y="250"/>
                    <a:pt x="8819" y="250"/>
                  </a:cubicBezTo>
                  <a:cubicBezTo>
                    <a:pt x="16378" y="-1010"/>
                    <a:pt x="18897" y="2770"/>
                    <a:pt x="18897" y="5289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/>
            <p:cNvSpPr/>
            <p:nvPr/>
          </p:nvSpPr>
          <p:spPr>
            <a:xfrm>
              <a:off x="9779022" y="4757160"/>
              <a:ext cx="8580" cy="128705"/>
            </a:xfrm>
            <a:custGeom>
              <a:avLst/>
              <a:gdLst>
                <a:gd name="connsiteX0" fmla="*/ 21417 w 12598"/>
                <a:gd name="connsiteY0" fmla="*/ 3780 h 188973"/>
                <a:gd name="connsiteX1" fmla="*/ 21417 w 12598"/>
                <a:gd name="connsiteY1" fmla="*/ 18897 h 188973"/>
                <a:gd name="connsiteX2" fmla="*/ 21417 w 12598"/>
                <a:gd name="connsiteY2" fmla="*/ 34015 h 188973"/>
                <a:gd name="connsiteX3" fmla="*/ 20157 w 12598"/>
                <a:gd name="connsiteY3" fmla="*/ 62991 h 188973"/>
                <a:gd name="connsiteX4" fmla="*/ 17637 w 12598"/>
                <a:gd name="connsiteY4" fmla="*/ 91967 h 188973"/>
                <a:gd name="connsiteX5" fmla="*/ 15118 w 12598"/>
                <a:gd name="connsiteY5" fmla="*/ 122203 h 188973"/>
                <a:gd name="connsiteX6" fmla="*/ 12598 w 12598"/>
                <a:gd name="connsiteY6" fmla="*/ 151179 h 188973"/>
                <a:gd name="connsiteX7" fmla="*/ 10078 w 12598"/>
                <a:gd name="connsiteY7" fmla="*/ 180155 h 188973"/>
                <a:gd name="connsiteX8" fmla="*/ 10078 w 12598"/>
                <a:gd name="connsiteY8" fmla="*/ 194013 h 188973"/>
                <a:gd name="connsiteX9" fmla="*/ 5039 w 12598"/>
                <a:gd name="connsiteY9" fmla="*/ 199052 h 188973"/>
                <a:gd name="connsiteX10" fmla="*/ 0 w 12598"/>
                <a:gd name="connsiteY10" fmla="*/ 194013 h 188973"/>
                <a:gd name="connsiteX11" fmla="*/ 0 w 12598"/>
                <a:gd name="connsiteY11" fmla="*/ 176375 h 188973"/>
                <a:gd name="connsiteX12" fmla="*/ 1260 w 12598"/>
                <a:gd name="connsiteY12" fmla="*/ 161258 h 188973"/>
                <a:gd name="connsiteX13" fmla="*/ 3779 w 12598"/>
                <a:gd name="connsiteY13" fmla="*/ 132281 h 188973"/>
                <a:gd name="connsiteX14" fmla="*/ 5039 w 12598"/>
                <a:gd name="connsiteY14" fmla="*/ 103306 h 188973"/>
                <a:gd name="connsiteX15" fmla="*/ 7559 w 12598"/>
                <a:gd name="connsiteY15" fmla="*/ 73070 h 188973"/>
                <a:gd name="connsiteX16" fmla="*/ 10078 w 12598"/>
                <a:gd name="connsiteY16" fmla="*/ 44094 h 188973"/>
                <a:gd name="connsiteX17" fmla="*/ 11338 w 12598"/>
                <a:gd name="connsiteY17" fmla="*/ 28976 h 188973"/>
                <a:gd name="connsiteX18" fmla="*/ 12598 w 12598"/>
                <a:gd name="connsiteY18" fmla="*/ 13858 h 188973"/>
                <a:gd name="connsiteX19" fmla="*/ 13858 w 12598"/>
                <a:gd name="connsiteY19" fmla="*/ 3780 h 188973"/>
                <a:gd name="connsiteX20" fmla="*/ 15118 w 12598"/>
                <a:gd name="connsiteY20" fmla="*/ 1260 h 188973"/>
                <a:gd name="connsiteX21" fmla="*/ 17637 w 12598"/>
                <a:gd name="connsiteY21" fmla="*/ 0 h 188973"/>
                <a:gd name="connsiteX22" fmla="*/ 17637 w 12598"/>
                <a:gd name="connsiteY22" fmla="*/ 0 h 188973"/>
                <a:gd name="connsiteX23" fmla="*/ 21417 w 12598"/>
                <a:gd name="connsiteY23" fmla="*/ 378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598" h="188973">
                  <a:moveTo>
                    <a:pt x="21417" y="3780"/>
                  </a:moveTo>
                  <a:cubicBezTo>
                    <a:pt x="21417" y="8819"/>
                    <a:pt x="21417" y="13858"/>
                    <a:pt x="21417" y="18897"/>
                  </a:cubicBezTo>
                  <a:cubicBezTo>
                    <a:pt x="21417" y="23937"/>
                    <a:pt x="21417" y="28976"/>
                    <a:pt x="21417" y="34015"/>
                  </a:cubicBezTo>
                  <a:cubicBezTo>
                    <a:pt x="21417" y="44094"/>
                    <a:pt x="20157" y="54173"/>
                    <a:pt x="20157" y="62991"/>
                  </a:cubicBezTo>
                  <a:cubicBezTo>
                    <a:pt x="18897" y="73070"/>
                    <a:pt x="18897" y="81889"/>
                    <a:pt x="17637" y="91967"/>
                  </a:cubicBezTo>
                  <a:cubicBezTo>
                    <a:pt x="16378" y="102046"/>
                    <a:pt x="16378" y="112124"/>
                    <a:pt x="15118" y="122203"/>
                  </a:cubicBezTo>
                  <a:cubicBezTo>
                    <a:pt x="15118" y="132281"/>
                    <a:pt x="13858" y="142360"/>
                    <a:pt x="12598" y="151179"/>
                  </a:cubicBezTo>
                  <a:cubicBezTo>
                    <a:pt x="11338" y="161258"/>
                    <a:pt x="11338" y="170076"/>
                    <a:pt x="10078" y="180155"/>
                  </a:cubicBezTo>
                  <a:cubicBezTo>
                    <a:pt x="10078" y="185194"/>
                    <a:pt x="10078" y="188974"/>
                    <a:pt x="10078" y="194013"/>
                  </a:cubicBezTo>
                  <a:cubicBezTo>
                    <a:pt x="10078" y="196533"/>
                    <a:pt x="7559" y="199052"/>
                    <a:pt x="5039" y="199052"/>
                  </a:cubicBezTo>
                  <a:cubicBezTo>
                    <a:pt x="2519" y="199052"/>
                    <a:pt x="0" y="196533"/>
                    <a:pt x="0" y="194013"/>
                  </a:cubicBezTo>
                  <a:cubicBezTo>
                    <a:pt x="0" y="187714"/>
                    <a:pt x="0" y="182674"/>
                    <a:pt x="0" y="176375"/>
                  </a:cubicBezTo>
                  <a:cubicBezTo>
                    <a:pt x="0" y="171336"/>
                    <a:pt x="0" y="166297"/>
                    <a:pt x="1260" y="161258"/>
                  </a:cubicBezTo>
                  <a:cubicBezTo>
                    <a:pt x="1260" y="151179"/>
                    <a:pt x="2519" y="141100"/>
                    <a:pt x="3779" y="132281"/>
                  </a:cubicBezTo>
                  <a:cubicBezTo>
                    <a:pt x="3779" y="122203"/>
                    <a:pt x="5039" y="112124"/>
                    <a:pt x="5039" y="103306"/>
                  </a:cubicBezTo>
                  <a:cubicBezTo>
                    <a:pt x="6299" y="93227"/>
                    <a:pt x="6299" y="83148"/>
                    <a:pt x="7559" y="73070"/>
                  </a:cubicBezTo>
                  <a:cubicBezTo>
                    <a:pt x="8819" y="62991"/>
                    <a:pt x="8819" y="54173"/>
                    <a:pt x="10078" y="44094"/>
                  </a:cubicBezTo>
                  <a:cubicBezTo>
                    <a:pt x="10078" y="39055"/>
                    <a:pt x="11338" y="34015"/>
                    <a:pt x="11338" y="28976"/>
                  </a:cubicBezTo>
                  <a:cubicBezTo>
                    <a:pt x="11338" y="23937"/>
                    <a:pt x="12598" y="18897"/>
                    <a:pt x="12598" y="13858"/>
                  </a:cubicBezTo>
                  <a:cubicBezTo>
                    <a:pt x="12598" y="10079"/>
                    <a:pt x="13858" y="7559"/>
                    <a:pt x="13858" y="3780"/>
                  </a:cubicBezTo>
                  <a:cubicBezTo>
                    <a:pt x="13858" y="2520"/>
                    <a:pt x="13858" y="2520"/>
                    <a:pt x="15118" y="1260"/>
                  </a:cubicBezTo>
                  <a:cubicBezTo>
                    <a:pt x="16378" y="1260"/>
                    <a:pt x="16378" y="0"/>
                    <a:pt x="17637" y="0"/>
                  </a:cubicBezTo>
                  <a:cubicBezTo>
                    <a:pt x="17637" y="0"/>
                    <a:pt x="17637" y="0"/>
                    <a:pt x="17637" y="0"/>
                  </a:cubicBezTo>
                  <a:cubicBezTo>
                    <a:pt x="20157" y="0"/>
                    <a:pt x="21417" y="1260"/>
                    <a:pt x="21417" y="37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/>
            <p:cNvSpPr/>
            <p:nvPr/>
          </p:nvSpPr>
          <p:spPr>
            <a:xfrm>
              <a:off x="9820208" y="3646005"/>
              <a:ext cx="77223" cy="34321"/>
            </a:xfrm>
            <a:custGeom>
              <a:avLst/>
              <a:gdLst>
                <a:gd name="connsiteX0" fmla="*/ 122203 w 113384"/>
                <a:gd name="connsiteY0" fmla="*/ 0 h 50392"/>
                <a:gd name="connsiteX1" fmla="*/ 122203 w 113384"/>
                <a:gd name="connsiteY1" fmla="*/ 0 h 50392"/>
                <a:gd name="connsiteX2" fmla="*/ 122203 w 113384"/>
                <a:gd name="connsiteY2" fmla="*/ 3780 h 50392"/>
                <a:gd name="connsiteX3" fmla="*/ 122203 w 113384"/>
                <a:gd name="connsiteY3" fmla="*/ 7559 h 50392"/>
                <a:gd name="connsiteX4" fmla="*/ 122203 w 113384"/>
                <a:gd name="connsiteY4" fmla="*/ 8819 h 50392"/>
                <a:gd name="connsiteX5" fmla="*/ 120943 w 113384"/>
                <a:gd name="connsiteY5" fmla="*/ 12598 h 50392"/>
                <a:gd name="connsiteX6" fmla="*/ 117164 w 113384"/>
                <a:gd name="connsiteY6" fmla="*/ 21417 h 50392"/>
                <a:gd name="connsiteX7" fmla="*/ 112124 w 113384"/>
                <a:gd name="connsiteY7" fmla="*/ 27716 h 50392"/>
                <a:gd name="connsiteX8" fmla="*/ 99526 w 113384"/>
                <a:gd name="connsiteY8" fmla="*/ 40315 h 50392"/>
                <a:gd name="connsiteX9" fmla="*/ 90707 w 113384"/>
                <a:gd name="connsiteY9" fmla="*/ 45354 h 50392"/>
                <a:gd name="connsiteX10" fmla="*/ 89448 w 113384"/>
                <a:gd name="connsiteY10" fmla="*/ 46614 h 50392"/>
                <a:gd name="connsiteX11" fmla="*/ 83148 w 113384"/>
                <a:gd name="connsiteY11" fmla="*/ 50393 h 50392"/>
                <a:gd name="connsiteX12" fmla="*/ 65511 w 113384"/>
                <a:gd name="connsiteY12" fmla="*/ 55432 h 50392"/>
                <a:gd name="connsiteX13" fmla="*/ 55432 w 113384"/>
                <a:gd name="connsiteY13" fmla="*/ 55432 h 50392"/>
                <a:gd name="connsiteX14" fmla="*/ 46614 w 113384"/>
                <a:gd name="connsiteY14" fmla="*/ 55432 h 50392"/>
                <a:gd name="connsiteX15" fmla="*/ 45354 w 113384"/>
                <a:gd name="connsiteY15" fmla="*/ 55432 h 50392"/>
                <a:gd name="connsiteX16" fmla="*/ 37795 w 113384"/>
                <a:gd name="connsiteY16" fmla="*/ 54172 h 50392"/>
                <a:gd name="connsiteX17" fmla="*/ 30236 w 113384"/>
                <a:gd name="connsiteY17" fmla="*/ 51653 h 50392"/>
                <a:gd name="connsiteX18" fmla="*/ 17637 w 113384"/>
                <a:gd name="connsiteY18" fmla="*/ 45354 h 50392"/>
                <a:gd name="connsiteX19" fmla="*/ 11338 w 113384"/>
                <a:gd name="connsiteY19" fmla="*/ 40315 h 50392"/>
                <a:gd name="connsiteX20" fmla="*/ 6299 w 113384"/>
                <a:gd name="connsiteY20" fmla="*/ 34015 h 50392"/>
                <a:gd name="connsiteX21" fmla="*/ 3780 w 113384"/>
                <a:gd name="connsiteY21" fmla="*/ 27716 h 50392"/>
                <a:gd name="connsiteX22" fmla="*/ 1260 w 113384"/>
                <a:gd name="connsiteY22" fmla="*/ 20157 h 50392"/>
                <a:gd name="connsiteX23" fmla="*/ 0 w 113384"/>
                <a:gd name="connsiteY23" fmla="*/ 12598 h 50392"/>
                <a:gd name="connsiteX24" fmla="*/ 0 w 113384"/>
                <a:gd name="connsiteY24" fmla="*/ 12598 h 50392"/>
                <a:gd name="connsiteX25" fmla="*/ 0 w 113384"/>
                <a:gd name="connsiteY25" fmla="*/ 12598 h 50392"/>
                <a:gd name="connsiteX26" fmla="*/ 0 w 113384"/>
                <a:gd name="connsiteY26" fmla="*/ 12598 h 50392"/>
                <a:gd name="connsiteX27" fmla="*/ 6299 w 113384"/>
                <a:gd name="connsiteY27" fmla="*/ 7559 h 50392"/>
                <a:gd name="connsiteX28" fmla="*/ 6299 w 113384"/>
                <a:gd name="connsiteY28" fmla="*/ 7559 h 50392"/>
                <a:gd name="connsiteX29" fmla="*/ 13858 w 113384"/>
                <a:gd name="connsiteY29" fmla="*/ 6299 h 50392"/>
                <a:gd name="connsiteX30" fmla="*/ 34015 w 113384"/>
                <a:gd name="connsiteY30" fmla="*/ 3780 h 50392"/>
                <a:gd name="connsiteX31" fmla="*/ 45354 w 113384"/>
                <a:gd name="connsiteY31" fmla="*/ 2520 h 50392"/>
                <a:gd name="connsiteX32" fmla="*/ 56692 w 113384"/>
                <a:gd name="connsiteY32" fmla="*/ 1260 h 50392"/>
                <a:gd name="connsiteX33" fmla="*/ 76849 w 113384"/>
                <a:gd name="connsiteY33" fmla="*/ 0 h 50392"/>
                <a:gd name="connsiteX34" fmla="*/ 97007 w 113384"/>
                <a:gd name="connsiteY34" fmla="*/ 0 h 50392"/>
                <a:gd name="connsiteX35" fmla="*/ 118423 w 113384"/>
                <a:gd name="connsiteY35" fmla="*/ 0 h 50392"/>
                <a:gd name="connsiteX36" fmla="*/ 122203 w 113384"/>
                <a:gd name="connsiteY36" fmla="*/ 0 h 50392"/>
                <a:gd name="connsiteX37" fmla="*/ 122203 w 113384"/>
                <a:gd name="connsiteY37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3384" h="50392">
                  <a:moveTo>
                    <a:pt x="122203" y="0"/>
                  </a:moveTo>
                  <a:lnTo>
                    <a:pt x="122203" y="0"/>
                  </a:lnTo>
                  <a:cubicBezTo>
                    <a:pt x="122203" y="1260"/>
                    <a:pt x="122203" y="2520"/>
                    <a:pt x="122203" y="3780"/>
                  </a:cubicBezTo>
                  <a:cubicBezTo>
                    <a:pt x="122203" y="5039"/>
                    <a:pt x="122203" y="6299"/>
                    <a:pt x="122203" y="7559"/>
                  </a:cubicBezTo>
                  <a:lnTo>
                    <a:pt x="122203" y="8819"/>
                  </a:lnTo>
                  <a:cubicBezTo>
                    <a:pt x="122203" y="10079"/>
                    <a:pt x="122203" y="11339"/>
                    <a:pt x="120943" y="12598"/>
                  </a:cubicBezTo>
                  <a:cubicBezTo>
                    <a:pt x="119683" y="15118"/>
                    <a:pt x="118423" y="18897"/>
                    <a:pt x="117164" y="21417"/>
                  </a:cubicBezTo>
                  <a:cubicBezTo>
                    <a:pt x="115904" y="23937"/>
                    <a:pt x="114644" y="25196"/>
                    <a:pt x="112124" y="27716"/>
                  </a:cubicBezTo>
                  <a:cubicBezTo>
                    <a:pt x="108345" y="31496"/>
                    <a:pt x="104566" y="36535"/>
                    <a:pt x="99526" y="40315"/>
                  </a:cubicBezTo>
                  <a:cubicBezTo>
                    <a:pt x="97007" y="41574"/>
                    <a:pt x="94487" y="44094"/>
                    <a:pt x="90707" y="45354"/>
                  </a:cubicBezTo>
                  <a:lnTo>
                    <a:pt x="89448" y="46614"/>
                  </a:lnTo>
                  <a:cubicBezTo>
                    <a:pt x="88188" y="47873"/>
                    <a:pt x="85668" y="49133"/>
                    <a:pt x="83148" y="50393"/>
                  </a:cubicBezTo>
                  <a:cubicBezTo>
                    <a:pt x="78109" y="52913"/>
                    <a:pt x="71810" y="54172"/>
                    <a:pt x="65511" y="55432"/>
                  </a:cubicBezTo>
                  <a:cubicBezTo>
                    <a:pt x="61731" y="55432"/>
                    <a:pt x="59212" y="55432"/>
                    <a:pt x="55432" y="55432"/>
                  </a:cubicBezTo>
                  <a:cubicBezTo>
                    <a:pt x="52913" y="55432"/>
                    <a:pt x="49133" y="55432"/>
                    <a:pt x="46614" y="55432"/>
                  </a:cubicBezTo>
                  <a:cubicBezTo>
                    <a:pt x="46614" y="55432"/>
                    <a:pt x="45354" y="55432"/>
                    <a:pt x="45354" y="55432"/>
                  </a:cubicBezTo>
                  <a:cubicBezTo>
                    <a:pt x="42834" y="55432"/>
                    <a:pt x="40314" y="55432"/>
                    <a:pt x="37795" y="54172"/>
                  </a:cubicBezTo>
                  <a:cubicBezTo>
                    <a:pt x="35275" y="54172"/>
                    <a:pt x="32755" y="52913"/>
                    <a:pt x="30236" y="51653"/>
                  </a:cubicBezTo>
                  <a:cubicBezTo>
                    <a:pt x="26456" y="50393"/>
                    <a:pt x="22677" y="47873"/>
                    <a:pt x="17637" y="45354"/>
                  </a:cubicBezTo>
                  <a:cubicBezTo>
                    <a:pt x="15118" y="44094"/>
                    <a:pt x="12598" y="42834"/>
                    <a:pt x="11338" y="40315"/>
                  </a:cubicBezTo>
                  <a:cubicBezTo>
                    <a:pt x="8819" y="39055"/>
                    <a:pt x="7559" y="36535"/>
                    <a:pt x="6299" y="34015"/>
                  </a:cubicBezTo>
                  <a:cubicBezTo>
                    <a:pt x="5039" y="31496"/>
                    <a:pt x="3780" y="28976"/>
                    <a:pt x="3780" y="27716"/>
                  </a:cubicBezTo>
                  <a:cubicBezTo>
                    <a:pt x="2520" y="25196"/>
                    <a:pt x="2520" y="22677"/>
                    <a:pt x="1260" y="20157"/>
                  </a:cubicBezTo>
                  <a:cubicBezTo>
                    <a:pt x="1260" y="17638"/>
                    <a:pt x="0" y="15118"/>
                    <a:pt x="0" y="12598"/>
                  </a:cubicBezTo>
                  <a:lnTo>
                    <a:pt x="0" y="12598"/>
                  </a:lnTo>
                  <a:cubicBezTo>
                    <a:pt x="0" y="12598"/>
                    <a:pt x="0" y="12598"/>
                    <a:pt x="0" y="12598"/>
                  </a:cubicBezTo>
                  <a:cubicBezTo>
                    <a:pt x="0" y="12598"/>
                    <a:pt x="0" y="12598"/>
                    <a:pt x="0" y="12598"/>
                  </a:cubicBezTo>
                  <a:cubicBezTo>
                    <a:pt x="2520" y="11339"/>
                    <a:pt x="3780" y="10079"/>
                    <a:pt x="6299" y="7559"/>
                  </a:cubicBezTo>
                  <a:cubicBezTo>
                    <a:pt x="6299" y="7559"/>
                    <a:pt x="6299" y="7559"/>
                    <a:pt x="6299" y="7559"/>
                  </a:cubicBezTo>
                  <a:cubicBezTo>
                    <a:pt x="8819" y="7559"/>
                    <a:pt x="11338" y="6299"/>
                    <a:pt x="13858" y="6299"/>
                  </a:cubicBezTo>
                  <a:cubicBezTo>
                    <a:pt x="20157" y="5039"/>
                    <a:pt x="26456" y="5039"/>
                    <a:pt x="34015" y="3780"/>
                  </a:cubicBezTo>
                  <a:cubicBezTo>
                    <a:pt x="37795" y="3780"/>
                    <a:pt x="41574" y="2520"/>
                    <a:pt x="45354" y="2520"/>
                  </a:cubicBezTo>
                  <a:cubicBezTo>
                    <a:pt x="49133" y="2520"/>
                    <a:pt x="52913" y="1260"/>
                    <a:pt x="56692" y="1260"/>
                  </a:cubicBezTo>
                  <a:cubicBezTo>
                    <a:pt x="62991" y="0"/>
                    <a:pt x="69290" y="0"/>
                    <a:pt x="76849" y="0"/>
                  </a:cubicBezTo>
                  <a:cubicBezTo>
                    <a:pt x="83148" y="0"/>
                    <a:pt x="90707" y="0"/>
                    <a:pt x="97007" y="0"/>
                  </a:cubicBezTo>
                  <a:cubicBezTo>
                    <a:pt x="104566" y="0"/>
                    <a:pt x="112124" y="0"/>
                    <a:pt x="118423" y="0"/>
                  </a:cubicBezTo>
                  <a:cubicBezTo>
                    <a:pt x="122203" y="0"/>
                    <a:pt x="122203" y="0"/>
                    <a:pt x="122203" y="0"/>
                  </a:cubicBezTo>
                  <a:lnTo>
                    <a:pt x="122203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/>
            <p:cNvSpPr/>
            <p:nvPr/>
          </p:nvSpPr>
          <p:spPr>
            <a:xfrm>
              <a:off x="10049304" y="3882822"/>
              <a:ext cx="94384" cy="60063"/>
            </a:xfrm>
            <a:custGeom>
              <a:avLst/>
              <a:gdLst>
                <a:gd name="connsiteX0" fmla="*/ 108345 w 138580"/>
                <a:gd name="connsiteY0" fmla="*/ 0 h 88187"/>
                <a:gd name="connsiteX1" fmla="*/ 114644 w 138580"/>
                <a:gd name="connsiteY1" fmla="*/ 1260 h 88187"/>
                <a:gd name="connsiteX2" fmla="*/ 122203 w 138580"/>
                <a:gd name="connsiteY2" fmla="*/ 5039 h 88187"/>
                <a:gd name="connsiteX3" fmla="*/ 123463 w 138580"/>
                <a:gd name="connsiteY3" fmla="*/ 6299 h 88187"/>
                <a:gd name="connsiteX4" fmla="*/ 131022 w 138580"/>
                <a:gd name="connsiteY4" fmla="*/ 10079 h 88187"/>
                <a:gd name="connsiteX5" fmla="*/ 134801 w 138580"/>
                <a:gd name="connsiteY5" fmla="*/ 13858 h 88187"/>
                <a:gd name="connsiteX6" fmla="*/ 139840 w 138580"/>
                <a:gd name="connsiteY6" fmla="*/ 25196 h 88187"/>
                <a:gd name="connsiteX7" fmla="*/ 142360 w 138580"/>
                <a:gd name="connsiteY7" fmla="*/ 35275 h 88187"/>
                <a:gd name="connsiteX8" fmla="*/ 142360 w 138580"/>
                <a:gd name="connsiteY8" fmla="*/ 35275 h 88187"/>
                <a:gd name="connsiteX9" fmla="*/ 142360 w 138580"/>
                <a:gd name="connsiteY9" fmla="*/ 35275 h 88187"/>
                <a:gd name="connsiteX10" fmla="*/ 143620 w 138580"/>
                <a:gd name="connsiteY10" fmla="*/ 42834 h 88187"/>
                <a:gd name="connsiteX11" fmla="*/ 143620 w 138580"/>
                <a:gd name="connsiteY11" fmla="*/ 61731 h 88187"/>
                <a:gd name="connsiteX12" fmla="*/ 142360 w 138580"/>
                <a:gd name="connsiteY12" fmla="*/ 80629 h 88187"/>
                <a:gd name="connsiteX13" fmla="*/ 142360 w 138580"/>
                <a:gd name="connsiteY13" fmla="*/ 80629 h 88187"/>
                <a:gd name="connsiteX14" fmla="*/ 142360 w 138580"/>
                <a:gd name="connsiteY14" fmla="*/ 80629 h 88187"/>
                <a:gd name="connsiteX15" fmla="*/ 142360 w 138580"/>
                <a:gd name="connsiteY15" fmla="*/ 80629 h 88187"/>
                <a:gd name="connsiteX16" fmla="*/ 142360 w 138580"/>
                <a:gd name="connsiteY16" fmla="*/ 80629 h 88187"/>
                <a:gd name="connsiteX17" fmla="*/ 142360 w 138580"/>
                <a:gd name="connsiteY17" fmla="*/ 80629 h 88187"/>
                <a:gd name="connsiteX18" fmla="*/ 142360 w 138580"/>
                <a:gd name="connsiteY18" fmla="*/ 80629 h 88187"/>
                <a:gd name="connsiteX19" fmla="*/ 141100 w 138580"/>
                <a:gd name="connsiteY19" fmla="*/ 83148 h 88187"/>
                <a:gd name="connsiteX20" fmla="*/ 137321 w 138580"/>
                <a:gd name="connsiteY20" fmla="*/ 86928 h 88187"/>
                <a:gd name="connsiteX21" fmla="*/ 129762 w 138580"/>
                <a:gd name="connsiteY21" fmla="*/ 91967 h 88187"/>
                <a:gd name="connsiteX22" fmla="*/ 118423 w 138580"/>
                <a:gd name="connsiteY22" fmla="*/ 94487 h 88187"/>
                <a:gd name="connsiteX23" fmla="*/ 107085 w 138580"/>
                <a:gd name="connsiteY23" fmla="*/ 95747 h 88187"/>
                <a:gd name="connsiteX24" fmla="*/ 97006 w 138580"/>
                <a:gd name="connsiteY24" fmla="*/ 95747 h 88187"/>
                <a:gd name="connsiteX25" fmla="*/ 97006 w 138580"/>
                <a:gd name="connsiteY25" fmla="*/ 95747 h 88187"/>
                <a:gd name="connsiteX26" fmla="*/ 90707 w 138580"/>
                <a:gd name="connsiteY26" fmla="*/ 95747 h 88187"/>
                <a:gd name="connsiteX27" fmla="*/ 85668 w 138580"/>
                <a:gd name="connsiteY27" fmla="*/ 95747 h 88187"/>
                <a:gd name="connsiteX28" fmla="*/ 75589 w 138580"/>
                <a:gd name="connsiteY28" fmla="*/ 93227 h 88187"/>
                <a:gd name="connsiteX29" fmla="*/ 74329 w 138580"/>
                <a:gd name="connsiteY29" fmla="*/ 93227 h 88187"/>
                <a:gd name="connsiteX30" fmla="*/ 64251 w 138580"/>
                <a:gd name="connsiteY30" fmla="*/ 90707 h 88187"/>
                <a:gd name="connsiteX31" fmla="*/ 54172 w 138580"/>
                <a:gd name="connsiteY31" fmla="*/ 88188 h 88187"/>
                <a:gd name="connsiteX32" fmla="*/ 40314 w 138580"/>
                <a:gd name="connsiteY32" fmla="*/ 80629 h 88187"/>
                <a:gd name="connsiteX33" fmla="*/ 37795 w 138580"/>
                <a:gd name="connsiteY33" fmla="*/ 79369 h 88187"/>
                <a:gd name="connsiteX34" fmla="*/ 31496 w 138580"/>
                <a:gd name="connsiteY34" fmla="*/ 75589 h 88187"/>
                <a:gd name="connsiteX35" fmla="*/ 27716 w 138580"/>
                <a:gd name="connsiteY35" fmla="*/ 73070 h 88187"/>
                <a:gd name="connsiteX36" fmla="*/ 23937 w 138580"/>
                <a:gd name="connsiteY36" fmla="*/ 70550 h 88187"/>
                <a:gd name="connsiteX37" fmla="*/ 20157 w 138580"/>
                <a:gd name="connsiteY37" fmla="*/ 69290 h 88187"/>
                <a:gd name="connsiteX38" fmla="*/ 15118 w 138580"/>
                <a:gd name="connsiteY38" fmla="*/ 66771 h 88187"/>
                <a:gd name="connsiteX39" fmla="*/ 13858 w 138580"/>
                <a:gd name="connsiteY39" fmla="*/ 65511 h 88187"/>
                <a:gd name="connsiteX40" fmla="*/ 13858 w 138580"/>
                <a:gd name="connsiteY40" fmla="*/ 65511 h 88187"/>
                <a:gd name="connsiteX41" fmla="*/ 11338 w 138580"/>
                <a:gd name="connsiteY41" fmla="*/ 61731 h 88187"/>
                <a:gd name="connsiteX42" fmla="*/ 10078 w 138580"/>
                <a:gd name="connsiteY42" fmla="*/ 60472 h 88187"/>
                <a:gd name="connsiteX43" fmla="*/ 5039 w 138580"/>
                <a:gd name="connsiteY43" fmla="*/ 54172 h 88187"/>
                <a:gd name="connsiteX44" fmla="*/ 0 w 138580"/>
                <a:gd name="connsiteY44" fmla="*/ 47873 h 88187"/>
                <a:gd name="connsiteX45" fmla="*/ 0 w 138580"/>
                <a:gd name="connsiteY45" fmla="*/ 47873 h 88187"/>
                <a:gd name="connsiteX46" fmla="*/ 0 w 138580"/>
                <a:gd name="connsiteY46" fmla="*/ 47873 h 88187"/>
                <a:gd name="connsiteX47" fmla="*/ 0 w 138580"/>
                <a:gd name="connsiteY47" fmla="*/ 47873 h 88187"/>
                <a:gd name="connsiteX48" fmla="*/ 0 w 138580"/>
                <a:gd name="connsiteY48" fmla="*/ 47873 h 88187"/>
                <a:gd name="connsiteX49" fmla="*/ 0 w 138580"/>
                <a:gd name="connsiteY49" fmla="*/ 47873 h 88187"/>
                <a:gd name="connsiteX50" fmla="*/ 0 w 138580"/>
                <a:gd name="connsiteY50" fmla="*/ 47873 h 88187"/>
                <a:gd name="connsiteX51" fmla="*/ 3779 w 138580"/>
                <a:gd name="connsiteY51" fmla="*/ 45354 h 88187"/>
                <a:gd name="connsiteX52" fmla="*/ 3779 w 138580"/>
                <a:gd name="connsiteY52" fmla="*/ 45354 h 88187"/>
                <a:gd name="connsiteX53" fmla="*/ 3779 w 138580"/>
                <a:gd name="connsiteY53" fmla="*/ 45354 h 88187"/>
                <a:gd name="connsiteX54" fmla="*/ 3779 w 138580"/>
                <a:gd name="connsiteY54" fmla="*/ 45354 h 88187"/>
                <a:gd name="connsiteX55" fmla="*/ 3779 w 138580"/>
                <a:gd name="connsiteY55" fmla="*/ 45354 h 88187"/>
                <a:gd name="connsiteX56" fmla="*/ 3779 w 138580"/>
                <a:gd name="connsiteY56" fmla="*/ 45354 h 88187"/>
                <a:gd name="connsiteX57" fmla="*/ 3779 w 138580"/>
                <a:gd name="connsiteY57" fmla="*/ 45354 h 88187"/>
                <a:gd name="connsiteX58" fmla="*/ 3779 w 138580"/>
                <a:gd name="connsiteY58" fmla="*/ 45354 h 88187"/>
                <a:gd name="connsiteX59" fmla="*/ 3779 w 138580"/>
                <a:gd name="connsiteY59" fmla="*/ 45354 h 88187"/>
                <a:gd name="connsiteX60" fmla="*/ 3779 w 138580"/>
                <a:gd name="connsiteY60" fmla="*/ 45354 h 88187"/>
                <a:gd name="connsiteX61" fmla="*/ 3779 w 138580"/>
                <a:gd name="connsiteY61" fmla="*/ 45354 h 88187"/>
                <a:gd name="connsiteX62" fmla="*/ 3779 w 138580"/>
                <a:gd name="connsiteY62" fmla="*/ 45354 h 88187"/>
                <a:gd name="connsiteX63" fmla="*/ 3779 w 138580"/>
                <a:gd name="connsiteY63" fmla="*/ 45354 h 88187"/>
                <a:gd name="connsiteX64" fmla="*/ 3779 w 138580"/>
                <a:gd name="connsiteY64" fmla="*/ 45354 h 88187"/>
                <a:gd name="connsiteX65" fmla="*/ 3779 w 138580"/>
                <a:gd name="connsiteY65" fmla="*/ 45354 h 88187"/>
                <a:gd name="connsiteX66" fmla="*/ 15118 w 138580"/>
                <a:gd name="connsiteY66" fmla="*/ 36535 h 88187"/>
                <a:gd name="connsiteX67" fmla="*/ 20157 w 138580"/>
                <a:gd name="connsiteY67" fmla="*/ 32755 h 88187"/>
                <a:gd name="connsiteX68" fmla="*/ 25196 w 138580"/>
                <a:gd name="connsiteY68" fmla="*/ 28976 h 88187"/>
                <a:gd name="connsiteX69" fmla="*/ 34015 w 138580"/>
                <a:gd name="connsiteY69" fmla="*/ 23937 h 88187"/>
                <a:gd name="connsiteX70" fmla="*/ 37795 w 138580"/>
                <a:gd name="connsiteY70" fmla="*/ 21417 h 88187"/>
                <a:gd name="connsiteX71" fmla="*/ 37795 w 138580"/>
                <a:gd name="connsiteY71" fmla="*/ 21417 h 88187"/>
                <a:gd name="connsiteX72" fmla="*/ 44094 w 138580"/>
                <a:gd name="connsiteY72" fmla="*/ 17637 h 88187"/>
                <a:gd name="connsiteX73" fmla="*/ 61731 w 138580"/>
                <a:gd name="connsiteY73" fmla="*/ 8819 h 88187"/>
                <a:gd name="connsiteX74" fmla="*/ 83148 w 138580"/>
                <a:gd name="connsiteY74" fmla="*/ 2520 h 88187"/>
                <a:gd name="connsiteX75" fmla="*/ 95747 w 138580"/>
                <a:gd name="connsiteY75" fmla="*/ 1260 h 88187"/>
                <a:gd name="connsiteX76" fmla="*/ 108345 w 138580"/>
                <a:gd name="connsiteY76" fmla="*/ 0 h 88187"/>
                <a:gd name="connsiteX77" fmla="*/ 108345 w 138580"/>
                <a:gd name="connsiteY77" fmla="*/ 0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8580" h="88187">
                  <a:moveTo>
                    <a:pt x="108345" y="0"/>
                  </a:moveTo>
                  <a:cubicBezTo>
                    <a:pt x="109604" y="0"/>
                    <a:pt x="112124" y="1260"/>
                    <a:pt x="114644" y="1260"/>
                  </a:cubicBezTo>
                  <a:cubicBezTo>
                    <a:pt x="117163" y="2520"/>
                    <a:pt x="119683" y="3780"/>
                    <a:pt x="122203" y="5039"/>
                  </a:cubicBezTo>
                  <a:lnTo>
                    <a:pt x="123463" y="6299"/>
                  </a:lnTo>
                  <a:cubicBezTo>
                    <a:pt x="125982" y="7559"/>
                    <a:pt x="128502" y="8819"/>
                    <a:pt x="131022" y="10079"/>
                  </a:cubicBezTo>
                  <a:cubicBezTo>
                    <a:pt x="132281" y="11338"/>
                    <a:pt x="133541" y="12598"/>
                    <a:pt x="134801" y="13858"/>
                  </a:cubicBezTo>
                  <a:cubicBezTo>
                    <a:pt x="137321" y="17637"/>
                    <a:pt x="138581" y="21417"/>
                    <a:pt x="139840" y="25196"/>
                  </a:cubicBezTo>
                  <a:cubicBezTo>
                    <a:pt x="141100" y="28976"/>
                    <a:pt x="142360" y="31496"/>
                    <a:pt x="142360" y="35275"/>
                  </a:cubicBezTo>
                  <a:lnTo>
                    <a:pt x="142360" y="35275"/>
                  </a:lnTo>
                  <a:lnTo>
                    <a:pt x="142360" y="35275"/>
                  </a:lnTo>
                  <a:cubicBezTo>
                    <a:pt x="143620" y="37795"/>
                    <a:pt x="143620" y="40314"/>
                    <a:pt x="143620" y="42834"/>
                  </a:cubicBezTo>
                  <a:cubicBezTo>
                    <a:pt x="143620" y="49133"/>
                    <a:pt x="143620" y="56692"/>
                    <a:pt x="143620" y="61731"/>
                  </a:cubicBezTo>
                  <a:cubicBezTo>
                    <a:pt x="143620" y="68030"/>
                    <a:pt x="142360" y="74330"/>
                    <a:pt x="142360" y="80629"/>
                  </a:cubicBez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cubicBezTo>
                    <a:pt x="142360" y="80629"/>
                    <a:pt x="142360" y="80629"/>
                    <a:pt x="142360" y="80629"/>
                  </a:cubicBezTo>
                  <a:lnTo>
                    <a:pt x="142360" y="80629"/>
                  </a:lnTo>
                  <a:cubicBezTo>
                    <a:pt x="142360" y="81889"/>
                    <a:pt x="141100" y="81889"/>
                    <a:pt x="141100" y="83148"/>
                  </a:cubicBezTo>
                  <a:cubicBezTo>
                    <a:pt x="139840" y="84408"/>
                    <a:pt x="138581" y="85668"/>
                    <a:pt x="137321" y="86928"/>
                  </a:cubicBezTo>
                  <a:cubicBezTo>
                    <a:pt x="134801" y="89448"/>
                    <a:pt x="132281" y="90707"/>
                    <a:pt x="129762" y="91967"/>
                  </a:cubicBezTo>
                  <a:cubicBezTo>
                    <a:pt x="125982" y="93227"/>
                    <a:pt x="122203" y="94487"/>
                    <a:pt x="118423" y="94487"/>
                  </a:cubicBezTo>
                  <a:cubicBezTo>
                    <a:pt x="114644" y="94487"/>
                    <a:pt x="110864" y="94487"/>
                    <a:pt x="107085" y="95747"/>
                  </a:cubicBezTo>
                  <a:cubicBezTo>
                    <a:pt x="103305" y="95747"/>
                    <a:pt x="99526" y="95747"/>
                    <a:pt x="97006" y="95747"/>
                  </a:cubicBezTo>
                  <a:lnTo>
                    <a:pt x="97006" y="95747"/>
                  </a:lnTo>
                  <a:cubicBezTo>
                    <a:pt x="94487" y="95747"/>
                    <a:pt x="93227" y="95747"/>
                    <a:pt x="90707" y="95747"/>
                  </a:cubicBezTo>
                  <a:cubicBezTo>
                    <a:pt x="89448" y="95747"/>
                    <a:pt x="88188" y="95747"/>
                    <a:pt x="85668" y="95747"/>
                  </a:cubicBezTo>
                  <a:cubicBezTo>
                    <a:pt x="81889" y="95747"/>
                    <a:pt x="79369" y="94487"/>
                    <a:pt x="75589" y="93227"/>
                  </a:cubicBezTo>
                  <a:lnTo>
                    <a:pt x="74329" y="93227"/>
                  </a:lnTo>
                  <a:cubicBezTo>
                    <a:pt x="70550" y="91967"/>
                    <a:pt x="66770" y="91967"/>
                    <a:pt x="64251" y="90707"/>
                  </a:cubicBezTo>
                  <a:cubicBezTo>
                    <a:pt x="61731" y="89448"/>
                    <a:pt x="57952" y="89448"/>
                    <a:pt x="54172" y="88188"/>
                  </a:cubicBezTo>
                  <a:cubicBezTo>
                    <a:pt x="49133" y="85668"/>
                    <a:pt x="45354" y="83148"/>
                    <a:pt x="40314" y="80629"/>
                  </a:cubicBezTo>
                  <a:cubicBezTo>
                    <a:pt x="39055" y="80629"/>
                    <a:pt x="37795" y="79369"/>
                    <a:pt x="37795" y="79369"/>
                  </a:cubicBezTo>
                  <a:cubicBezTo>
                    <a:pt x="35275" y="78109"/>
                    <a:pt x="32755" y="76849"/>
                    <a:pt x="31496" y="75589"/>
                  </a:cubicBezTo>
                  <a:cubicBezTo>
                    <a:pt x="30236" y="75589"/>
                    <a:pt x="28976" y="74330"/>
                    <a:pt x="27716" y="73070"/>
                  </a:cubicBezTo>
                  <a:cubicBezTo>
                    <a:pt x="26456" y="71810"/>
                    <a:pt x="25196" y="71810"/>
                    <a:pt x="23937" y="70550"/>
                  </a:cubicBezTo>
                  <a:cubicBezTo>
                    <a:pt x="22677" y="70550"/>
                    <a:pt x="21417" y="69290"/>
                    <a:pt x="20157" y="69290"/>
                  </a:cubicBezTo>
                  <a:cubicBezTo>
                    <a:pt x="18897" y="68030"/>
                    <a:pt x="16378" y="68030"/>
                    <a:pt x="15118" y="66771"/>
                  </a:cubicBezTo>
                  <a:cubicBezTo>
                    <a:pt x="15118" y="66771"/>
                    <a:pt x="13858" y="65511"/>
                    <a:pt x="13858" y="65511"/>
                  </a:cubicBezTo>
                  <a:lnTo>
                    <a:pt x="13858" y="65511"/>
                  </a:lnTo>
                  <a:cubicBezTo>
                    <a:pt x="12598" y="64251"/>
                    <a:pt x="11338" y="62991"/>
                    <a:pt x="11338" y="61731"/>
                  </a:cubicBezTo>
                  <a:cubicBezTo>
                    <a:pt x="11338" y="61731"/>
                    <a:pt x="10078" y="60472"/>
                    <a:pt x="10078" y="60472"/>
                  </a:cubicBezTo>
                  <a:cubicBezTo>
                    <a:pt x="8819" y="57952"/>
                    <a:pt x="7559" y="56692"/>
                    <a:pt x="5039" y="54172"/>
                  </a:cubicBezTo>
                  <a:cubicBezTo>
                    <a:pt x="3779" y="51653"/>
                    <a:pt x="1260" y="49133"/>
                    <a:pt x="0" y="47873"/>
                  </a:cubicBez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cubicBezTo>
                    <a:pt x="1260" y="46613"/>
                    <a:pt x="2519" y="46613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cubicBezTo>
                    <a:pt x="3779" y="45354"/>
                    <a:pt x="3779" y="45354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cubicBezTo>
                    <a:pt x="7559" y="42834"/>
                    <a:pt x="11338" y="40314"/>
                    <a:pt x="15118" y="36535"/>
                  </a:cubicBezTo>
                  <a:cubicBezTo>
                    <a:pt x="16378" y="35275"/>
                    <a:pt x="18897" y="34015"/>
                    <a:pt x="20157" y="32755"/>
                  </a:cubicBezTo>
                  <a:cubicBezTo>
                    <a:pt x="21417" y="31496"/>
                    <a:pt x="22677" y="30236"/>
                    <a:pt x="25196" y="28976"/>
                  </a:cubicBezTo>
                  <a:cubicBezTo>
                    <a:pt x="27716" y="26456"/>
                    <a:pt x="31496" y="25196"/>
                    <a:pt x="34015" y="23937"/>
                  </a:cubicBezTo>
                  <a:cubicBezTo>
                    <a:pt x="35275" y="22677"/>
                    <a:pt x="36535" y="22677"/>
                    <a:pt x="37795" y="21417"/>
                  </a:cubicBezTo>
                  <a:lnTo>
                    <a:pt x="37795" y="21417"/>
                  </a:lnTo>
                  <a:cubicBezTo>
                    <a:pt x="40314" y="20157"/>
                    <a:pt x="41574" y="18897"/>
                    <a:pt x="44094" y="17637"/>
                  </a:cubicBezTo>
                  <a:cubicBezTo>
                    <a:pt x="49133" y="15118"/>
                    <a:pt x="55432" y="11338"/>
                    <a:pt x="61731" y="8819"/>
                  </a:cubicBezTo>
                  <a:cubicBezTo>
                    <a:pt x="68030" y="6299"/>
                    <a:pt x="75589" y="3780"/>
                    <a:pt x="83148" y="2520"/>
                  </a:cubicBezTo>
                  <a:cubicBezTo>
                    <a:pt x="88188" y="2520"/>
                    <a:pt x="91967" y="1260"/>
                    <a:pt x="95747" y="1260"/>
                  </a:cubicBezTo>
                  <a:cubicBezTo>
                    <a:pt x="99526" y="0"/>
                    <a:pt x="103305" y="0"/>
                    <a:pt x="108345" y="0"/>
                  </a:cubicBezTo>
                  <a:lnTo>
                    <a:pt x="108345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/>
            <p:cNvSpPr/>
            <p:nvPr/>
          </p:nvSpPr>
          <p:spPr>
            <a:xfrm>
              <a:off x="9914592" y="3974632"/>
              <a:ext cx="68643" cy="171607"/>
            </a:xfrm>
            <a:custGeom>
              <a:avLst/>
              <a:gdLst>
                <a:gd name="connsiteX0" fmla="*/ 99526 w 100785"/>
                <a:gd name="connsiteY0" fmla="*/ 47873 h 251964"/>
                <a:gd name="connsiteX1" fmla="*/ 99526 w 100785"/>
                <a:gd name="connsiteY1" fmla="*/ 60472 h 251964"/>
                <a:gd name="connsiteX2" fmla="*/ 98266 w 100785"/>
                <a:gd name="connsiteY2" fmla="*/ 81889 h 251964"/>
                <a:gd name="connsiteX3" fmla="*/ 98266 w 100785"/>
                <a:gd name="connsiteY3" fmla="*/ 85668 h 251964"/>
                <a:gd name="connsiteX4" fmla="*/ 97007 w 100785"/>
                <a:gd name="connsiteY4" fmla="*/ 117164 h 251964"/>
                <a:gd name="connsiteX5" fmla="*/ 97007 w 100785"/>
                <a:gd name="connsiteY5" fmla="*/ 118424 h 251964"/>
                <a:gd name="connsiteX6" fmla="*/ 95747 w 100785"/>
                <a:gd name="connsiteY6" fmla="*/ 134801 h 251964"/>
                <a:gd name="connsiteX7" fmla="*/ 95747 w 100785"/>
                <a:gd name="connsiteY7" fmla="*/ 137321 h 251964"/>
                <a:gd name="connsiteX8" fmla="*/ 94487 w 100785"/>
                <a:gd name="connsiteY8" fmla="*/ 142360 h 251964"/>
                <a:gd name="connsiteX9" fmla="*/ 93227 w 100785"/>
                <a:gd name="connsiteY9" fmla="*/ 151179 h 251964"/>
                <a:gd name="connsiteX10" fmla="*/ 91967 w 100785"/>
                <a:gd name="connsiteY10" fmla="*/ 167557 h 251964"/>
                <a:gd name="connsiteX11" fmla="*/ 91967 w 100785"/>
                <a:gd name="connsiteY11" fmla="*/ 168816 h 251964"/>
                <a:gd name="connsiteX12" fmla="*/ 89448 w 100785"/>
                <a:gd name="connsiteY12" fmla="*/ 185194 h 251964"/>
                <a:gd name="connsiteX13" fmla="*/ 89448 w 100785"/>
                <a:gd name="connsiteY13" fmla="*/ 186454 h 251964"/>
                <a:gd name="connsiteX14" fmla="*/ 86928 w 100785"/>
                <a:gd name="connsiteY14" fmla="*/ 201572 h 251964"/>
                <a:gd name="connsiteX15" fmla="*/ 84408 w 100785"/>
                <a:gd name="connsiteY15" fmla="*/ 219209 h 251964"/>
                <a:gd name="connsiteX16" fmla="*/ 80629 w 100785"/>
                <a:gd name="connsiteY16" fmla="*/ 235587 h 251964"/>
                <a:gd name="connsiteX17" fmla="*/ 78109 w 100785"/>
                <a:gd name="connsiteY17" fmla="*/ 243146 h 251964"/>
                <a:gd name="connsiteX18" fmla="*/ 76849 w 100785"/>
                <a:gd name="connsiteY18" fmla="*/ 246925 h 251964"/>
                <a:gd name="connsiteX19" fmla="*/ 73070 w 100785"/>
                <a:gd name="connsiteY19" fmla="*/ 249445 h 251964"/>
                <a:gd name="connsiteX20" fmla="*/ 68030 w 100785"/>
                <a:gd name="connsiteY20" fmla="*/ 250705 h 251964"/>
                <a:gd name="connsiteX21" fmla="*/ 64251 w 100785"/>
                <a:gd name="connsiteY21" fmla="*/ 250705 h 251964"/>
                <a:gd name="connsiteX22" fmla="*/ 64251 w 100785"/>
                <a:gd name="connsiteY22" fmla="*/ 250705 h 251964"/>
                <a:gd name="connsiteX23" fmla="*/ 54173 w 100785"/>
                <a:gd name="connsiteY23" fmla="*/ 251965 h 251964"/>
                <a:gd name="connsiteX24" fmla="*/ 52913 w 100785"/>
                <a:gd name="connsiteY24" fmla="*/ 251965 h 251964"/>
                <a:gd name="connsiteX25" fmla="*/ 47874 w 100785"/>
                <a:gd name="connsiteY25" fmla="*/ 251965 h 251964"/>
                <a:gd name="connsiteX26" fmla="*/ 47874 w 100785"/>
                <a:gd name="connsiteY26" fmla="*/ 251965 h 251964"/>
                <a:gd name="connsiteX27" fmla="*/ 47874 w 100785"/>
                <a:gd name="connsiteY27" fmla="*/ 251965 h 251964"/>
                <a:gd name="connsiteX28" fmla="*/ 47874 w 100785"/>
                <a:gd name="connsiteY28" fmla="*/ 251965 h 251964"/>
                <a:gd name="connsiteX29" fmla="*/ 47874 w 100785"/>
                <a:gd name="connsiteY29" fmla="*/ 251965 h 251964"/>
                <a:gd name="connsiteX30" fmla="*/ 47874 w 100785"/>
                <a:gd name="connsiteY30" fmla="*/ 251965 h 251964"/>
                <a:gd name="connsiteX31" fmla="*/ 47874 w 100785"/>
                <a:gd name="connsiteY31" fmla="*/ 251965 h 251964"/>
                <a:gd name="connsiteX32" fmla="*/ 47874 w 100785"/>
                <a:gd name="connsiteY32" fmla="*/ 251965 h 251964"/>
                <a:gd name="connsiteX33" fmla="*/ 39055 w 100785"/>
                <a:gd name="connsiteY33" fmla="*/ 249445 h 251964"/>
                <a:gd name="connsiteX34" fmla="*/ 39055 w 100785"/>
                <a:gd name="connsiteY34" fmla="*/ 249445 h 251964"/>
                <a:gd name="connsiteX35" fmla="*/ 31496 w 100785"/>
                <a:gd name="connsiteY35" fmla="*/ 245666 h 251964"/>
                <a:gd name="connsiteX36" fmla="*/ 28976 w 100785"/>
                <a:gd name="connsiteY36" fmla="*/ 244406 h 251964"/>
                <a:gd name="connsiteX37" fmla="*/ 27716 w 100785"/>
                <a:gd name="connsiteY37" fmla="*/ 244406 h 251964"/>
                <a:gd name="connsiteX38" fmla="*/ 23937 w 100785"/>
                <a:gd name="connsiteY38" fmla="*/ 241886 h 251964"/>
                <a:gd name="connsiteX39" fmla="*/ 21417 w 100785"/>
                <a:gd name="connsiteY39" fmla="*/ 239366 h 251964"/>
                <a:gd name="connsiteX40" fmla="*/ 21417 w 100785"/>
                <a:gd name="connsiteY40" fmla="*/ 239366 h 251964"/>
                <a:gd name="connsiteX41" fmla="*/ 15118 w 100785"/>
                <a:gd name="connsiteY41" fmla="*/ 231808 h 251964"/>
                <a:gd name="connsiteX42" fmla="*/ 15118 w 100785"/>
                <a:gd name="connsiteY42" fmla="*/ 230548 h 251964"/>
                <a:gd name="connsiteX43" fmla="*/ 13858 w 100785"/>
                <a:gd name="connsiteY43" fmla="*/ 228028 h 251964"/>
                <a:gd name="connsiteX44" fmla="*/ 11338 w 100785"/>
                <a:gd name="connsiteY44" fmla="*/ 224249 h 251964"/>
                <a:gd name="connsiteX45" fmla="*/ 7559 w 100785"/>
                <a:gd name="connsiteY45" fmla="*/ 215430 h 251964"/>
                <a:gd name="connsiteX46" fmla="*/ 3780 w 100785"/>
                <a:gd name="connsiteY46" fmla="*/ 205351 h 251964"/>
                <a:gd name="connsiteX47" fmla="*/ 3780 w 100785"/>
                <a:gd name="connsiteY47" fmla="*/ 204091 h 251964"/>
                <a:gd name="connsiteX48" fmla="*/ 0 w 100785"/>
                <a:gd name="connsiteY48" fmla="*/ 186454 h 251964"/>
                <a:gd name="connsiteX49" fmla="*/ 0 w 100785"/>
                <a:gd name="connsiteY49" fmla="*/ 178895 h 251964"/>
                <a:gd name="connsiteX50" fmla="*/ 0 w 100785"/>
                <a:gd name="connsiteY50" fmla="*/ 176375 h 251964"/>
                <a:gd name="connsiteX51" fmla="*/ 0 w 100785"/>
                <a:gd name="connsiteY51" fmla="*/ 170076 h 251964"/>
                <a:gd name="connsiteX52" fmla="*/ 0 w 100785"/>
                <a:gd name="connsiteY52" fmla="*/ 167557 h 251964"/>
                <a:gd name="connsiteX53" fmla="*/ 0 w 100785"/>
                <a:gd name="connsiteY53" fmla="*/ 167557 h 251964"/>
                <a:gd name="connsiteX54" fmla="*/ 0 w 100785"/>
                <a:gd name="connsiteY54" fmla="*/ 167557 h 251964"/>
                <a:gd name="connsiteX55" fmla="*/ 0 w 100785"/>
                <a:gd name="connsiteY55" fmla="*/ 162517 h 251964"/>
                <a:gd name="connsiteX56" fmla="*/ 0 w 100785"/>
                <a:gd name="connsiteY56" fmla="*/ 159998 h 251964"/>
                <a:gd name="connsiteX57" fmla="*/ 0 w 100785"/>
                <a:gd name="connsiteY57" fmla="*/ 157478 h 251964"/>
                <a:gd name="connsiteX58" fmla="*/ 0 w 100785"/>
                <a:gd name="connsiteY58" fmla="*/ 152439 h 251964"/>
                <a:gd name="connsiteX59" fmla="*/ 2520 w 100785"/>
                <a:gd name="connsiteY59" fmla="*/ 144880 h 251964"/>
                <a:gd name="connsiteX60" fmla="*/ 2520 w 100785"/>
                <a:gd name="connsiteY60" fmla="*/ 144880 h 251964"/>
                <a:gd name="connsiteX61" fmla="*/ 2520 w 100785"/>
                <a:gd name="connsiteY61" fmla="*/ 143620 h 251964"/>
                <a:gd name="connsiteX62" fmla="*/ 5039 w 100785"/>
                <a:gd name="connsiteY62" fmla="*/ 134801 h 251964"/>
                <a:gd name="connsiteX63" fmla="*/ 5039 w 100785"/>
                <a:gd name="connsiteY63" fmla="*/ 133541 h 251964"/>
                <a:gd name="connsiteX64" fmla="*/ 5039 w 100785"/>
                <a:gd name="connsiteY64" fmla="*/ 133541 h 251964"/>
                <a:gd name="connsiteX65" fmla="*/ 11338 w 100785"/>
                <a:gd name="connsiteY65" fmla="*/ 119683 h 251964"/>
                <a:gd name="connsiteX66" fmla="*/ 12598 w 100785"/>
                <a:gd name="connsiteY66" fmla="*/ 117164 h 251964"/>
                <a:gd name="connsiteX67" fmla="*/ 12598 w 100785"/>
                <a:gd name="connsiteY67" fmla="*/ 117164 h 251964"/>
                <a:gd name="connsiteX68" fmla="*/ 15118 w 100785"/>
                <a:gd name="connsiteY68" fmla="*/ 112124 h 251964"/>
                <a:gd name="connsiteX69" fmla="*/ 20157 w 100785"/>
                <a:gd name="connsiteY69" fmla="*/ 103305 h 251964"/>
                <a:gd name="connsiteX70" fmla="*/ 20157 w 100785"/>
                <a:gd name="connsiteY70" fmla="*/ 103305 h 251964"/>
                <a:gd name="connsiteX71" fmla="*/ 27716 w 100785"/>
                <a:gd name="connsiteY71" fmla="*/ 89448 h 251964"/>
                <a:gd name="connsiteX72" fmla="*/ 37795 w 100785"/>
                <a:gd name="connsiteY72" fmla="*/ 74330 h 251964"/>
                <a:gd name="connsiteX73" fmla="*/ 49133 w 100785"/>
                <a:gd name="connsiteY73" fmla="*/ 59212 h 251964"/>
                <a:gd name="connsiteX74" fmla="*/ 69290 w 100785"/>
                <a:gd name="connsiteY74" fmla="*/ 35275 h 251964"/>
                <a:gd name="connsiteX75" fmla="*/ 71810 w 100785"/>
                <a:gd name="connsiteY75" fmla="*/ 32755 h 251964"/>
                <a:gd name="connsiteX76" fmla="*/ 95747 w 100785"/>
                <a:gd name="connsiteY76" fmla="*/ 7559 h 251964"/>
                <a:gd name="connsiteX77" fmla="*/ 104566 w 100785"/>
                <a:gd name="connsiteY77" fmla="*/ 0 h 251964"/>
                <a:gd name="connsiteX78" fmla="*/ 104566 w 100785"/>
                <a:gd name="connsiteY78" fmla="*/ 0 h 251964"/>
                <a:gd name="connsiteX79" fmla="*/ 104566 w 100785"/>
                <a:gd name="connsiteY79" fmla="*/ 0 h 251964"/>
                <a:gd name="connsiteX80" fmla="*/ 99526 w 100785"/>
                <a:gd name="connsiteY80" fmla="*/ 47873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0785" h="251964">
                  <a:moveTo>
                    <a:pt x="99526" y="47873"/>
                  </a:moveTo>
                  <a:cubicBezTo>
                    <a:pt x="99526" y="51653"/>
                    <a:pt x="99526" y="56692"/>
                    <a:pt x="99526" y="60472"/>
                  </a:cubicBezTo>
                  <a:cubicBezTo>
                    <a:pt x="99526" y="68031"/>
                    <a:pt x="99526" y="75589"/>
                    <a:pt x="98266" y="81889"/>
                  </a:cubicBezTo>
                  <a:lnTo>
                    <a:pt x="98266" y="85668"/>
                  </a:lnTo>
                  <a:cubicBezTo>
                    <a:pt x="98266" y="95747"/>
                    <a:pt x="98266" y="107085"/>
                    <a:pt x="97007" y="117164"/>
                  </a:cubicBezTo>
                  <a:lnTo>
                    <a:pt x="97007" y="118424"/>
                  </a:lnTo>
                  <a:cubicBezTo>
                    <a:pt x="97007" y="123463"/>
                    <a:pt x="95747" y="128502"/>
                    <a:pt x="95747" y="134801"/>
                  </a:cubicBezTo>
                  <a:cubicBezTo>
                    <a:pt x="95747" y="136061"/>
                    <a:pt x="95747" y="136061"/>
                    <a:pt x="95747" y="137321"/>
                  </a:cubicBezTo>
                  <a:cubicBezTo>
                    <a:pt x="95747" y="138581"/>
                    <a:pt x="95747" y="141100"/>
                    <a:pt x="94487" y="142360"/>
                  </a:cubicBezTo>
                  <a:cubicBezTo>
                    <a:pt x="94487" y="144880"/>
                    <a:pt x="94487" y="148659"/>
                    <a:pt x="93227" y="151179"/>
                  </a:cubicBezTo>
                  <a:cubicBezTo>
                    <a:pt x="93227" y="156218"/>
                    <a:pt x="91967" y="162517"/>
                    <a:pt x="91967" y="167557"/>
                  </a:cubicBezTo>
                  <a:lnTo>
                    <a:pt x="91967" y="168816"/>
                  </a:lnTo>
                  <a:cubicBezTo>
                    <a:pt x="91967" y="173856"/>
                    <a:pt x="90707" y="180155"/>
                    <a:pt x="89448" y="185194"/>
                  </a:cubicBezTo>
                  <a:lnTo>
                    <a:pt x="89448" y="186454"/>
                  </a:lnTo>
                  <a:cubicBezTo>
                    <a:pt x="88188" y="191493"/>
                    <a:pt x="88188" y="196533"/>
                    <a:pt x="86928" y="201572"/>
                  </a:cubicBezTo>
                  <a:cubicBezTo>
                    <a:pt x="85668" y="206611"/>
                    <a:pt x="85668" y="212910"/>
                    <a:pt x="84408" y="219209"/>
                  </a:cubicBezTo>
                  <a:cubicBezTo>
                    <a:pt x="83148" y="224249"/>
                    <a:pt x="81889" y="230548"/>
                    <a:pt x="80629" y="235587"/>
                  </a:cubicBezTo>
                  <a:cubicBezTo>
                    <a:pt x="79369" y="238107"/>
                    <a:pt x="79369" y="240626"/>
                    <a:pt x="78109" y="243146"/>
                  </a:cubicBezTo>
                  <a:cubicBezTo>
                    <a:pt x="78109" y="244406"/>
                    <a:pt x="76849" y="245666"/>
                    <a:pt x="76849" y="246925"/>
                  </a:cubicBezTo>
                  <a:cubicBezTo>
                    <a:pt x="75589" y="248185"/>
                    <a:pt x="74329" y="249445"/>
                    <a:pt x="73070" y="249445"/>
                  </a:cubicBezTo>
                  <a:cubicBezTo>
                    <a:pt x="71810" y="250705"/>
                    <a:pt x="69290" y="250705"/>
                    <a:pt x="68030" y="250705"/>
                  </a:cubicBezTo>
                  <a:cubicBezTo>
                    <a:pt x="66771" y="250705"/>
                    <a:pt x="65511" y="250705"/>
                    <a:pt x="64251" y="250705"/>
                  </a:cubicBezTo>
                  <a:lnTo>
                    <a:pt x="64251" y="250705"/>
                  </a:lnTo>
                  <a:cubicBezTo>
                    <a:pt x="60472" y="250705"/>
                    <a:pt x="56692" y="251965"/>
                    <a:pt x="54173" y="251965"/>
                  </a:cubicBezTo>
                  <a:lnTo>
                    <a:pt x="52913" y="251965"/>
                  </a:lnTo>
                  <a:cubicBezTo>
                    <a:pt x="51653" y="251965"/>
                    <a:pt x="50393" y="251965"/>
                    <a:pt x="47874" y="251965"/>
                  </a:cubicBez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lnTo>
                    <a:pt x="47874" y="251965"/>
                  </a:ln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4094" y="250705"/>
                    <a:pt x="41574" y="249445"/>
                    <a:pt x="39055" y="249445"/>
                  </a:cubicBezTo>
                  <a:lnTo>
                    <a:pt x="39055" y="249445"/>
                  </a:lnTo>
                  <a:cubicBezTo>
                    <a:pt x="36535" y="248185"/>
                    <a:pt x="34015" y="246925"/>
                    <a:pt x="31496" y="245666"/>
                  </a:cubicBezTo>
                  <a:cubicBezTo>
                    <a:pt x="30236" y="245666"/>
                    <a:pt x="28976" y="244406"/>
                    <a:pt x="28976" y="244406"/>
                  </a:cubicBezTo>
                  <a:lnTo>
                    <a:pt x="27716" y="244406"/>
                  </a:lnTo>
                  <a:cubicBezTo>
                    <a:pt x="26456" y="243146"/>
                    <a:pt x="25196" y="243146"/>
                    <a:pt x="23937" y="241886"/>
                  </a:cubicBezTo>
                  <a:cubicBezTo>
                    <a:pt x="22677" y="240626"/>
                    <a:pt x="22677" y="240626"/>
                    <a:pt x="21417" y="239366"/>
                  </a:cubicBezTo>
                  <a:lnTo>
                    <a:pt x="21417" y="239366"/>
                  </a:lnTo>
                  <a:cubicBezTo>
                    <a:pt x="18897" y="236847"/>
                    <a:pt x="17637" y="234327"/>
                    <a:pt x="15118" y="231808"/>
                  </a:cubicBezTo>
                  <a:lnTo>
                    <a:pt x="15118" y="230548"/>
                  </a:lnTo>
                  <a:cubicBezTo>
                    <a:pt x="15118" y="230548"/>
                    <a:pt x="13858" y="229288"/>
                    <a:pt x="13858" y="228028"/>
                  </a:cubicBezTo>
                  <a:cubicBezTo>
                    <a:pt x="12598" y="226768"/>
                    <a:pt x="12598" y="225508"/>
                    <a:pt x="11338" y="224249"/>
                  </a:cubicBezTo>
                  <a:cubicBezTo>
                    <a:pt x="10079" y="221729"/>
                    <a:pt x="8819" y="217949"/>
                    <a:pt x="7559" y="215430"/>
                  </a:cubicBezTo>
                  <a:cubicBezTo>
                    <a:pt x="6299" y="211650"/>
                    <a:pt x="5039" y="209131"/>
                    <a:pt x="3780" y="205351"/>
                  </a:cubicBezTo>
                  <a:lnTo>
                    <a:pt x="3780" y="204091"/>
                  </a:lnTo>
                  <a:cubicBezTo>
                    <a:pt x="2520" y="199052"/>
                    <a:pt x="1260" y="194013"/>
                    <a:pt x="0" y="186454"/>
                  </a:cubicBezTo>
                  <a:cubicBezTo>
                    <a:pt x="0" y="183934"/>
                    <a:pt x="0" y="181415"/>
                    <a:pt x="0" y="178895"/>
                  </a:cubicBezTo>
                  <a:lnTo>
                    <a:pt x="0" y="176375"/>
                  </a:lnTo>
                  <a:cubicBezTo>
                    <a:pt x="0" y="173856"/>
                    <a:pt x="0" y="172596"/>
                    <a:pt x="0" y="170076"/>
                  </a:cubicBezTo>
                  <a:lnTo>
                    <a:pt x="0" y="167557"/>
                  </a:lnTo>
                  <a:lnTo>
                    <a:pt x="0" y="167557"/>
                  </a:lnTo>
                  <a:lnTo>
                    <a:pt x="0" y="167557"/>
                  </a:lnTo>
                  <a:cubicBezTo>
                    <a:pt x="0" y="166297"/>
                    <a:pt x="0" y="163777"/>
                    <a:pt x="0" y="162517"/>
                  </a:cubicBezTo>
                  <a:lnTo>
                    <a:pt x="0" y="159998"/>
                  </a:lnTo>
                  <a:lnTo>
                    <a:pt x="0" y="157478"/>
                  </a:lnTo>
                  <a:cubicBezTo>
                    <a:pt x="0" y="156218"/>
                    <a:pt x="0" y="153698"/>
                    <a:pt x="0" y="152439"/>
                  </a:cubicBezTo>
                  <a:cubicBezTo>
                    <a:pt x="0" y="149919"/>
                    <a:pt x="1260" y="147399"/>
                    <a:pt x="2520" y="144880"/>
                  </a:cubicBezTo>
                  <a:lnTo>
                    <a:pt x="2520" y="144880"/>
                  </a:lnTo>
                  <a:lnTo>
                    <a:pt x="2520" y="143620"/>
                  </a:lnTo>
                  <a:cubicBezTo>
                    <a:pt x="3780" y="141100"/>
                    <a:pt x="3780" y="137321"/>
                    <a:pt x="5039" y="134801"/>
                  </a:cubicBezTo>
                  <a:lnTo>
                    <a:pt x="5039" y="133541"/>
                  </a:lnTo>
                  <a:lnTo>
                    <a:pt x="5039" y="133541"/>
                  </a:lnTo>
                  <a:cubicBezTo>
                    <a:pt x="6299" y="129762"/>
                    <a:pt x="8819" y="123463"/>
                    <a:pt x="11338" y="119683"/>
                  </a:cubicBezTo>
                  <a:cubicBezTo>
                    <a:pt x="11338" y="118424"/>
                    <a:pt x="12598" y="118424"/>
                    <a:pt x="12598" y="117164"/>
                  </a:cubicBezTo>
                  <a:lnTo>
                    <a:pt x="12598" y="117164"/>
                  </a:lnTo>
                  <a:cubicBezTo>
                    <a:pt x="13858" y="115904"/>
                    <a:pt x="13858" y="113384"/>
                    <a:pt x="15118" y="112124"/>
                  </a:cubicBezTo>
                  <a:cubicBezTo>
                    <a:pt x="16378" y="109605"/>
                    <a:pt x="18897" y="105825"/>
                    <a:pt x="20157" y="103305"/>
                  </a:cubicBezTo>
                  <a:lnTo>
                    <a:pt x="20157" y="103305"/>
                  </a:lnTo>
                  <a:cubicBezTo>
                    <a:pt x="22677" y="99526"/>
                    <a:pt x="25196" y="94487"/>
                    <a:pt x="27716" y="89448"/>
                  </a:cubicBezTo>
                  <a:cubicBezTo>
                    <a:pt x="30236" y="84408"/>
                    <a:pt x="34015" y="79369"/>
                    <a:pt x="37795" y="74330"/>
                  </a:cubicBezTo>
                  <a:cubicBezTo>
                    <a:pt x="41574" y="69290"/>
                    <a:pt x="45354" y="62991"/>
                    <a:pt x="49133" y="59212"/>
                  </a:cubicBezTo>
                  <a:cubicBezTo>
                    <a:pt x="55432" y="50393"/>
                    <a:pt x="61731" y="42834"/>
                    <a:pt x="69290" y="35275"/>
                  </a:cubicBezTo>
                  <a:lnTo>
                    <a:pt x="71810" y="32755"/>
                  </a:lnTo>
                  <a:cubicBezTo>
                    <a:pt x="78109" y="25196"/>
                    <a:pt x="86928" y="16378"/>
                    <a:pt x="95747" y="7559"/>
                  </a:cubicBezTo>
                  <a:cubicBezTo>
                    <a:pt x="98266" y="5039"/>
                    <a:pt x="102046" y="2520"/>
                    <a:pt x="104566" y="0"/>
                  </a:cubicBezTo>
                  <a:lnTo>
                    <a:pt x="104566" y="0"/>
                  </a:lnTo>
                  <a:lnTo>
                    <a:pt x="104566" y="0"/>
                  </a:lnTo>
                  <a:cubicBezTo>
                    <a:pt x="100786" y="18897"/>
                    <a:pt x="100786" y="35275"/>
                    <a:pt x="99526" y="4787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/>
            <p:cNvSpPr/>
            <p:nvPr/>
          </p:nvSpPr>
          <p:spPr>
            <a:xfrm>
              <a:off x="9988383" y="3840779"/>
              <a:ext cx="8580" cy="42902"/>
            </a:xfrm>
            <a:custGeom>
              <a:avLst/>
              <a:gdLst>
                <a:gd name="connsiteX0" fmla="*/ 2520 w 0"/>
                <a:gd name="connsiteY0" fmla="*/ 8819 h 62991"/>
                <a:gd name="connsiteX1" fmla="*/ 1260 w 0"/>
                <a:gd name="connsiteY1" fmla="*/ 34015 h 62991"/>
                <a:gd name="connsiteX2" fmla="*/ 0 w 0"/>
                <a:gd name="connsiteY2" fmla="*/ 73070 h 62991"/>
                <a:gd name="connsiteX3" fmla="*/ 0 w 0"/>
                <a:gd name="connsiteY3" fmla="*/ 69290 h 62991"/>
                <a:gd name="connsiteX4" fmla="*/ 0 w 0"/>
                <a:gd name="connsiteY4" fmla="*/ 68030 h 62991"/>
                <a:gd name="connsiteX5" fmla="*/ 0 w 0"/>
                <a:gd name="connsiteY5" fmla="*/ 66770 h 62991"/>
                <a:gd name="connsiteX6" fmla="*/ 0 w 0"/>
                <a:gd name="connsiteY6" fmla="*/ 65511 h 62991"/>
                <a:gd name="connsiteX7" fmla="*/ 0 w 0"/>
                <a:gd name="connsiteY7" fmla="*/ 64251 h 62991"/>
                <a:gd name="connsiteX8" fmla="*/ 0 w 0"/>
                <a:gd name="connsiteY8" fmla="*/ 60471 h 62991"/>
                <a:gd name="connsiteX9" fmla="*/ 0 w 0"/>
                <a:gd name="connsiteY9" fmla="*/ 57952 h 62991"/>
                <a:gd name="connsiteX10" fmla="*/ 0 w 0"/>
                <a:gd name="connsiteY10" fmla="*/ 55432 h 62991"/>
                <a:gd name="connsiteX11" fmla="*/ 0 w 0"/>
                <a:gd name="connsiteY11" fmla="*/ 45354 h 62991"/>
                <a:gd name="connsiteX12" fmla="*/ 0 w 0"/>
                <a:gd name="connsiteY12" fmla="*/ 42834 h 62991"/>
                <a:gd name="connsiteX13" fmla="*/ 1260 w 0"/>
                <a:gd name="connsiteY13" fmla="*/ 32755 h 62991"/>
                <a:gd name="connsiteX14" fmla="*/ 1260 w 0"/>
                <a:gd name="connsiteY14" fmla="*/ 30236 h 62991"/>
                <a:gd name="connsiteX15" fmla="*/ 1260 w 0"/>
                <a:gd name="connsiteY15" fmla="*/ 27716 h 62991"/>
                <a:gd name="connsiteX16" fmla="*/ 1260 w 0"/>
                <a:gd name="connsiteY16" fmla="*/ 25196 h 62991"/>
                <a:gd name="connsiteX17" fmla="*/ 1260 w 0"/>
                <a:gd name="connsiteY17" fmla="*/ 21417 h 62991"/>
                <a:gd name="connsiteX18" fmla="*/ 1260 w 0"/>
                <a:gd name="connsiteY18" fmla="*/ 13858 h 62991"/>
                <a:gd name="connsiteX19" fmla="*/ 1260 w 0"/>
                <a:gd name="connsiteY19" fmla="*/ 10078 h 62991"/>
                <a:gd name="connsiteX20" fmla="*/ 1260 w 0"/>
                <a:gd name="connsiteY20" fmla="*/ 8819 h 62991"/>
                <a:gd name="connsiteX21" fmla="*/ 1260 w 0"/>
                <a:gd name="connsiteY21" fmla="*/ 5039 h 62991"/>
                <a:gd name="connsiteX22" fmla="*/ 1260 w 0"/>
                <a:gd name="connsiteY22" fmla="*/ 1260 h 62991"/>
                <a:gd name="connsiteX23" fmla="*/ 1260 w 0"/>
                <a:gd name="connsiteY23" fmla="*/ 2520 h 62991"/>
                <a:gd name="connsiteX24" fmla="*/ 1260 w 0"/>
                <a:gd name="connsiteY24" fmla="*/ 0 h 62991"/>
                <a:gd name="connsiteX25" fmla="*/ 2520 w 0"/>
                <a:gd name="connsiteY25" fmla="*/ 881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h="62991">
                  <a:moveTo>
                    <a:pt x="2520" y="8819"/>
                  </a:moveTo>
                  <a:cubicBezTo>
                    <a:pt x="2520" y="16378"/>
                    <a:pt x="1260" y="25196"/>
                    <a:pt x="1260" y="34015"/>
                  </a:cubicBezTo>
                  <a:cubicBezTo>
                    <a:pt x="0" y="46613"/>
                    <a:pt x="0" y="60471"/>
                    <a:pt x="0" y="73070"/>
                  </a:cubicBezTo>
                  <a:cubicBezTo>
                    <a:pt x="0" y="71810"/>
                    <a:pt x="0" y="70550"/>
                    <a:pt x="0" y="69290"/>
                  </a:cubicBezTo>
                  <a:cubicBezTo>
                    <a:pt x="0" y="69290"/>
                    <a:pt x="0" y="68030"/>
                    <a:pt x="0" y="68030"/>
                  </a:cubicBezTo>
                  <a:lnTo>
                    <a:pt x="0" y="66770"/>
                  </a:lnTo>
                  <a:lnTo>
                    <a:pt x="0" y="65511"/>
                  </a:lnTo>
                  <a:lnTo>
                    <a:pt x="0" y="64251"/>
                  </a:lnTo>
                  <a:cubicBezTo>
                    <a:pt x="0" y="62991"/>
                    <a:pt x="0" y="61731"/>
                    <a:pt x="0" y="60471"/>
                  </a:cubicBezTo>
                  <a:cubicBezTo>
                    <a:pt x="0" y="59212"/>
                    <a:pt x="0" y="59212"/>
                    <a:pt x="0" y="57952"/>
                  </a:cubicBezTo>
                  <a:cubicBezTo>
                    <a:pt x="0" y="56692"/>
                    <a:pt x="0" y="56692"/>
                    <a:pt x="0" y="55432"/>
                  </a:cubicBezTo>
                  <a:cubicBezTo>
                    <a:pt x="0" y="51653"/>
                    <a:pt x="0" y="49133"/>
                    <a:pt x="0" y="45354"/>
                  </a:cubicBezTo>
                  <a:cubicBezTo>
                    <a:pt x="0" y="44094"/>
                    <a:pt x="0" y="44094"/>
                    <a:pt x="0" y="42834"/>
                  </a:cubicBezTo>
                  <a:cubicBezTo>
                    <a:pt x="0" y="40314"/>
                    <a:pt x="1260" y="36535"/>
                    <a:pt x="1260" y="32755"/>
                  </a:cubicBezTo>
                  <a:cubicBezTo>
                    <a:pt x="1260" y="31496"/>
                    <a:pt x="1260" y="30236"/>
                    <a:pt x="1260" y="30236"/>
                  </a:cubicBezTo>
                  <a:cubicBezTo>
                    <a:pt x="1260" y="28976"/>
                    <a:pt x="1260" y="28976"/>
                    <a:pt x="1260" y="27716"/>
                  </a:cubicBezTo>
                  <a:lnTo>
                    <a:pt x="1260" y="25196"/>
                  </a:lnTo>
                  <a:cubicBezTo>
                    <a:pt x="1260" y="23937"/>
                    <a:pt x="1260" y="22677"/>
                    <a:pt x="1260" y="21417"/>
                  </a:cubicBezTo>
                  <a:cubicBezTo>
                    <a:pt x="1260" y="18897"/>
                    <a:pt x="1260" y="16378"/>
                    <a:pt x="1260" y="13858"/>
                  </a:cubicBezTo>
                  <a:cubicBezTo>
                    <a:pt x="1260" y="12598"/>
                    <a:pt x="1260" y="11338"/>
                    <a:pt x="1260" y="10078"/>
                  </a:cubicBezTo>
                  <a:lnTo>
                    <a:pt x="1260" y="8819"/>
                  </a:lnTo>
                  <a:cubicBezTo>
                    <a:pt x="1260" y="7559"/>
                    <a:pt x="1260" y="6299"/>
                    <a:pt x="1260" y="5039"/>
                  </a:cubicBezTo>
                  <a:cubicBezTo>
                    <a:pt x="1260" y="3779"/>
                    <a:pt x="1260" y="2520"/>
                    <a:pt x="1260" y="1260"/>
                  </a:cubicBezTo>
                  <a:lnTo>
                    <a:pt x="1260" y="2520"/>
                  </a:lnTo>
                  <a:cubicBezTo>
                    <a:pt x="1260" y="1260"/>
                    <a:pt x="1260" y="1260"/>
                    <a:pt x="1260" y="0"/>
                  </a:cubicBezTo>
                  <a:cubicBezTo>
                    <a:pt x="2520" y="5039"/>
                    <a:pt x="2520" y="6299"/>
                    <a:pt x="2520" y="881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/>
            <p:cNvSpPr/>
            <p:nvPr/>
          </p:nvSpPr>
          <p:spPr>
            <a:xfrm>
              <a:off x="9963977" y="3795303"/>
              <a:ext cx="25741" cy="128705"/>
            </a:xfrm>
            <a:custGeom>
              <a:avLst/>
              <a:gdLst>
                <a:gd name="connsiteX0" fmla="*/ 560 w 37794"/>
                <a:gd name="connsiteY0" fmla="*/ 0 h 188973"/>
                <a:gd name="connsiteX1" fmla="*/ 560 w 37794"/>
                <a:gd name="connsiteY1" fmla="*/ 0 h 188973"/>
                <a:gd name="connsiteX2" fmla="*/ 560 w 37794"/>
                <a:gd name="connsiteY2" fmla="*/ 0 h 188973"/>
                <a:gd name="connsiteX3" fmla="*/ 1819 w 37794"/>
                <a:gd name="connsiteY3" fmla="*/ 1260 h 188973"/>
                <a:gd name="connsiteX4" fmla="*/ 4339 w 37794"/>
                <a:gd name="connsiteY4" fmla="*/ 2520 h 188973"/>
                <a:gd name="connsiteX5" fmla="*/ 4339 w 37794"/>
                <a:gd name="connsiteY5" fmla="*/ 2520 h 188973"/>
                <a:gd name="connsiteX6" fmla="*/ 4339 w 37794"/>
                <a:gd name="connsiteY6" fmla="*/ 2520 h 188973"/>
                <a:gd name="connsiteX7" fmla="*/ 6859 w 37794"/>
                <a:gd name="connsiteY7" fmla="*/ 5039 h 188973"/>
                <a:gd name="connsiteX8" fmla="*/ 9378 w 37794"/>
                <a:gd name="connsiteY8" fmla="*/ 7559 h 188973"/>
                <a:gd name="connsiteX9" fmla="*/ 9378 w 37794"/>
                <a:gd name="connsiteY9" fmla="*/ 7559 h 188973"/>
                <a:gd name="connsiteX10" fmla="*/ 9378 w 37794"/>
                <a:gd name="connsiteY10" fmla="*/ 7559 h 188973"/>
                <a:gd name="connsiteX11" fmla="*/ 9378 w 37794"/>
                <a:gd name="connsiteY11" fmla="*/ 7559 h 188973"/>
                <a:gd name="connsiteX12" fmla="*/ 9378 w 37794"/>
                <a:gd name="connsiteY12" fmla="*/ 7559 h 188973"/>
                <a:gd name="connsiteX13" fmla="*/ 9378 w 37794"/>
                <a:gd name="connsiteY13" fmla="*/ 7559 h 188973"/>
                <a:gd name="connsiteX14" fmla="*/ 9378 w 37794"/>
                <a:gd name="connsiteY14" fmla="*/ 7559 h 188973"/>
                <a:gd name="connsiteX15" fmla="*/ 9378 w 37794"/>
                <a:gd name="connsiteY15" fmla="*/ 7559 h 188973"/>
                <a:gd name="connsiteX16" fmla="*/ 9378 w 37794"/>
                <a:gd name="connsiteY16" fmla="*/ 7559 h 188973"/>
                <a:gd name="connsiteX17" fmla="*/ 9378 w 37794"/>
                <a:gd name="connsiteY17" fmla="*/ 7559 h 188973"/>
                <a:gd name="connsiteX18" fmla="*/ 9378 w 37794"/>
                <a:gd name="connsiteY18" fmla="*/ 7559 h 188973"/>
                <a:gd name="connsiteX19" fmla="*/ 10638 w 37794"/>
                <a:gd name="connsiteY19" fmla="*/ 8819 h 188973"/>
                <a:gd name="connsiteX20" fmla="*/ 11898 w 37794"/>
                <a:gd name="connsiteY20" fmla="*/ 10079 h 188973"/>
                <a:gd name="connsiteX21" fmla="*/ 14418 w 37794"/>
                <a:gd name="connsiteY21" fmla="*/ 12598 h 188973"/>
                <a:gd name="connsiteX22" fmla="*/ 15678 w 37794"/>
                <a:gd name="connsiteY22" fmla="*/ 13858 h 188973"/>
                <a:gd name="connsiteX23" fmla="*/ 18197 w 37794"/>
                <a:gd name="connsiteY23" fmla="*/ 16378 h 188973"/>
                <a:gd name="connsiteX24" fmla="*/ 20717 w 37794"/>
                <a:gd name="connsiteY24" fmla="*/ 18897 h 188973"/>
                <a:gd name="connsiteX25" fmla="*/ 20717 w 37794"/>
                <a:gd name="connsiteY25" fmla="*/ 18897 h 188973"/>
                <a:gd name="connsiteX26" fmla="*/ 21977 w 37794"/>
                <a:gd name="connsiteY26" fmla="*/ 20157 h 188973"/>
                <a:gd name="connsiteX27" fmla="*/ 25756 w 37794"/>
                <a:gd name="connsiteY27" fmla="*/ 25196 h 188973"/>
                <a:gd name="connsiteX28" fmla="*/ 27016 w 37794"/>
                <a:gd name="connsiteY28" fmla="*/ 27716 h 188973"/>
                <a:gd name="connsiteX29" fmla="*/ 27016 w 37794"/>
                <a:gd name="connsiteY29" fmla="*/ 28976 h 188973"/>
                <a:gd name="connsiteX30" fmla="*/ 28276 w 37794"/>
                <a:gd name="connsiteY30" fmla="*/ 31496 h 188973"/>
                <a:gd name="connsiteX31" fmla="*/ 32056 w 37794"/>
                <a:gd name="connsiteY31" fmla="*/ 36535 h 188973"/>
                <a:gd name="connsiteX32" fmla="*/ 33315 w 37794"/>
                <a:gd name="connsiteY32" fmla="*/ 37795 h 188973"/>
                <a:gd name="connsiteX33" fmla="*/ 33315 w 37794"/>
                <a:gd name="connsiteY33" fmla="*/ 39054 h 188973"/>
                <a:gd name="connsiteX34" fmla="*/ 33315 w 37794"/>
                <a:gd name="connsiteY34" fmla="*/ 39054 h 188973"/>
                <a:gd name="connsiteX35" fmla="*/ 33315 w 37794"/>
                <a:gd name="connsiteY35" fmla="*/ 39054 h 188973"/>
                <a:gd name="connsiteX36" fmla="*/ 33315 w 37794"/>
                <a:gd name="connsiteY36" fmla="*/ 39054 h 188973"/>
                <a:gd name="connsiteX37" fmla="*/ 34575 w 37794"/>
                <a:gd name="connsiteY37" fmla="*/ 41574 h 188973"/>
                <a:gd name="connsiteX38" fmla="*/ 35835 w 37794"/>
                <a:gd name="connsiteY38" fmla="*/ 42834 h 188973"/>
                <a:gd name="connsiteX39" fmla="*/ 38355 w 37794"/>
                <a:gd name="connsiteY39" fmla="*/ 45354 h 188973"/>
                <a:gd name="connsiteX40" fmla="*/ 39614 w 37794"/>
                <a:gd name="connsiteY40" fmla="*/ 47873 h 188973"/>
                <a:gd name="connsiteX41" fmla="*/ 39614 w 37794"/>
                <a:gd name="connsiteY41" fmla="*/ 47873 h 188973"/>
                <a:gd name="connsiteX42" fmla="*/ 39614 w 37794"/>
                <a:gd name="connsiteY42" fmla="*/ 47873 h 188973"/>
                <a:gd name="connsiteX43" fmla="*/ 39614 w 37794"/>
                <a:gd name="connsiteY43" fmla="*/ 47873 h 188973"/>
                <a:gd name="connsiteX44" fmla="*/ 39614 w 37794"/>
                <a:gd name="connsiteY44" fmla="*/ 49133 h 188973"/>
                <a:gd name="connsiteX45" fmla="*/ 39614 w 37794"/>
                <a:gd name="connsiteY45" fmla="*/ 50393 h 188973"/>
                <a:gd name="connsiteX46" fmla="*/ 39614 w 37794"/>
                <a:gd name="connsiteY46" fmla="*/ 51653 h 188973"/>
                <a:gd name="connsiteX47" fmla="*/ 39614 w 37794"/>
                <a:gd name="connsiteY47" fmla="*/ 52913 h 188973"/>
                <a:gd name="connsiteX48" fmla="*/ 39614 w 37794"/>
                <a:gd name="connsiteY48" fmla="*/ 55432 h 188973"/>
                <a:gd name="connsiteX49" fmla="*/ 39614 w 37794"/>
                <a:gd name="connsiteY49" fmla="*/ 56692 h 188973"/>
                <a:gd name="connsiteX50" fmla="*/ 39614 w 37794"/>
                <a:gd name="connsiteY50" fmla="*/ 59212 h 188973"/>
                <a:gd name="connsiteX51" fmla="*/ 38355 w 37794"/>
                <a:gd name="connsiteY51" fmla="*/ 65511 h 188973"/>
                <a:gd name="connsiteX52" fmla="*/ 38355 w 37794"/>
                <a:gd name="connsiteY52" fmla="*/ 71810 h 188973"/>
                <a:gd name="connsiteX53" fmla="*/ 38355 w 37794"/>
                <a:gd name="connsiteY53" fmla="*/ 70550 h 188973"/>
                <a:gd name="connsiteX54" fmla="*/ 38355 w 37794"/>
                <a:gd name="connsiteY54" fmla="*/ 74330 h 188973"/>
                <a:gd name="connsiteX55" fmla="*/ 38355 w 37794"/>
                <a:gd name="connsiteY55" fmla="*/ 78109 h 188973"/>
                <a:gd name="connsiteX56" fmla="*/ 38355 w 37794"/>
                <a:gd name="connsiteY56" fmla="*/ 79369 h 188973"/>
                <a:gd name="connsiteX57" fmla="*/ 38355 w 37794"/>
                <a:gd name="connsiteY57" fmla="*/ 83148 h 188973"/>
                <a:gd name="connsiteX58" fmla="*/ 38355 w 37794"/>
                <a:gd name="connsiteY58" fmla="*/ 90707 h 188973"/>
                <a:gd name="connsiteX59" fmla="*/ 38355 w 37794"/>
                <a:gd name="connsiteY59" fmla="*/ 94487 h 188973"/>
                <a:gd name="connsiteX60" fmla="*/ 38355 w 37794"/>
                <a:gd name="connsiteY60" fmla="*/ 97006 h 188973"/>
                <a:gd name="connsiteX61" fmla="*/ 38355 w 37794"/>
                <a:gd name="connsiteY61" fmla="*/ 99526 h 188973"/>
                <a:gd name="connsiteX62" fmla="*/ 38355 w 37794"/>
                <a:gd name="connsiteY62" fmla="*/ 102046 h 188973"/>
                <a:gd name="connsiteX63" fmla="*/ 37095 w 37794"/>
                <a:gd name="connsiteY63" fmla="*/ 112124 h 188973"/>
                <a:gd name="connsiteX64" fmla="*/ 37095 w 37794"/>
                <a:gd name="connsiteY64" fmla="*/ 114644 h 188973"/>
                <a:gd name="connsiteX65" fmla="*/ 37095 w 37794"/>
                <a:gd name="connsiteY65" fmla="*/ 124722 h 188973"/>
                <a:gd name="connsiteX66" fmla="*/ 37095 w 37794"/>
                <a:gd name="connsiteY66" fmla="*/ 127242 h 188973"/>
                <a:gd name="connsiteX67" fmla="*/ 37095 w 37794"/>
                <a:gd name="connsiteY67" fmla="*/ 129762 h 188973"/>
                <a:gd name="connsiteX68" fmla="*/ 37095 w 37794"/>
                <a:gd name="connsiteY68" fmla="*/ 133541 h 188973"/>
                <a:gd name="connsiteX69" fmla="*/ 37095 w 37794"/>
                <a:gd name="connsiteY69" fmla="*/ 134801 h 188973"/>
                <a:gd name="connsiteX70" fmla="*/ 37095 w 37794"/>
                <a:gd name="connsiteY70" fmla="*/ 136061 h 188973"/>
                <a:gd name="connsiteX71" fmla="*/ 37095 w 37794"/>
                <a:gd name="connsiteY71" fmla="*/ 137321 h 188973"/>
                <a:gd name="connsiteX72" fmla="*/ 37095 w 37794"/>
                <a:gd name="connsiteY72" fmla="*/ 138581 h 188973"/>
                <a:gd name="connsiteX73" fmla="*/ 37095 w 37794"/>
                <a:gd name="connsiteY73" fmla="*/ 154958 h 188973"/>
                <a:gd name="connsiteX74" fmla="*/ 37095 w 37794"/>
                <a:gd name="connsiteY74" fmla="*/ 156218 h 188973"/>
                <a:gd name="connsiteX75" fmla="*/ 35835 w 37794"/>
                <a:gd name="connsiteY75" fmla="*/ 172596 h 188973"/>
                <a:gd name="connsiteX76" fmla="*/ 35835 w 37794"/>
                <a:gd name="connsiteY76" fmla="*/ 180155 h 188973"/>
                <a:gd name="connsiteX77" fmla="*/ 35835 w 37794"/>
                <a:gd name="connsiteY77" fmla="*/ 190233 h 188973"/>
                <a:gd name="connsiteX78" fmla="*/ 35835 w 37794"/>
                <a:gd name="connsiteY78" fmla="*/ 190233 h 188973"/>
                <a:gd name="connsiteX79" fmla="*/ 35835 w 37794"/>
                <a:gd name="connsiteY79" fmla="*/ 190233 h 188973"/>
                <a:gd name="connsiteX80" fmla="*/ 35835 w 37794"/>
                <a:gd name="connsiteY80" fmla="*/ 190233 h 188973"/>
                <a:gd name="connsiteX81" fmla="*/ 35835 w 37794"/>
                <a:gd name="connsiteY81" fmla="*/ 190233 h 188973"/>
                <a:gd name="connsiteX82" fmla="*/ 35835 w 37794"/>
                <a:gd name="connsiteY82" fmla="*/ 190233 h 188973"/>
                <a:gd name="connsiteX83" fmla="*/ 35835 w 37794"/>
                <a:gd name="connsiteY83" fmla="*/ 190233 h 188973"/>
                <a:gd name="connsiteX84" fmla="*/ 34575 w 37794"/>
                <a:gd name="connsiteY84" fmla="*/ 191493 h 188973"/>
                <a:gd name="connsiteX85" fmla="*/ 33315 w 37794"/>
                <a:gd name="connsiteY85" fmla="*/ 191493 h 188973"/>
                <a:gd name="connsiteX86" fmla="*/ 32056 w 37794"/>
                <a:gd name="connsiteY86" fmla="*/ 191493 h 188973"/>
                <a:gd name="connsiteX87" fmla="*/ 30796 w 37794"/>
                <a:gd name="connsiteY87" fmla="*/ 191493 h 188973"/>
                <a:gd name="connsiteX88" fmla="*/ 29536 w 37794"/>
                <a:gd name="connsiteY88" fmla="*/ 190233 h 188973"/>
                <a:gd name="connsiteX89" fmla="*/ 28276 w 37794"/>
                <a:gd name="connsiteY89" fmla="*/ 185194 h 188973"/>
                <a:gd name="connsiteX90" fmla="*/ 28276 w 37794"/>
                <a:gd name="connsiteY90" fmla="*/ 185194 h 188973"/>
                <a:gd name="connsiteX91" fmla="*/ 27016 w 37794"/>
                <a:gd name="connsiteY91" fmla="*/ 180155 h 188973"/>
                <a:gd name="connsiteX92" fmla="*/ 27016 w 37794"/>
                <a:gd name="connsiteY92" fmla="*/ 180155 h 188973"/>
                <a:gd name="connsiteX93" fmla="*/ 27016 w 37794"/>
                <a:gd name="connsiteY93" fmla="*/ 180155 h 188973"/>
                <a:gd name="connsiteX94" fmla="*/ 27016 w 37794"/>
                <a:gd name="connsiteY94" fmla="*/ 180155 h 188973"/>
                <a:gd name="connsiteX95" fmla="*/ 25756 w 37794"/>
                <a:gd name="connsiteY95" fmla="*/ 171336 h 188973"/>
                <a:gd name="connsiteX96" fmla="*/ 24497 w 37794"/>
                <a:gd name="connsiteY96" fmla="*/ 166297 h 188973"/>
                <a:gd name="connsiteX97" fmla="*/ 24497 w 37794"/>
                <a:gd name="connsiteY97" fmla="*/ 165037 h 188973"/>
                <a:gd name="connsiteX98" fmla="*/ 24497 w 37794"/>
                <a:gd name="connsiteY98" fmla="*/ 161257 h 188973"/>
                <a:gd name="connsiteX99" fmla="*/ 23237 w 37794"/>
                <a:gd name="connsiteY99" fmla="*/ 149919 h 188973"/>
                <a:gd name="connsiteX100" fmla="*/ 21977 w 37794"/>
                <a:gd name="connsiteY100" fmla="*/ 139840 h 188973"/>
                <a:gd name="connsiteX101" fmla="*/ 21977 w 37794"/>
                <a:gd name="connsiteY101" fmla="*/ 134801 h 188973"/>
                <a:gd name="connsiteX102" fmla="*/ 21977 w 37794"/>
                <a:gd name="connsiteY102" fmla="*/ 133541 h 188973"/>
                <a:gd name="connsiteX103" fmla="*/ 21977 w 37794"/>
                <a:gd name="connsiteY103" fmla="*/ 128502 h 188973"/>
                <a:gd name="connsiteX104" fmla="*/ 21977 w 37794"/>
                <a:gd name="connsiteY104" fmla="*/ 125982 h 188973"/>
                <a:gd name="connsiteX105" fmla="*/ 21977 w 37794"/>
                <a:gd name="connsiteY105" fmla="*/ 124722 h 188973"/>
                <a:gd name="connsiteX106" fmla="*/ 21977 w 37794"/>
                <a:gd name="connsiteY106" fmla="*/ 123463 h 188973"/>
                <a:gd name="connsiteX107" fmla="*/ 21977 w 37794"/>
                <a:gd name="connsiteY107" fmla="*/ 118423 h 188973"/>
                <a:gd name="connsiteX108" fmla="*/ 20717 w 37794"/>
                <a:gd name="connsiteY108" fmla="*/ 108345 h 188973"/>
                <a:gd name="connsiteX109" fmla="*/ 20717 w 37794"/>
                <a:gd name="connsiteY109" fmla="*/ 108345 h 188973"/>
                <a:gd name="connsiteX110" fmla="*/ 18197 w 37794"/>
                <a:gd name="connsiteY110" fmla="*/ 93227 h 188973"/>
                <a:gd name="connsiteX111" fmla="*/ 18197 w 37794"/>
                <a:gd name="connsiteY111" fmla="*/ 91967 h 188973"/>
                <a:gd name="connsiteX112" fmla="*/ 16938 w 37794"/>
                <a:gd name="connsiteY112" fmla="*/ 85668 h 188973"/>
                <a:gd name="connsiteX113" fmla="*/ 16938 w 37794"/>
                <a:gd name="connsiteY113" fmla="*/ 81889 h 188973"/>
                <a:gd name="connsiteX114" fmla="*/ 16938 w 37794"/>
                <a:gd name="connsiteY114" fmla="*/ 80629 h 188973"/>
                <a:gd name="connsiteX115" fmla="*/ 16938 w 37794"/>
                <a:gd name="connsiteY115" fmla="*/ 78109 h 188973"/>
                <a:gd name="connsiteX116" fmla="*/ 15678 w 37794"/>
                <a:gd name="connsiteY116" fmla="*/ 74330 h 188973"/>
                <a:gd name="connsiteX117" fmla="*/ 15678 w 37794"/>
                <a:gd name="connsiteY117" fmla="*/ 73070 h 188973"/>
                <a:gd name="connsiteX118" fmla="*/ 15678 w 37794"/>
                <a:gd name="connsiteY118" fmla="*/ 73070 h 188973"/>
                <a:gd name="connsiteX119" fmla="*/ 14418 w 37794"/>
                <a:gd name="connsiteY119" fmla="*/ 68030 h 188973"/>
                <a:gd name="connsiteX120" fmla="*/ 13158 w 37794"/>
                <a:gd name="connsiteY120" fmla="*/ 61731 h 188973"/>
                <a:gd name="connsiteX121" fmla="*/ 13158 w 37794"/>
                <a:gd name="connsiteY121" fmla="*/ 60472 h 188973"/>
                <a:gd name="connsiteX122" fmla="*/ 11898 w 37794"/>
                <a:gd name="connsiteY122" fmla="*/ 56692 h 188973"/>
                <a:gd name="connsiteX123" fmla="*/ 9378 w 37794"/>
                <a:gd name="connsiteY123" fmla="*/ 45354 h 188973"/>
                <a:gd name="connsiteX124" fmla="*/ 9378 w 37794"/>
                <a:gd name="connsiteY124" fmla="*/ 42834 h 188973"/>
                <a:gd name="connsiteX125" fmla="*/ 9378 w 37794"/>
                <a:gd name="connsiteY125" fmla="*/ 42834 h 188973"/>
                <a:gd name="connsiteX126" fmla="*/ 8119 w 37794"/>
                <a:gd name="connsiteY126" fmla="*/ 40314 h 188973"/>
                <a:gd name="connsiteX127" fmla="*/ 8119 w 37794"/>
                <a:gd name="connsiteY127" fmla="*/ 39054 h 188973"/>
                <a:gd name="connsiteX128" fmla="*/ 6859 w 37794"/>
                <a:gd name="connsiteY128" fmla="*/ 35275 h 188973"/>
                <a:gd name="connsiteX129" fmla="*/ 6859 w 37794"/>
                <a:gd name="connsiteY129" fmla="*/ 34015 h 188973"/>
                <a:gd name="connsiteX130" fmla="*/ 6859 w 37794"/>
                <a:gd name="connsiteY130" fmla="*/ 32755 h 188973"/>
                <a:gd name="connsiteX131" fmla="*/ 6859 w 37794"/>
                <a:gd name="connsiteY131" fmla="*/ 31496 h 188973"/>
                <a:gd name="connsiteX132" fmla="*/ 6859 w 37794"/>
                <a:gd name="connsiteY132" fmla="*/ 31496 h 188973"/>
                <a:gd name="connsiteX133" fmla="*/ 6859 w 37794"/>
                <a:gd name="connsiteY133" fmla="*/ 31496 h 188973"/>
                <a:gd name="connsiteX134" fmla="*/ 6859 w 37794"/>
                <a:gd name="connsiteY134" fmla="*/ 28976 h 188973"/>
                <a:gd name="connsiteX135" fmla="*/ 6859 w 37794"/>
                <a:gd name="connsiteY135" fmla="*/ 27716 h 188973"/>
                <a:gd name="connsiteX136" fmla="*/ 6859 w 37794"/>
                <a:gd name="connsiteY136" fmla="*/ 27716 h 188973"/>
                <a:gd name="connsiteX137" fmla="*/ 6859 w 37794"/>
                <a:gd name="connsiteY137" fmla="*/ 27716 h 188973"/>
                <a:gd name="connsiteX138" fmla="*/ 6859 w 37794"/>
                <a:gd name="connsiteY138" fmla="*/ 23937 h 188973"/>
                <a:gd name="connsiteX139" fmla="*/ 6859 w 37794"/>
                <a:gd name="connsiteY139" fmla="*/ 22677 h 188973"/>
                <a:gd name="connsiteX140" fmla="*/ 6859 w 37794"/>
                <a:gd name="connsiteY140" fmla="*/ 20157 h 188973"/>
                <a:gd name="connsiteX141" fmla="*/ 6859 w 37794"/>
                <a:gd name="connsiteY141" fmla="*/ 16378 h 188973"/>
                <a:gd name="connsiteX142" fmla="*/ 6859 w 37794"/>
                <a:gd name="connsiteY142" fmla="*/ 15118 h 188973"/>
                <a:gd name="connsiteX143" fmla="*/ 6859 w 37794"/>
                <a:gd name="connsiteY143" fmla="*/ 13858 h 188973"/>
                <a:gd name="connsiteX144" fmla="*/ 6859 w 37794"/>
                <a:gd name="connsiteY144" fmla="*/ 11338 h 188973"/>
                <a:gd name="connsiteX145" fmla="*/ 6859 w 37794"/>
                <a:gd name="connsiteY145" fmla="*/ 8819 h 188973"/>
                <a:gd name="connsiteX146" fmla="*/ 6859 w 37794"/>
                <a:gd name="connsiteY146" fmla="*/ 8819 h 188973"/>
                <a:gd name="connsiteX147" fmla="*/ 6859 w 37794"/>
                <a:gd name="connsiteY147" fmla="*/ 7559 h 188973"/>
                <a:gd name="connsiteX148" fmla="*/ 6859 w 37794"/>
                <a:gd name="connsiteY148" fmla="*/ 7559 h 188973"/>
                <a:gd name="connsiteX149" fmla="*/ 6859 w 37794"/>
                <a:gd name="connsiteY149" fmla="*/ 7559 h 188973"/>
                <a:gd name="connsiteX150" fmla="*/ 6859 w 37794"/>
                <a:gd name="connsiteY150" fmla="*/ 7559 h 188973"/>
                <a:gd name="connsiteX151" fmla="*/ 6859 w 37794"/>
                <a:gd name="connsiteY151" fmla="*/ 6299 h 188973"/>
                <a:gd name="connsiteX152" fmla="*/ 560 w 37794"/>
                <a:gd name="connsiteY152" fmla="*/ 0 h 188973"/>
                <a:gd name="connsiteX153" fmla="*/ 560 w 37794"/>
                <a:gd name="connsiteY153" fmla="*/ 0 h 188973"/>
                <a:gd name="connsiteX154" fmla="*/ 560 w 37794"/>
                <a:gd name="connsiteY154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37794" h="188973">
                  <a:moveTo>
                    <a:pt x="560" y="0"/>
                  </a:moveTo>
                  <a:cubicBezTo>
                    <a:pt x="1819" y="0"/>
                    <a:pt x="1819" y="1260"/>
                    <a:pt x="560" y="0"/>
                  </a:cubicBezTo>
                  <a:lnTo>
                    <a:pt x="560" y="0"/>
                  </a:lnTo>
                  <a:lnTo>
                    <a:pt x="1819" y="1260"/>
                  </a:lnTo>
                  <a:cubicBezTo>
                    <a:pt x="1819" y="1260"/>
                    <a:pt x="3079" y="2520"/>
                    <a:pt x="4339" y="2520"/>
                  </a:cubicBezTo>
                  <a:lnTo>
                    <a:pt x="4339" y="2520"/>
                  </a:lnTo>
                  <a:lnTo>
                    <a:pt x="4339" y="2520"/>
                  </a:lnTo>
                  <a:cubicBezTo>
                    <a:pt x="5599" y="2520"/>
                    <a:pt x="6859" y="3780"/>
                    <a:pt x="6859" y="5039"/>
                  </a:cubicBezTo>
                  <a:cubicBezTo>
                    <a:pt x="8119" y="6299"/>
                    <a:pt x="8119" y="629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cubicBezTo>
                    <a:pt x="9378" y="7559"/>
                    <a:pt x="9378" y="755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10638" y="8819"/>
                  </a:lnTo>
                  <a:lnTo>
                    <a:pt x="11898" y="10079"/>
                  </a:lnTo>
                  <a:cubicBezTo>
                    <a:pt x="13158" y="11338"/>
                    <a:pt x="13158" y="11338"/>
                    <a:pt x="14418" y="12598"/>
                  </a:cubicBezTo>
                  <a:lnTo>
                    <a:pt x="15678" y="13858"/>
                  </a:lnTo>
                  <a:cubicBezTo>
                    <a:pt x="16938" y="15118"/>
                    <a:pt x="16938" y="16378"/>
                    <a:pt x="18197" y="16378"/>
                  </a:cubicBezTo>
                  <a:cubicBezTo>
                    <a:pt x="19457" y="17637"/>
                    <a:pt x="19457" y="17637"/>
                    <a:pt x="20717" y="18897"/>
                  </a:cubicBezTo>
                  <a:lnTo>
                    <a:pt x="20717" y="18897"/>
                  </a:lnTo>
                  <a:lnTo>
                    <a:pt x="21977" y="20157"/>
                  </a:lnTo>
                  <a:cubicBezTo>
                    <a:pt x="23237" y="21417"/>
                    <a:pt x="24497" y="22677"/>
                    <a:pt x="25756" y="25196"/>
                  </a:cubicBezTo>
                  <a:lnTo>
                    <a:pt x="27016" y="27716"/>
                  </a:lnTo>
                  <a:lnTo>
                    <a:pt x="27016" y="28976"/>
                  </a:lnTo>
                  <a:lnTo>
                    <a:pt x="28276" y="31496"/>
                  </a:lnTo>
                  <a:cubicBezTo>
                    <a:pt x="29536" y="32755"/>
                    <a:pt x="30796" y="34015"/>
                    <a:pt x="32056" y="36535"/>
                  </a:cubicBezTo>
                  <a:lnTo>
                    <a:pt x="33315" y="37795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cubicBezTo>
                    <a:pt x="33315" y="40314"/>
                    <a:pt x="34575" y="40314"/>
                    <a:pt x="34575" y="41574"/>
                  </a:cubicBezTo>
                  <a:cubicBezTo>
                    <a:pt x="34575" y="41574"/>
                    <a:pt x="35835" y="42834"/>
                    <a:pt x="35835" y="42834"/>
                  </a:cubicBezTo>
                  <a:cubicBezTo>
                    <a:pt x="35835" y="44094"/>
                    <a:pt x="37095" y="44094"/>
                    <a:pt x="38355" y="45354"/>
                  </a:cubicBezTo>
                  <a:cubicBezTo>
                    <a:pt x="38355" y="46613"/>
                    <a:pt x="39614" y="46613"/>
                    <a:pt x="39614" y="47873"/>
                  </a:cubicBezTo>
                  <a:lnTo>
                    <a:pt x="39614" y="47873"/>
                  </a:lnTo>
                  <a:lnTo>
                    <a:pt x="39614" y="47873"/>
                  </a:lnTo>
                  <a:cubicBezTo>
                    <a:pt x="39614" y="47873"/>
                    <a:pt x="39614" y="47873"/>
                    <a:pt x="39614" y="47873"/>
                  </a:cubicBezTo>
                  <a:cubicBezTo>
                    <a:pt x="39614" y="47873"/>
                    <a:pt x="39614" y="49133"/>
                    <a:pt x="39614" y="49133"/>
                  </a:cubicBezTo>
                  <a:cubicBezTo>
                    <a:pt x="39614" y="49133"/>
                    <a:pt x="39614" y="50393"/>
                    <a:pt x="39614" y="50393"/>
                  </a:cubicBezTo>
                  <a:cubicBezTo>
                    <a:pt x="39614" y="50393"/>
                    <a:pt x="39614" y="51653"/>
                    <a:pt x="39614" y="51653"/>
                  </a:cubicBezTo>
                  <a:cubicBezTo>
                    <a:pt x="39614" y="51653"/>
                    <a:pt x="39614" y="52913"/>
                    <a:pt x="39614" y="52913"/>
                  </a:cubicBezTo>
                  <a:cubicBezTo>
                    <a:pt x="39614" y="54172"/>
                    <a:pt x="39614" y="54172"/>
                    <a:pt x="39614" y="55432"/>
                  </a:cubicBezTo>
                  <a:lnTo>
                    <a:pt x="39614" y="56692"/>
                  </a:lnTo>
                  <a:cubicBezTo>
                    <a:pt x="39614" y="57952"/>
                    <a:pt x="39614" y="59212"/>
                    <a:pt x="39614" y="59212"/>
                  </a:cubicBezTo>
                  <a:cubicBezTo>
                    <a:pt x="39614" y="61731"/>
                    <a:pt x="39614" y="64251"/>
                    <a:pt x="38355" y="65511"/>
                  </a:cubicBezTo>
                  <a:cubicBezTo>
                    <a:pt x="38355" y="68030"/>
                    <a:pt x="38355" y="69290"/>
                    <a:pt x="38355" y="71810"/>
                  </a:cubicBezTo>
                  <a:lnTo>
                    <a:pt x="38355" y="70550"/>
                  </a:lnTo>
                  <a:cubicBezTo>
                    <a:pt x="38355" y="71810"/>
                    <a:pt x="38355" y="73070"/>
                    <a:pt x="38355" y="74330"/>
                  </a:cubicBezTo>
                  <a:cubicBezTo>
                    <a:pt x="38355" y="75589"/>
                    <a:pt x="38355" y="76849"/>
                    <a:pt x="38355" y="78109"/>
                  </a:cubicBezTo>
                  <a:lnTo>
                    <a:pt x="38355" y="79369"/>
                  </a:lnTo>
                  <a:cubicBezTo>
                    <a:pt x="38355" y="80629"/>
                    <a:pt x="38355" y="81889"/>
                    <a:pt x="38355" y="83148"/>
                  </a:cubicBezTo>
                  <a:cubicBezTo>
                    <a:pt x="38355" y="85668"/>
                    <a:pt x="38355" y="88188"/>
                    <a:pt x="38355" y="90707"/>
                  </a:cubicBezTo>
                  <a:cubicBezTo>
                    <a:pt x="38355" y="91967"/>
                    <a:pt x="38355" y="93227"/>
                    <a:pt x="38355" y="94487"/>
                  </a:cubicBezTo>
                  <a:lnTo>
                    <a:pt x="38355" y="97006"/>
                  </a:lnTo>
                  <a:cubicBezTo>
                    <a:pt x="38355" y="98266"/>
                    <a:pt x="38355" y="98266"/>
                    <a:pt x="38355" y="99526"/>
                  </a:cubicBezTo>
                  <a:cubicBezTo>
                    <a:pt x="38355" y="100786"/>
                    <a:pt x="38355" y="102046"/>
                    <a:pt x="38355" y="102046"/>
                  </a:cubicBezTo>
                  <a:cubicBezTo>
                    <a:pt x="38355" y="105825"/>
                    <a:pt x="38355" y="109605"/>
                    <a:pt x="37095" y="112124"/>
                  </a:cubicBezTo>
                  <a:cubicBezTo>
                    <a:pt x="37095" y="113384"/>
                    <a:pt x="37095" y="113384"/>
                    <a:pt x="37095" y="114644"/>
                  </a:cubicBezTo>
                  <a:cubicBezTo>
                    <a:pt x="37095" y="117164"/>
                    <a:pt x="37095" y="120943"/>
                    <a:pt x="37095" y="124722"/>
                  </a:cubicBezTo>
                  <a:cubicBezTo>
                    <a:pt x="37095" y="125982"/>
                    <a:pt x="37095" y="125982"/>
                    <a:pt x="37095" y="127242"/>
                  </a:cubicBezTo>
                  <a:cubicBezTo>
                    <a:pt x="37095" y="128502"/>
                    <a:pt x="37095" y="128502"/>
                    <a:pt x="37095" y="129762"/>
                  </a:cubicBezTo>
                  <a:cubicBezTo>
                    <a:pt x="37095" y="131022"/>
                    <a:pt x="37095" y="132281"/>
                    <a:pt x="37095" y="133541"/>
                  </a:cubicBezTo>
                  <a:lnTo>
                    <a:pt x="37095" y="134801"/>
                  </a:lnTo>
                  <a:lnTo>
                    <a:pt x="37095" y="136061"/>
                  </a:lnTo>
                  <a:lnTo>
                    <a:pt x="37095" y="137321"/>
                  </a:lnTo>
                  <a:cubicBezTo>
                    <a:pt x="37095" y="137321"/>
                    <a:pt x="37095" y="138581"/>
                    <a:pt x="37095" y="138581"/>
                  </a:cubicBezTo>
                  <a:cubicBezTo>
                    <a:pt x="37095" y="143620"/>
                    <a:pt x="37095" y="148659"/>
                    <a:pt x="37095" y="154958"/>
                  </a:cubicBezTo>
                  <a:cubicBezTo>
                    <a:pt x="37095" y="154958"/>
                    <a:pt x="37095" y="156218"/>
                    <a:pt x="37095" y="156218"/>
                  </a:cubicBezTo>
                  <a:cubicBezTo>
                    <a:pt x="35835" y="161257"/>
                    <a:pt x="35835" y="167557"/>
                    <a:pt x="35835" y="172596"/>
                  </a:cubicBezTo>
                  <a:cubicBezTo>
                    <a:pt x="35835" y="175115"/>
                    <a:pt x="35835" y="177635"/>
                    <a:pt x="35835" y="180155"/>
                  </a:cubicBezTo>
                  <a:cubicBezTo>
                    <a:pt x="35835" y="183934"/>
                    <a:pt x="35835" y="187714"/>
                    <a:pt x="35835" y="190233"/>
                  </a:cubicBezTo>
                  <a:lnTo>
                    <a:pt x="35835" y="190233"/>
                  </a:lnTo>
                  <a:lnTo>
                    <a:pt x="35835" y="190233"/>
                  </a:ln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1493"/>
                    <a:pt x="34575" y="191493"/>
                  </a:cubicBezTo>
                  <a:cubicBezTo>
                    <a:pt x="34575" y="191493"/>
                    <a:pt x="34575" y="191493"/>
                    <a:pt x="33315" y="191493"/>
                  </a:cubicBezTo>
                  <a:cubicBezTo>
                    <a:pt x="33315" y="191493"/>
                    <a:pt x="32056" y="191493"/>
                    <a:pt x="32056" y="191493"/>
                  </a:cubicBezTo>
                  <a:cubicBezTo>
                    <a:pt x="32056" y="191493"/>
                    <a:pt x="30796" y="191493"/>
                    <a:pt x="30796" y="191493"/>
                  </a:cubicBezTo>
                  <a:cubicBezTo>
                    <a:pt x="30796" y="191493"/>
                    <a:pt x="29536" y="190233"/>
                    <a:pt x="29536" y="190233"/>
                  </a:cubicBezTo>
                  <a:cubicBezTo>
                    <a:pt x="29536" y="188974"/>
                    <a:pt x="28276" y="187714"/>
                    <a:pt x="28276" y="185194"/>
                  </a:cubicBezTo>
                  <a:lnTo>
                    <a:pt x="28276" y="185194"/>
                  </a:lnTo>
                  <a:cubicBezTo>
                    <a:pt x="28276" y="183934"/>
                    <a:pt x="27016" y="181414"/>
                    <a:pt x="27016" y="180155"/>
                  </a:cubicBezTo>
                  <a:lnTo>
                    <a:pt x="27016" y="180155"/>
                  </a:lnTo>
                  <a:lnTo>
                    <a:pt x="27016" y="180155"/>
                  </a:lnTo>
                  <a:lnTo>
                    <a:pt x="27016" y="180155"/>
                  </a:lnTo>
                  <a:cubicBezTo>
                    <a:pt x="27016" y="177635"/>
                    <a:pt x="25756" y="173856"/>
                    <a:pt x="25756" y="171336"/>
                  </a:cubicBezTo>
                  <a:cubicBezTo>
                    <a:pt x="25756" y="170076"/>
                    <a:pt x="25756" y="167557"/>
                    <a:pt x="24497" y="166297"/>
                  </a:cubicBezTo>
                  <a:lnTo>
                    <a:pt x="24497" y="165037"/>
                  </a:lnTo>
                  <a:lnTo>
                    <a:pt x="24497" y="161257"/>
                  </a:lnTo>
                  <a:cubicBezTo>
                    <a:pt x="23237" y="157478"/>
                    <a:pt x="23237" y="153698"/>
                    <a:pt x="23237" y="149919"/>
                  </a:cubicBezTo>
                  <a:cubicBezTo>
                    <a:pt x="23237" y="146139"/>
                    <a:pt x="21977" y="143620"/>
                    <a:pt x="21977" y="139840"/>
                  </a:cubicBezTo>
                  <a:cubicBezTo>
                    <a:pt x="21977" y="138581"/>
                    <a:pt x="21977" y="136061"/>
                    <a:pt x="21977" y="134801"/>
                  </a:cubicBezTo>
                  <a:lnTo>
                    <a:pt x="21977" y="133541"/>
                  </a:lnTo>
                  <a:cubicBezTo>
                    <a:pt x="21977" y="132281"/>
                    <a:pt x="21977" y="129762"/>
                    <a:pt x="21977" y="128502"/>
                  </a:cubicBezTo>
                  <a:cubicBezTo>
                    <a:pt x="21977" y="127242"/>
                    <a:pt x="21977" y="127242"/>
                    <a:pt x="21977" y="125982"/>
                  </a:cubicBezTo>
                  <a:lnTo>
                    <a:pt x="21977" y="124722"/>
                  </a:lnTo>
                  <a:lnTo>
                    <a:pt x="21977" y="123463"/>
                  </a:lnTo>
                  <a:cubicBezTo>
                    <a:pt x="21977" y="122203"/>
                    <a:pt x="21977" y="119683"/>
                    <a:pt x="21977" y="118423"/>
                  </a:cubicBezTo>
                  <a:cubicBezTo>
                    <a:pt x="21977" y="114644"/>
                    <a:pt x="20717" y="112124"/>
                    <a:pt x="20717" y="108345"/>
                  </a:cubicBezTo>
                  <a:lnTo>
                    <a:pt x="20717" y="108345"/>
                  </a:lnTo>
                  <a:cubicBezTo>
                    <a:pt x="19457" y="103305"/>
                    <a:pt x="19457" y="98266"/>
                    <a:pt x="18197" y="93227"/>
                  </a:cubicBezTo>
                  <a:lnTo>
                    <a:pt x="18197" y="91967"/>
                  </a:lnTo>
                  <a:cubicBezTo>
                    <a:pt x="18197" y="90707"/>
                    <a:pt x="18197" y="88188"/>
                    <a:pt x="16938" y="85668"/>
                  </a:cubicBezTo>
                  <a:cubicBezTo>
                    <a:pt x="16938" y="84408"/>
                    <a:pt x="16938" y="83148"/>
                    <a:pt x="16938" y="81889"/>
                  </a:cubicBezTo>
                  <a:cubicBezTo>
                    <a:pt x="16938" y="81889"/>
                    <a:pt x="16938" y="80629"/>
                    <a:pt x="16938" y="80629"/>
                  </a:cubicBezTo>
                  <a:cubicBezTo>
                    <a:pt x="16938" y="79369"/>
                    <a:pt x="16938" y="79369"/>
                    <a:pt x="16938" y="78109"/>
                  </a:cubicBezTo>
                  <a:lnTo>
                    <a:pt x="15678" y="74330"/>
                  </a:lnTo>
                  <a:lnTo>
                    <a:pt x="15678" y="73070"/>
                  </a:lnTo>
                  <a:lnTo>
                    <a:pt x="15678" y="73070"/>
                  </a:lnTo>
                  <a:cubicBezTo>
                    <a:pt x="15678" y="71810"/>
                    <a:pt x="14418" y="70550"/>
                    <a:pt x="14418" y="68030"/>
                  </a:cubicBezTo>
                  <a:cubicBezTo>
                    <a:pt x="14418" y="65511"/>
                    <a:pt x="13158" y="64251"/>
                    <a:pt x="13158" y="61731"/>
                  </a:cubicBezTo>
                  <a:lnTo>
                    <a:pt x="13158" y="60472"/>
                  </a:lnTo>
                  <a:cubicBezTo>
                    <a:pt x="13158" y="59212"/>
                    <a:pt x="13158" y="57952"/>
                    <a:pt x="11898" y="56692"/>
                  </a:cubicBezTo>
                  <a:cubicBezTo>
                    <a:pt x="10638" y="52913"/>
                    <a:pt x="10638" y="49133"/>
                    <a:pt x="9378" y="45354"/>
                  </a:cubicBezTo>
                  <a:lnTo>
                    <a:pt x="9378" y="42834"/>
                  </a:lnTo>
                  <a:lnTo>
                    <a:pt x="9378" y="42834"/>
                  </a:lnTo>
                  <a:cubicBezTo>
                    <a:pt x="9378" y="41574"/>
                    <a:pt x="9378" y="40314"/>
                    <a:pt x="8119" y="40314"/>
                  </a:cubicBezTo>
                  <a:lnTo>
                    <a:pt x="8119" y="39054"/>
                  </a:lnTo>
                  <a:cubicBezTo>
                    <a:pt x="8119" y="37795"/>
                    <a:pt x="8119" y="36535"/>
                    <a:pt x="6859" y="35275"/>
                  </a:cubicBezTo>
                  <a:lnTo>
                    <a:pt x="6859" y="34015"/>
                  </a:lnTo>
                  <a:lnTo>
                    <a:pt x="6859" y="32755"/>
                  </a:lnTo>
                  <a:lnTo>
                    <a:pt x="6859" y="31496"/>
                  </a:lnTo>
                  <a:lnTo>
                    <a:pt x="6859" y="31496"/>
                  </a:lnTo>
                  <a:lnTo>
                    <a:pt x="6859" y="31496"/>
                  </a:lnTo>
                  <a:cubicBezTo>
                    <a:pt x="6859" y="30236"/>
                    <a:pt x="6859" y="30236"/>
                    <a:pt x="6859" y="28976"/>
                  </a:cubicBezTo>
                  <a:lnTo>
                    <a:pt x="6859" y="27716"/>
                  </a:lnTo>
                  <a:lnTo>
                    <a:pt x="6859" y="27716"/>
                  </a:lnTo>
                  <a:lnTo>
                    <a:pt x="6859" y="27716"/>
                  </a:lnTo>
                  <a:cubicBezTo>
                    <a:pt x="6859" y="26456"/>
                    <a:pt x="6859" y="25196"/>
                    <a:pt x="6859" y="23937"/>
                  </a:cubicBezTo>
                  <a:lnTo>
                    <a:pt x="6859" y="22677"/>
                  </a:lnTo>
                  <a:lnTo>
                    <a:pt x="6859" y="20157"/>
                  </a:lnTo>
                  <a:cubicBezTo>
                    <a:pt x="6859" y="18897"/>
                    <a:pt x="6859" y="17637"/>
                    <a:pt x="6859" y="16378"/>
                  </a:cubicBezTo>
                  <a:lnTo>
                    <a:pt x="6859" y="15118"/>
                  </a:lnTo>
                  <a:lnTo>
                    <a:pt x="6859" y="13858"/>
                  </a:lnTo>
                  <a:cubicBezTo>
                    <a:pt x="6859" y="12598"/>
                    <a:pt x="6859" y="11338"/>
                    <a:pt x="6859" y="11338"/>
                  </a:cubicBezTo>
                  <a:cubicBezTo>
                    <a:pt x="6859" y="10079"/>
                    <a:pt x="6859" y="10079"/>
                    <a:pt x="6859" y="8819"/>
                  </a:cubicBezTo>
                  <a:lnTo>
                    <a:pt x="6859" y="8819"/>
                  </a:lnTo>
                  <a:cubicBezTo>
                    <a:pt x="6859" y="8819"/>
                    <a:pt x="6859" y="7559"/>
                    <a:pt x="6859" y="7559"/>
                  </a:cubicBezTo>
                  <a:cubicBezTo>
                    <a:pt x="6859" y="7559"/>
                    <a:pt x="6859" y="7559"/>
                    <a:pt x="6859" y="7559"/>
                  </a:cubicBezTo>
                  <a:lnTo>
                    <a:pt x="6859" y="7559"/>
                  </a:lnTo>
                  <a:lnTo>
                    <a:pt x="6859" y="7559"/>
                  </a:lnTo>
                  <a:cubicBezTo>
                    <a:pt x="6859" y="7559"/>
                    <a:pt x="6859" y="6299"/>
                    <a:pt x="6859" y="6299"/>
                  </a:cubicBezTo>
                  <a:lnTo>
                    <a:pt x="560" y="0"/>
                  </a:lnTo>
                  <a:cubicBezTo>
                    <a:pt x="-700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/>
            <p:cNvSpPr/>
            <p:nvPr/>
          </p:nvSpPr>
          <p:spPr>
            <a:xfrm>
              <a:off x="9795619" y="4876427"/>
              <a:ext cx="171607" cy="51482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2 w 251964"/>
                <a:gd name="connsiteY2" fmla="*/ 2520 h 75589"/>
                <a:gd name="connsiteX3" fmla="*/ 249013 w 251964"/>
                <a:gd name="connsiteY3" fmla="*/ 5040 h 75589"/>
                <a:gd name="connsiteX4" fmla="*/ 249013 w 251964"/>
                <a:gd name="connsiteY4" fmla="*/ 5040 h 75589"/>
                <a:gd name="connsiteX5" fmla="*/ 249013 w 251964"/>
                <a:gd name="connsiteY5" fmla="*/ 5040 h 75589"/>
                <a:gd name="connsiteX6" fmla="*/ 249013 w 251964"/>
                <a:gd name="connsiteY6" fmla="*/ 5040 h 75589"/>
                <a:gd name="connsiteX7" fmla="*/ 242713 w 251964"/>
                <a:gd name="connsiteY7" fmla="*/ 3780 h 75589"/>
                <a:gd name="connsiteX8" fmla="*/ 235155 w 251964"/>
                <a:gd name="connsiteY8" fmla="*/ 2520 h 75589"/>
                <a:gd name="connsiteX9" fmla="*/ 235155 w 251964"/>
                <a:gd name="connsiteY9" fmla="*/ 2520 h 75589"/>
                <a:gd name="connsiteX10" fmla="*/ 228856 w 251964"/>
                <a:gd name="connsiteY10" fmla="*/ 2520 h 75589"/>
                <a:gd name="connsiteX11" fmla="*/ 228856 w 251964"/>
                <a:gd name="connsiteY11" fmla="*/ 2520 h 75589"/>
                <a:gd name="connsiteX12" fmla="*/ 214998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4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8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24290 w 251964"/>
                <a:gd name="connsiteY40" fmla="*/ 12598 h 75589"/>
                <a:gd name="connsiteX41" fmla="*/ 120511 w 251964"/>
                <a:gd name="connsiteY41" fmla="*/ 13858 h 75589"/>
                <a:gd name="connsiteX42" fmla="*/ 117991 w 251964"/>
                <a:gd name="connsiteY42" fmla="*/ 15118 h 75589"/>
                <a:gd name="connsiteX43" fmla="*/ 116731 w 251964"/>
                <a:gd name="connsiteY43" fmla="*/ 15118 h 75589"/>
                <a:gd name="connsiteX44" fmla="*/ 110432 w 251964"/>
                <a:gd name="connsiteY44" fmla="*/ 16378 h 75589"/>
                <a:gd name="connsiteX45" fmla="*/ 109172 w 251964"/>
                <a:gd name="connsiteY45" fmla="*/ 16378 h 75589"/>
                <a:gd name="connsiteX46" fmla="*/ 97834 w 251964"/>
                <a:gd name="connsiteY46" fmla="*/ 20157 h 75589"/>
                <a:gd name="connsiteX47" fmla="*/ 94054 w 251964"/>
                <a:gd name="connsiteY47" fmla="*/ 21417 h 75589"/>
                <a:gd name="connsiteX48" fmla="*/ 91535 w 251964"/>
                <a:gd name="connsiteY48" fmla="*/ 22677 h 75589"/>
                <a:gd name="connsiteX49" fmla="*/ 83976 w 251964"/>
                <a:gd name="connsiteY49" fmla="*/ 25196 h 75589"/>
                <a:gd name="connsiteX50" fmla="*/ 75157 w 251964"/>
                <a:gd name="connsiteY50" fmla="*/ 27716 h 75589"/>
                <a:gd name="connsiteX51" fmla="*/ 71378 w 251964"/>
                <a:gd name="connsiteY51" fmla="*/ 28976 h 75589"/>
                <a:gd name="connsiteX52" fmla="*/ 58780 w 251964"/>
                <a:gd name="connsiteY52" fmla="*/ 34015 h 75589"/>
                <a:gd name="connsiteX53" fmla="*/ 46181 w 251964"/>
                <a:gd name="connsiteY53" fmla="*/ 39055 h 75589"/>
                <a:gd name="connsiteX54" fmla="*/ 33583 w 251964"/>
                <a:gd name="connsiteY54" fmla="*/ 44094 h 75589"/>
                <a:gd name="connsiteX55" fmla="*/ 32323 w 251964"/>
                <a:gd name="connsiteY55" fmla="*/ 44094 h 75589"/>
                <a:gd name="connsiteX56" fmla="*/ 26024 w 251964"/>
                <a:gd name="connsiteY56" fmla="*/ 46614 h 75589"/>
                <a:gd name="connsiteX57" fmla="*/ 20985 w 251964"/>
                <a:gd name="connsiteY57" fmla="*/ 49133 h 75589"/>
                <a:gd name="connsiteX58" fmla="*/ 17205 w 251964"/>
                <a:gd name="connsiteY58" fmla="*/ 51653 h 75589"/>
                <a:gd name="connsiteX59" fmla="*/ 15945 w 251964"/>
                <a:gd name="connsiteY59" fmla="*/ 52913 h 75589"/>
                <a:gd name="connsiteX60" fmla="*/ 14686 w 251964"/>
                <a:gd name="connsiteY60" fmla="*/ 52913 h 75589"/>
                <a:gd name="connsiteX61" fmla="*/ 9646 w 251964"/>
                <a:gd name="connsiteY61" fmla="*/ 55433 h 75589"/>
                <a:gd name="connsiteX62" fmla="*/ 3347 w 251964"/>
                <a:gd name="connsiteY62" fmla="*/ 60472 h 75589"/>
                <a:gd name="connsiteX63" fmla="*/ 828 w 251964"/>
                <a:gd name="connsiteY63" fmla="*/ 64251 h 75589"/>
                <a:gd name="connsiteX64" fmla="*/ 2087 w 251964"/>
                <a:gd name="connsiteY64" fmla="*/ 71810 h 75589"/>
                <a:gd name="connsiteX65" fmla="*/ 8387 w 251964"/>
                <a:gd name="connsiteY65" fmla="*/ 76849 h 75589"/>
                <a:gd name="connsiteX66" fmla="*/ 14686 w 251964"/>
                <a:gd name="connsiteY66" fmla="*/ 79369 h 75589"/>
                <a:gd name="connsiteX67" fmla="*/ 27284 w 251964"/>
                <a:gd name="connsiteY67" fmla="*/ 80629 h 75589"/>
                <a:gd name="connsiteX68" fmla="*/ 28543 w 251964"/>
                <a:gd name="connsiteY68" fmla="*/ 80629 h 75589"/>
                <a:gd name="connsiteX69" fmla="*/ 33583 w 251964"/>
                <a:gd name="connsiteY69" fmla="*/ 80629 h 75589"/>
                <a:gd name="connsiteX70" fmla="*/ 34843 w 251964"/>
                <a:gd name="connsiteY70" fmla="*/ 80629 h 75589"/>
                <a:gd name="connsiteX71" fmla="*/ 41142 w 251964"/>
                <a:gd name="connsiteY71" fmla="*/ 80629 h 75589"/>
                <a:gd name="connsiteX72" fmla="*/ 41142 w 251964"/>
                <a:gd name="connsiteY72" fmla="*/ 80629 h 75589"/>
                <a:gd name="connsiteX73" fmla="*/ 55000 w 251964"/>
                <a:gd name="connsiteY73" fmla="*/ 80629 h 75589"/>
                <a:gd name="connsiteX74" fmla="*/ 68858 w 251964"/>
                <a:gd name="connsiteY74" fmla="*/ 79369 h 75589"/>
                <a:gd name="connsiteX75" fmla="*/ 68858 w 251964"/>
                <a:gd name="connsiteY75" fmla="*/ 79369 h 75589"/>
                <a:gd name="connsiteX76" fmla="*/ 78936 w 251964"/>
                <a:gd name="connsiteY76" fmla="*/ 78109 h 75589"/>
                <a:gd name="connsiteX77" fmla="*/ 81456 w 251964"/>
                <a:gd name="connsiteY77" fmla="*/ 78109 h 75589"/>
                <a:gd name="connsiteX78" fmla="*/ 100354 w 251964"/>
                <a:gd name="connsiteY78" fmla="*/ 76849 h 75589"/>
                <a:gd name="connsiteX79" fmla="*/ 106653 w 251964"/>
                <a:gd name="connsiteY79" fmla="*/ 76849 h 75589"/>
                <a:gd name="connsiteX80" fmla="*/ 155786 w 251964"/>
                <a:gd name="connsiteY80" fmla="*/ 78109 h 75589"/>
                <a:gd name="connsiteX81" fmla="*/ 162085 w 251964"/>
                <a:gd name="connsiteY81" fmla="*/ 78109 h 75589"/>
                <a:gd name="connsiteX82" fmla="*/ 169644 w 251964"/>
                <a:gd name="connsiteY82" fmla="*/ 78109 h 75589"/>
                <a:gd name="connsiteX83" fmla="*/ 184762 w 251964"/>
                <a:gd name="connsiteY83" fmla="*/ 78109 h 75589"/>
                <a:gd name="connsiteX84" fmla="*/ 198620 w 251964"/>
                <a:gd name="connsiteY84" fmla="*/ 76849 h 75589"/>
                <a:gd name="connsiteX85" fmla="*/ 204919 w 251964"/>
                <a:gd name="connsiteY85" fmla="*/ 75589 h 75589"/>
                <a:gd name="connsiteX86" fmla="*/ 207439 w 251964"/>
                <a:gd name="connsiteY86" fmla="*/ 75589 h 75589"/>
                <a:gd name="connsiteX87" fmla="*/ 211218 w 251964"/>
                <a:gd name="connsiteY87" fmla="*/ 74330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2478 w 251964"/>
                <a:gd name="connsiteY90" fmla="*/ 75589 h 75589"/>
                <a:gd name="connsiteX91" fmla="*/ 212478 w 251964"/>
                <a:gd name="connsiteY91" fmla="*/ 75589 h 75589"/>
                <a:gd name="connsiteX92" fmla="*/ 217517 w 251964"/>
                <a:gd name="connsiteY92" fmla="*/ 79369 h 75589"/>
                <a:gd name="connsiteX93" fmla="*/ 222557 w 251964"/>
                <a:gd name="connsiteY93" fmla="*/ 81889 h 75589"/>
                <a:gd name="connsiteX94" fmla="*/ 226336 w 251964"/>
                <a:gd name="connsiteY94" fmla="*/ 83148 h 75589"/>
                <a:gd name="connsiteX95" fmla="*/ 227596 w 251964"/>
                <a:gd name="connsiteY95" fmla="*/ 83148 h 75589"/>
                <a:gd name="connsiteX96" fmla="*/ 241454 w 251964"/>
                <a:gd name="connsiteY96" fmla="*/ 81889 h 75589"/>
                <a:gd name="connsiteX97" fmla="*/ 242713 w 251964"/>
                <a:gd name="connsiteY97" fmla="*/ 81889 h 75589"/>
                <a:gd name="connsiteX98" fmla="*/ 247753 w 251964"/>
                <a:gd name="connsiteY98" fmla="*/ 80629 h 75589"/>
                <a:gd name="connsiteX99" fmla="*/ 254052 w 251964"/>
                <a:gd name="connsiteY99" fmla="*/ 76849 h 75589"/>
                <a:gd name="connsiteX100" fmla="*/ 255312 w 251964"/>
                <a:gd name="connsiteY100" fmla="*/ 74330 h 75589"/>
                <a:gd name="connsiteX101" fmla="*/ 257831 w 251964"/>
                <a:gd name="connsiteY101" fmla="*/ 70550 h 75589"/>
                <a:gd name="connsiteX102" fmla="*/ 257831 w 251964"/>
                <a:gd name="connsiteY102" fmla="*/ 60472 h 75589"/>
                <a:gd name="connsiteX103" fmla="*/ 257831 w 251964"/>
                <a:gd name="connsiteY103" fmla="*/ 55433 h 75589"/>
                <a:gd name="connsiteX104" fmla="*/ 257831 w 251964"/>
                <a:gd name="connsiteY104" fmla="*/ 52913 h 75589"/>
                <a:gd name="connsiteX105" fmla="*/ 257831 w 251964"/>
                <a:gd name="connsiteY105" fmla="*/ 42834 h 75589"/>
                <a:gd name="connsiteX106" fmla="*/ 257831 w 251964"/>
                <a:gd name="connsiteY106" fmla="*/ 40315 h 75589"/>
                <a:gd name="connsiteX107" fmla="*/ 257831 w 251964"/>
                <a:gd name="connsiteY107" fmla="*/ 36535 h 75589"/>
                <a:gd name="connsiteX108" fmla="*/ 257831 w 251964"/>
                <a:gd name="connsiteY108" fmla="*/ 27716 h 75589"/>
                <a:gd name="connsiteX109" fmla="*/ 257831 w 251964"/>
                <a:gd name="connsiteY109" fmla="*/ 21417 h 75589"/>
                <a:gd name="connsiteX110" fmla="*/ 257831 w 251964"/>
                <a:gd name="connsiteY110" fmla="*/ 15118 h 75589"/>
                <a:gd name="connsiteX111" fmla="*/ 256572 w 251964"/>
                <a:gd name="connsiteY111" fmla="*/ 11339 h 75589"/>
                <a:gd name="connsiteX112" fmla="*/ 255312 w 251964"/>
                <a:gd name="connsiteY112" fmla="*/ 8819 h 75589"/>
                <a:gd name="connsiteX113" fmla="*/ 255312 w 251964"/>
                <a:gd name="connsiteY113" fmla="*/ 5040 h 75589"/>
                <a:gd name="connsiteX114" fmla="*/ 252792 w 251964"/>
                <a:gd name="connsiteY114" fmla="*/ 1260 h 75589"/>
                <a:gd name="connsiteX115" fmla="*/ 8387 w 251964"/>
                <a:gd name="connsiteY115" fmla="*/ 64251 h 75589"/>
                <a:gd name="connsiteX116" fmla="*/ 12166 w 251964"/>
                <a:gd name="connsiteY116" fmla="*/ 61732 h 75589"/>
                <a:gd name="connsiteX117" fmla="*/ 15945 w 251964"/>
                <a:gd name="connsiteY117" fmla="*/ 59212 h 75589"/>
                <a:gd name="connsiteX118" fmla="*/ 17205 w 251964"/>
                <a:gd name="connsiteY118" fmla="*/ 59212 h 75589"/>
                <a:gd name="connsiteX119" fmla="*/ 20985 w 251964"/>
                <a:gd name="connsiteY119" fmla="*/ 57952 h 75589"/>
                <a:gd name="connsiteX120" fmla="*/ 22244 w 251964"/>
                <a:gd name="connsiteY120" fmla="*/ 56692 h 75589"/>
                <a:gd name="connsiteX121" fmla="*/ 28543 w 251964"/>
                <a:gd name="connsiteY121" fmla="*/ 54173 h 75589"/>
                <a:gd name="connsiteX122" fmla="*/ 34843 w 251964"/>
                <a:gd name="connsiteY122" fmla="*/ 51653 h 75589"/>
                <a:gd name="connsiteX123" fmla="*/ 26024 w 251964"/>
                <a:gd name="connsiteY123" fmla="*/ 56692 h 75589"/>
                <a:gd name="connsiteX124" fmla="*/ 26024 w 251964"/>
                <a:gd name="connsiteY124" fmla="*/ 56692 h 75589"/>
                <a:gd name="connsiteX125" fmla="*/ 15945 w 251964"/>
                <a:gd name="connsiteY125" fmla="*/ 62991 h 75589"/>
                <a:gd name="connsiteX126" fmla="*/ 12166 w 251964"/>
                <a:gd name="connsiteY126" fmla="*/ 64251 h 75589"/>
                <a:gd name="connsiteX127" fmla="*/ 8387 w 251964"/>
                <a:gd name="connsiteY127" fmla="*/ 6425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2" y="2520"/>
                  </a:cubicBezTo>
                  <a:cubicBezTo>
                    <a:pt x="250272" y="2520"/>
                    <a:pt x="249013" y="3780"/>
                    <a:pt x="249013" y="5040"/>
                  </a:cubicBezTo>
                  <a:lnTo>
                    <a:pt x="249013" y="5040"/>
                  </a:lnTo>
                  <a:lnTo>
                    <a:pt x="249013" y="5040"/>
                  </a:lnTo>
                  <a:lnTo>
                    <a:pt x="249013" y="5040"/>
                  </a:lnTo>
                  <a:cubicBezTo>
                    <a:pt x="247753" y="5040"/>
                    <a:pt x="245233" y="3780"/>
                    <a:pt x="242713" y="3780"/>
                  </a:cubicBezTo>
                  <a:cubicBezTo>
                    <a:pt x="240194" y="3780"/>
                    <a:pt x="237674" y="2520"/>
                    <a:pt x="235155" y="2520"/>
                  </a:cubicBezTo>
                  <a:lnTo>
                    <a:pt x="235155" y="2520"/>
                  </a:lnTo>
                  <a:cubicBezTo>
                    <a:pt x="232635" y="2520"/>
                    <a:pt x="231375" y="2520"/>
                    <a:pt x="228856" y="2520"/>
                  </a:cubicBezTo>
                  <a:lnTo>
                    <a:pt x="228856" y="2520"/>
                  </a:lnTo>
                  <a:cubicBezTo>
                    <a:pt x="223816" y="2520"/>
                    <a:pt x="220037" y="1260"/>
                    <a:pt x="214998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4" y="0"/>
                  </a:lnTo>
                  <a:cubicBezTo>
                    <a:pt x="170904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5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6" y="1260"/>
                    <a:pt x="148227" y="2520"/>
                    <a:pt x="146967" y="3780"/>
                  </a:cubicBezTo>
                  <a:cubicBezTo>
                    <a:pt x="143187" y="5040"/>
                    <a:pt x="139408" y="6299"/>
                    <a:pt x="135628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9"/>
                    <a:pt x="126810" y="12598"/>
                    <a:pt x="124290" y="12598"/>
                  </a:cubicBezTo>
                  <a:cubicBezTo>
                    <a:pt x="123030" y="12598"/>
                    <a:pt x="121771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2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8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4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5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8" y="28976"/>
                  </a:cubicBezTo>
                  <a:cubicBezTo>
                    <a:pt x="67598" y="30236"/>
                    <a:pt x="62559" y="31496"/>
                    <a:pt x="58780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3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6" y="52913"/>
                  </a:lnTo>
                  <a:cubicBezTo>
                    <a:pt x="13426" y="54173"/>
                    <a:pt x="10906" y="54173"/>
                    <a:pt x="9646" y="55433"/>
                  </a:cubicBezTo>
                  <a:cubicBezTo>
                    <a:pt x="7127" y="56692"/>
                    <a:pt x="5867" y="57952"/>
                    <a:pt x="3347" y="60472"/>
                  </a:cubicBezTo>
                  <a:cubicBezTo>
                    <a:pt x="2087" y="61732"/>
                    <a:pt x="828" y="62991"/>
                    <a:pt x="828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7" y="76849"/>
                  </a:cubicBezTo>
                  <a:cubicBezTo>
                    <a:pt x="10906" y="78109"/>
                    <a:pt x="12166" y="79369"/>
                    <a:pt x="14686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3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9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4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5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39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8" y="78109"/>
                    <a:pt x="217517" y="79369"/>
                  </a:cubicBezTo>
                  <a:cubicBezTo>
                    <a:pt x="218777" y="80629"/>
                    <a:pt x="220037" y="81889"/>
                    <a:pt x="222557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6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3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2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1" y="71810"/>
                    <a:pt x="257831" y="70550"/>
                  </a:cubicBezTo>
                  <a:cubicBezTo>
                    <a:pt x="257831" y="66771"/>
                    <a:pt x="257831" y="62991"/>
                    <a:pt x="257831" y="60472"/>
                  </a:cubicBezTo>
                  <a:cubicBezTo>
                    <a:pt x="257831" y="59212"/>
                    <a:pt x="257831" y="56692"/>
                    <a:pt x="257831" y="55433"/>
                  </a:cubicBezTo>
                  <a:cubicBezTo>
                    <a:pt x="257831" y="54173"/>
                    <a:pt x="257831" y="54173"/>
                    <a:pt x="257831" y="52913"/>
                  </a:cubicBezTo>
                  <a:cubicBezTo>
                    <a:pt x="257831" y="49133"/>
                    <a:pt x="257831" y="46614"/>
                    <a:pt x="257831" y="42834"/>
                  </a:cubicBezTo>
                  <a:lnTo>
                    <a:pt x="257831" y="40315"/>
                  </a:lnTo>
                  <a:lnTo>
                    <a:pt x="257831" y="36535"/>
                  </a:lnTo>
                  <a:cubicBezTo>
                    <a:pt x="257831" y="34015"/>
                    <a:pt x="257831" y="31496"/>
                    <a:pt x="257831" y="27716"/>
                  </a:cubicBezTo>
                  <a:cubicBezTo>
                    <a:pt x="257831" y="25196"/>
                    <a:pt x="257831" y="23937"/>
                    <a:pt x="257831" y="21417"/>
                  </a:cubicBezTo>
                  <a:cubicBezTo>
                    <a:pt x="257831" y="18897"/>
                    <a:pt x="257831" y="17638"/>
                    <a:pt x="257831" y="15118"/>
                  </a:cubicBezTo>
                  <a:cubicBezTo>
                    <a:pt x="257831" y="13858"/>
                    <a:pt x="257831" y="12598"/>
                    <a:pt x="256572" y="11339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40"/>
                  </a:cubicBezTo>
                  <a:cubicBezTo>
                    <a:pt x="255312" y="2520"/>
                    <a:pt x="254052" y="1260"/>
                    <a:pt x="252792" y="1260"/>
                  </a:cubicBezTo>
                  <a:moveTo>
                    <a:pt x="8387" y="64251"/>
                  </a:moveTo>
                  <a:cubicBezTo>
                    <a:pt x="9646" y="62991"/>
                    <a:pt x="10906" y="62991"/>
                    <a:pt x="12166" y="61732"/>
                  </a:cubicBezTo>
                  <a:cubicBezTo>
                    <a:pt x="13426" y="60472"/>
                    <a:pt x="14686" y="60472"/>
                    <a:pt x="15945" y="59212"/>
                  </a:cubicBezTo>
                  <a:lnTo>
                    <a:pt x="17205" y="59212"/>
                  </a:lnTo>
                  <a:cubicBezTo>
                    <a:pt x="18465" y="57952"/>
                    <a:pt x="19725" y="57952"/>
                    <a:pt x="20985" y="57952"/>
                  </a:cubicBezTo>
                  <a:lnTo>
                    <a:pt x="22244" y="56692"/>
                  </a:lnTo>
                  <a:cubicBezTo>
                    <a:pt x="23504" y="55433"/>
                    <a:pt x="26024" y="55433"/>
                    <a:pt x="28543" y="54173"/>
                  </a:cubicBezTo>
                  <a:cubicBezTo>
                    <a:pt x="31063" y="52913"/>
                    <a:pt x="33583" y="52913"/>
                    <a:pt x="34843" y="51653"/>
                  </a:cubicBezTo>
                  <a:cubicBezTo>
                    <a:pt x="32323" y="52913"/>
                    <a:pt x="28543" y="55433"/>
                    <a:pt x="26024" y="56692"/>
                  </a:cubicBezTo>
                  <a:lnTo>
                    <a:pt x="26024" y="56692"/>
                  </a:lnTo>
                  <a:cubicBezTo>
                    <a:pt x="22244" y="59212"/>
                    <a:pt x="19725" y="60472"/>
                    <a:pt x="15945" y="62991"/>
                  </a:cubicBezTo>
                  <a:cubicBezTo>
                    <a:pt x="14686" y="62991"/>
                    <a:pt x="13426" y="64251"/>
                    <a:pt x="12166" y="64251"/>
                  </a:cubicBezTo>
                  <a:cubicBezTo>
                    <a:pt x="10906" y="64251"/>
                    <a:pt x="9646" y="64251"/>
                    <a:pt x="8387" y="6425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/>
            <p:cNvSpPr/>
            <p:nvPr/>
          </p:nvSpPr>
          <p:spPr>
            <a:xfrm>
              <a:off x="9791893" y="4903026"/>
              <a:ext cx="42902" cy="25741"/>
            </a:xfrm>
            <a:custGeom>
              <a:avLst/>
              <a:gdLst>
                <a:gd name="connsiteX0" fmla="*/ 73070 w 62991"/>
                <a:gd name="connsiteY0" fmla="*/ 2520 h 37794"/>
                <a:gd name="connsiteX1" fmla="*/ 74329 w 62991"/>
                <a:gd name="connsiteY1" fmla="*/ 6299 h 37794"/>
                <a:gd name="connsiteX2" fmla="*/ 71810 w 62991"/>
                <a:gd name="connsiteY2" fmla="*/ 11338 h 37794"/>
                <a:gd name="connsiteX3" fmla="*/ 66770 w 62991"/>
                <a:gd name="connsiteY3" fmla="*/ 13858 h 37794"/>
                <a:gd name="connsiteX4" fmla="*/ 64251 w 62991"/>
                <a:gd name="connsiteY4" fmla="*/ 15118 h 37794"/>
                <a:gd name="connsiteX5" fmla="*/ 57952 w 62991"/>
                <a:gd name="connsiteY5" fmla="*/ 17637 h 37794"/>
                <a:gd name="connsiteX6" fmla="*/ 45354 w 62991"/>
                <a:gd name="connsiteY6" fmla="*/ 22677 h 37794"/>
                <a:gd name="connsiteX7" fmla="*/ 13858 w 62991"/>
                <a:gd name="connsiteY7" fmla="*/ 36535 h 37794"/>
                <a:gd name="connsiteX8" fmla="*/ 11338 w 62991"/>
                <a:gd name="connsiteY8" fmla="*/ 37795 h 37794"/>
                <a:gd name="connsiteX9" fmla="*/ 6299 w 62991"/>
                <a:gd name="connsiteY9" fmla="*/ 37795 h 37794"/>
                <a:gd name="connsiteX10" fmla="*/ 1260 w 62991"/>
                <a:gd name="connsiteY10" fmla="*/ 34015 h 37794"/>
                <a:gd name="connsiteX11" fmla="*/ 0 w 62991"/>
                <a:gd name="connsiteY11" fmla="*/ 27716 h 37794"/>
                <a:gd name="connsiteX12" fmla="*/ 3779 w 62991"/>
                <a:gd name="connsiteY12" fmla="*/ 22677 h 37794"/>
                <a:gd name="connsiteX13" fmla="*/ 35275 w 62991"/>
                <a:gd name="connsiteY13" fmla="*/ 10079 h 37794"/>
                <a:gd name="connsiteX14" fmla="*/ 62991 w 62991"/>
                <a:gd name="connsiteY14" fmla="*/ 0 h 37794"/>
                <a:gd name="connsiteX15" fmla="*/ 65511 w 62991"/>
                <a:gd name="connsiteY15" fmla="*/ 0 h 37794"/>
                <a:gd name="connsiteX16" fmla="*/ 73070 w 62991"/>
                <a:gd name="connsiteY16" fmla="*/ 2520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520"/>
                  </a:moveTo>
                  <a:cubicBezTo>
                    <a:pt x="73070" y="3780"/>
                    <a:pt x="74329" y="5039"/>
                    <a:pt x="74329" y="6299"/>
                  </a:cubicBezTo>
                  <a:cubicBezTo>
                    <a:pt x="74329" y="7559"/>
                    <a:pt x="73070" y="10079"/>
                    <a:pt x="71810" y="11338"/>
                  </a:cubicBezTo>
                  <a:cubicBezTo>
                    <a:pt x="70550" y="12598"/>
                    <a:pt x="69290" y="13858"/>
                    <a:pt x="66770" y="13858"/>
                  </a:cubicBezTo>
                  <a:cubicBezTo>
                    <a:pt x="65511" y="13858"/>
                    <a:pt x="64251" y="15118"/>
                    <a:pt x="64251" y="15118"/>
                  </a:cubicBezTo>
                  <a:cubicBezTo>
                    <a:pt x="61731" y="16378"/>
                    <a:pt x="60471" y="17637"/>
                    <a:pt x="57952" y="17637"/>
                  </a:cubicBezTo>
                  <a:cubicBezTo>
                    <a:pt x="54172" y="20157"/>
                    <a:pt x="50393" y="21417"/>
                    <a:pt x="45354" y="22677"/>
                  </a:cubicBezTo>
                  <a:cubicBezTo>
                    <a:pt x="35275" y="27716"/>
                    <a:pt x="23937" y="31496"/>
                    <a:pt x="13858" y="36535"/>
                  </a:cubicBezTo>
                  <a:cubicBezTo>
                    <a:pt x="12598" y="36535"/>
                    <a:pt x="12598" y="36535"/>
                    <a:pt x="11338" y="37795"/>
                  </a:cubicBezTo>
                  <a:cubicBezTo>
                    <a:pt x="10078" y="37795"/>
                    <a:pt x="8819" y="37795"/>
                    <a:pt x="6299" y="37795"/>
                  </a:cubicBezTo>
                  <a:cubicBezTo>
                    <a:pt x="3779" y="37795"/>
                    <a:pt x="2519" y="35275"/>
                    <a:pt x="1260" y="34015"/>
                  </a:cubicBezTo>
                  <a:cubicBezTo>
                    <a:pt x="0" y="31496"/>
                    <a:pt x="0" y="30236"/>
                    <a:pt x="0" y="27716"/>
                  </a:cubicBezTo>
                  <a:cubicBezTo>
                    <a:pt x="0" y="26456"/>
                    <a:pt x="2519" y="23937"/>
                    <a:pt x="3779" y="22677"/>
                  </a:cubicBezTo>
                  <a:cubicBezTo>
                    <a:pt x="13858" y="18897"/>
                    <a:pt x="25196" y="13858"/>
                    <a:pt x="35275" y="10079"/>
                  </a:cubicBezTo>
                  <a:cubicBezTo>
                    <a:pt x="44094" y="6299"/>
                    <a:pt x="52912" y="2520"/>
                    <a:pt x="62991" y="0"/>
                  </a:cubicBezTo>
                  <a:cubicBezTo>
                    <a:pt x="64251" y="0"/>
                    <a:pt x="64251" y="0"/>
                    <a:pt x="65511" y="0"/>
                  </a:cubicBezTo>
                  <a:cubicBezTo>
                    <a:pt x="69290" y="0"/>
                    <a:pt x="71810" y="1260"/>
                    <a:pt x="73070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/>
            <p:cNvSpPr/>
            <p:nvPr/>
          </p:nvSpPr>
          <p:spPr>
            <a:xfrm>
              <a:off x="9783312" y="4894064"/>
              <a:ext cx="154446" cy="34321"/>
            </a:xfrm>
            <a:custGeom>
              <a:avLst/>
              <a:gdLst>
                <a:gd name="connsiteX0" fmla="*/ 99526 w 226768"/>
                <a:gd name="connsiteY0" fmla="*/ 560 h 50392"/>
                <a:gd name="connsiteX1" fmla="*/ 99526 w 226768"/>
                <a:gd name="connsiteY1" fmla="*/ 560 h 50392"/>
                <a:gd name="connsiteX2" fmla="*/ 95747 w 226768"/>
                <a:gd name="connsiteY2" fmla="*/ 560 h 50392"/>
                <a:gd name="connsiteX3" fmla="*/ 68030 w 226768"/>
                <a:gd name="connsiteY3" fmla="*/ 10639 h 50392"/>
                <a:gd name="connsiteX4" fmla="*/ 56692 w 226768"/>
                <a:gd name="connsiteY4" fmla="*/ 15678 h 50392"/>
                <a:gd name="connsiteX5" fmla="*/ 46613 w 226768"/>
                <a:gd name="connsiteY5" fmla="*/ 19457 h 50392"/>
                <a:gd name="connsiteX6" fmla="*/ 23937 w 226768"/>
                <a:gd name="connsiteY6" fmla="*/ 29536 h 50392"/>
                <a:gd name="connsiteX7" fmla="*/ 12598 w 226768"/>
                <a:gd name="connsiteY7" fmla="*/ 35835 h 50392"/>
                <a:gd name="connsiteX8" fmla="*/ 7559 w 226768"/>
                <a:gd name="connsiteY8" fmla="*/ 39615 h 50392"/>
                <a:gd name="connsiteX9" fmla="*/ 2519 w 226768"/>
                <a:gd name="connsiteY9" fmla="*/ 43394 h 50392"/>
                <a:gd name="connsiteX10" fmla="*/ 0 w 226768"/>
                <a:gd name="connsiteY10" fmla="*/ 47174 h 50392"/>
                <a:gd name="connsiteX11" fmla="*/ 0 w 226768"/>
                <a:gd name="connsiteY11" fmla="*/ 49693 h 50392"/>
                <a:gd name="connsiteX12" fmla="*/ 0 w 226768"/>
                <a:gd name="connsiteY12" fmla="*/ 50953 h 50392"/>
                <a:gd name="connsiteX13" fmla="*/ 5039 w 226768"/>
                <a:gd name="connsiteY13" fmla="*/ 54733 h 50392"/>
                <a:gd name="connsiteX14" fmla="*/ 11338 w 226768"/>
                <a:gd name="connsiteY14" fmla="*/ 55992 h 50392"/>
                <a:gd name="connsiteX15" fmla="*/ 23937 w 226768"/>
                <a:gd name="connsiteY15" fmla="*/ 55992 h 50392"/>
                <a:gd name="connsiteX16" fmla="*/ 22677 w 226768"/>
                <a:gd name="connsiteY16" fmla="*/ 55992 h 50392"/>
                <a:gd name="connsiteX17" fmla="*/ 31496 w 226768"/>
                <a:gd name="connsiteY17" fmla="*/ 55992 h 50392"/>
                <a:gd name="connsiteX18" fmla="*/ 41574 w 226768"/>
                <a:gd name="connsiteY18" fmla="*/ 55992 h 50392"/>
                <a:gd name="connsiteX19" fmla="*/ 57952 w 226768"/>
                <a:gd name="connsiteY19" fmla="*/ 55992 h 50392"/>
                <a:gd name="connsiteX20" fmla="*/ 75589 w 226768"/>
                <a:gd name="connsiteY20" fmla="*/ 55992 h 50392"/>
                <a:gd name="connsiteX21" fmla="*/ 74329 w 226768"/>
                <a:gd name="connsiteY21" fmla="*/ 55992 h 50392"/>
                <a:gd name="connsiteX22" fmla="*/ 84408 w 226768"/>
                <a:gd name="connsiteY22" fmla="*/ 55992 h 50392"/>
                <a:gd name="connsiteX23" fmla="*/ 94487 w 226768"/>
                <a:gd name="connsiteY23" fmla="*/ 55992 h 50392"/>
                <a:gd name="connsiteX24" fmla="*/ 105825 w 226768"/>
                <a:gd name="connsiteY24" fmla="*/ 55992 h 50392"/>
                <a:gd name="connsiteX25" fmla="*/ 104565 w 226768"/>
                <a:gd name="connsiteY25" fmla="*/ 55992 h 50392"/>
                <a:gd name="connsiteX26" fmla="*/ 114644 w 226768"/>
                <a:gd name="connsiteY26" fmla="*/ 55992 h 50392"/>
                <a:gd name="connsiteX27" fmla="*/ 124722 w 226768"/>
                <a:gd name="connsiteY27" fmla="*/ 55992 h 50392"/>
                <a:gd name="connsiteX28" fmla="*/ 134801 w 226768"/>
                <a:gd name="connsiteY28" fmla="*/ 54733 h 50392"/>
                <a:gd name="connsiteX29" fmla="*/ 144880 w 226768"/>
                <a:gd name="connsiteY29" fmla="*/ 54733 h 50392"/>
                <a:gd name="connsiteX30" fmla="*/ 156218 w 226768"/>
                <a:gd name="connsiteY30" fmla="*/ 54733 h 50392"/>
                <a:gd name="connsiteX31" fmla="*/ 162517 w 226768"/>
                <a:gd name="connsiteY31" fmla="*/ 54733 h 50392"/>
                <a:gd name="connsiteX32" fmla="*/ 167556 w 226768"/>
                <a:gd name="connsiteY32" fmla="*/ 54733 h 50392"/>
                <a:gd name="connsiteX33" fmla="*/ 190233 w 226768"/>
                <a:gd name="connsiteY33" fmla="*/ 55992 h 50392"/>
                <a:gd name="connsiteX34" fmla="*/ 201572 w 226768"/>
                <a:gd name="connsiteY34" fmla="*/ 55992 h 50392"/>
                <a:gd name="connsiteX35" fmla="*/ 214170 w 226768"/>
                <a:gd name="connsiteY35" fmla="*/ 54733 h 50392"/>
                <a:gd name="connsiteX36" fmla="*/ 219209 w 226768"/>
                <a:gd name="connsiteY36" fmla="*/ 54733 h 50392"/>
                <a:gd name="connsiteX37" fmla="*/ 221729 w 226768"/>
                <a:gd name="connsiteY37" fmla="*/ 54733 h 50392"/>
                <a:gd name="connsiteX38" fmla="*/ 225508 w 226768"/>
                <a:gd name="connsiteY38" fmla="*/ 53473 h 50392"/>
                <a:gd name="connsiteX39" fmla="*/ 228028 w 226768"/>
                <a:gd name="connsiteY39" fmla="*/ 52213 h 50392"/>
                <a:gd name="connsiteX40" fmla="*/ 230548 w 226768"/>
                <a:gd name="connsiteY40" fmla="*/ 49693 h 50392"/>
                <a:gd name="connsiteX41" fmla="*/ 233067 w 226768"/>
                <a:gd name="connsiteY41" fmla="*/ 47174 h 50392"/>
                <a:gd name="connsiteX42" fmla="*/ 236847 w 226768"/>
                <a:gd name="connsiteY42" fmla="*/ 42134 h 50392"/>
                <a:gd name="connsiteX43" fmla="*/ 238107 w 226768"/>
                <a:gd name="connsiteY43" fmla="*/ 39615 h 50392"/>
                <a:gd name="connsiteX44" fmla="*/ 236847 w 226768"/>
                <a:gd name="connsiteY44" fmla="*/ 37095 h 50392"/>
                <a:gd name="connsiteX45" fmla="*/ 234327 w 226768"/>
                <a:gd name="connsiteY45" fmla="*/ 35835 h 50392"/>
                <a:gd name="connsiteX46" fmla="*/ 231807 w 226768"/>
                <a:gd name="connsiteY46" fmla="*/ 37095 h 50392"/>
                <a:gd name="connsiteX47" fmla="*/ 228028 w 226768"/>
                <a:gd name="connsiteY47" fmla="*/ 42134 h 50392"/>
                <a:gd name="connsiteX48" fmla="*/ 226768 w 226768"/>
                <a:gd name="connsiteY48" fmla="*/ 44654 h 50392"/>
                <a:gd name="connsiteX49" fmla="*/ 225508 w 226768"/>
                <a:gd name="connsiteY49" fmla="*/ 47174 h 50392"/>
                <a:gd name="connsiteX50" fmla="*/ 224248 w 226768"/>
                <a:gd name="connsiteY50" fmla="*/ 47174 h 50392"/>
                <a:gd name="connsiteX51" fmla="*/ 222988 w 226768"/>
                <a:gd name="connsiteY51" fmla="*/ 47174 h 50392"/>
                <a:gd name="connsiteX52" fmla="*/ 214170 w 226768"/>
                <a:gd name="connsiteY52" fmla="*/ 48433 h 50392"/>
                <a:gd name="connsiteX53" fmla="*/ 204091 w 226768"/>
                <a:gd name="connsiteY53" fmla="*/ 48433 h 50392"/>
                <a:gd name="connsiteX54" fmla="*/ 183934 w 226768"/>
                <a:gd name="connsiteY54" fmla="*/ 48433 h 50392"/>
                <a:gd name="connsiteX55" fmla="*/ 168816 w 226768"/>
                <a:gd name="connsiteY55" fmla="*/ 48433 h 50392"/>
                <a:gd name="connsiteX56" fmla="*/ 152439 w 226768"/>
                <a:gd name="connsiteY56" fmla="*/ 48433 h 50392"/>
                <a:gd name="connsiteX57" fmla="*/ 153698 w 226768"/>
                <a:gd name="connsiteY57" fmla="*/ 48433 h 50392"/>
                <a:gd name="connsiteX58" fmla="*/ 151179 w 226768"/>
                <a:gd name="connsiteY58" fmla="*/ 48433 h 50392"/>
                <a:gd name="connsiteX59" fmla="*/ 138581 w 226768"/>
                <a:gd name="connsiteY59" fmla="*/ 48433 h 50392"/>
                <a:gd name="connsiteX60" fmla="*/ 125982 w 226768"/>
                <a:gd name="connsiteY60" fmla="*/ 49693 h 50392"/>
                <a:gd name="connsiteX61" fmla="*/ 113384 w 226768"/>
                <a:gd name="connsiteY61" fmla="*/ 49693 h 50392"/>
                <a:gd name="connsiteX62" fmla="*/ 102046 w 226768"/>
                <a:gd name="connsiteY62" fmla="*/ 49693 h 50392"/>
                <a:gd name="connsiteX63" fmla="*/ 91967 w 226768"/>
                <a:gd name="connsiteY63" fmla="*/ 49693 h 50392"/>
                <a:gd name="connsiteX64" fmla="*/ 80629 w 226768"/>
                <a:gd name="connsiteY64" fmla="*/ 49693 h 50392"/>
                <a:gd name="connsiteX65" fmla="*/ 81889 w 226768"/>
                <a:gd name="connsiteY65" fmla="*/ 49693 h 50392"/>
                <a:gd name="connsiteX66" fmla="*/ 66770 w 226768"/>
                <a:gd name="connsiteY66" fmla="*/ 49693 h 50392"/>
                <a:gd name="connsiteX67" fmla="*/ 59211 w 226768"/>
                <a:gd name="connsiteY67" fmla="*/ 49693 h 50392"/>
                <a:gd name="connsiteX68" fmla="*/ 52912 w 226768"/>
                <a:gd name="connsiteY68" fmla="*/ 49693 h 50392"/>
                <a:gd name="connsiteX69" fmla="*/ 41574 w 226768"/>
                <a:gd name="connsiteY69" fmla="*/ 49693 h 50392"/>
                <a:gd name="connsiteX70" fmla="*/ 35275 w 226768"/>
                <a:gd name="connsiteY70" fmla="*/ 49693 h 50392"/>
                <a:gd name="connsiteX71" fmla="*/ 30236 w 226768"/>
                <a:gd name="connsiteY71" fmla="*/ 49693 h 50392"/>
                <a:gd name="connsiteX72" fmla="*/ 25196 w 226768"/>
                <a:gd name="connsiteY72" fmla="*/ 49693 h 50392"/>
                <a:gd name="connsiteX73" fmla="*/ 18897 w 226768"/>
                <a:gd name="connsiteY73" fmla="*/ 49693 h 50392"/>
                <a:gd name="connsiteX74" fmla="*/ 16378 w 226768"/>
                <a:gd name="connsiteY74" fmla="*/ 49693 h 50392"/>
                <a:gd name="connsiteX75" fmla="*/ 18897 w 226768"/>
                <a:gd name="connsiteY75" fmla="*/ 48433 h 50392"/>
                <a:gd name="connsiteX76" fmla="*/ 26456 w 226768"/>
                <a:gd name="connsiteY76" fmla="*/ 43394 h 50392"/>
                <a:gd name="connsiteX77" fmla="*/ 35275 w 226768"/>
                <a:gd name="connsiteY77" fmla="*/ 39615 h 50392"/>
                <a:gd name="connsiteX78" fmla="*/ 54172 w 226768"/>
                <a:gd name="connsiteY78" fmla="*/ 32056 h 50392"/>
                <a:gd name="connsiteX79" fmla="*/ 78109 w 226768"/>
                <a:gd name="connsiteY79" fmla="*/ 23237 h 50392"/>
                <a:gd name="connsiteX80" fmla="*/ 100786 w 226768"/>
                <a:gd name="connsiteY80" fmla="*/ 13158 h 50392"/>
                <a:gd name="connsiteX81" fmla="*/ 103305 w 226768"/>
                <a:gd name="connsiteY81" fmla="*/ 8119 h 50392"/>
                <a:gd name="connsiteX82" fmla="*/ 99526 w 226768"/>
                <a:gd name="connsiteY82" fmla="*/ 560 h 50392"/>
                <a:gd name="connsiteX83" fmla="*/ 17637 w 226768"/>
                <a:gd name="connsiteY83" fmla="*/ 43394 h 50392"/>
                <a:gd name="connsiteX84" fmla="*/ 17637 w 226768"/>
                <a:gd name="connsiteY84" fmla="*/ 43394 h 50392"/>
                <a:gd name="connsiteX85" fmla="*/ 17637 w 226768"/>
                <a:gd name="connsiteY85" fmla="*/ 43394 h 50392"/>
                <a:gd name="connsiteX86" fmla="*/ 7559 w 226768"/>
                <a:gd name="connsiteY86" fmla="*/ 44654 h 50392"/>
                <a:gd name="connsiteX87" fmla="*/ 7559 w 226768"/>
                <a:gd name="connsiteY87" fmla="*/ 44654 h 50392"/>
                <a:gd name="connsiteX88" fmla="*/ 7559 w 226768"/>
                <a:gd name="connsiteY88" fmla="*/ 44654 h 50392"/>
                <a:gd name="connsiteX89" fmla="*/ 85668 w 226768"/>
                <a:gd name="connsiteY89" fmla="*/ 53473 h 50392"/>
                <a:gd name="connsiteX90" fmla="*/ 85668 w 226768"/>
                <a:gd name="connsiteY90" fmla="*/ 53473 h 50392"/>
                <a:gd name="connsiteX91" fmla="*/ 85668 w 226768"/>
                <a:gd name="connsiteY91" fmla="*/ 53473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560"/>
                  </a:moveTo>
                  <a:cubicBezTo>
                    <a:pt x="99526" y="560"/>
                    <a:pt x="98266" y="-700"/>
                    <a:pt x="99526" y="560"/>
                  </a:cubicBezTo>
                  <a:cubicBezTo>
                    <a:pt x="98266" y="560"/>
                    <a:pt x="97006" y="560"/>
                    <a:pt x="95747" y="560"/>
                  </a:cubicBezTo>
                  <a:cubicBezTo>
                    <a:pt x="86928" y="3080"/>
                    <a:pt x="78109" y="6859"/>
                    <a:pt x="68030" y="10639"/>
                  </a:cubicBezTo>
                  <a:cubicBezTo>
                    <a:pt x="64251" y="11898"/>
                    <a:pt x="60471" y="13158"/>
                    <a:pt x="56692" y="15678"/>
                  </a:cubicBezTo>
                  <a:cubicBezTo>
                    <a:pt x="52912" y="16938"/>
                    <a:pt x="49133" y="18197"/>
                    <a:pt x="46613" y="19457"/>
                  </a:cubicBezTo>
                  <a:cubicBezTo>
                    <a:pt x="39055" y="23237"/>
                    <a:pt x="31496" y="25756"/>
                    <a:pt x="23937" y="29536"/>
                  </a:cubicBezTo>
                  <a:cubicBezTo>
                    <a:pt x="20157" y="32056"/>
                    <a:pt x="16378" y="33315"/>
                    <a:pt x="12598" y="35835"/>
                  </a:cubicBezTo>
                  <a:cubicBezTo>
                    <a:pt x="11338" y="37095"/>
                    <a:pt x="8819" y="38355"/>
                    <a:pt x="7559" y="39615"/>
                  </a:cubicBezTo>
                  <a:cubicBezTo>
                    <a:pt x="6299" y="40874"/>
                    <a:pt x="3779" y="42134"/>
                    <a:pt x="2519" y="43394"/>
                  </a:cubicBezTo>
                  <a:cubicBezTo>
                    <a:pt x="1260" y="44654"/>
                    <a:pt x="0" y="45914"/>
                    <a:pt x="0" y="47174"/>
                  </a:cubicBezTo>
                  <a:cubicBezTo>
                    <a:pt x="0" y="48433"/>
                    <a:pt x="0" y="48433"/>
                    <a:pt x="0" y="49693"/>
                  </a:cubicBezTo>
                  <a:cubicBezTo>
                    <a:pt x="0" y="49693"/>
                    <a:pt x="0" y="50953"/>
                    <a:pt x="0" y="50953"/>
                  </a:cubicBezTo>
                  <a:cubicBezTo>
                    <a:pt x="1260" y="52213"/>
                    <a:pt x="2519" y="53473"/>
                    <a:pt x="5039" y="54733"/>
                  </a:cubicBezTo>
                  <a:cubicBezTo>
                    <a:pt x="6299" y="54733"/>
                    <a:pt x="8819" y="55992"/>
                    <a:pt x="11338" y="55992"/>
                  </a:cubicBezTo>
                  <a:cubicBezTo>
                    <a:pt x="15118" y="55992"/>
                    <a:pt x="18897" y="55992"/>
                    <a:pt x="23937" y="55992"/>
                  </a:cubicBezTo>
                  <a:cubicBezTo>
                    <a:pt x="23937" y="55992"/>
                    <a:pt x="22677" y="55992"/>
                    <a:pt x="22677" y="55992"/>
                  </a:cubicBezTo>
                  <a:cubicBezTo>
                    <a:pt x="25196" y="55992"/>
                    <a:pt x="28976" y="55992"/>
                    <a:pt x="31496" y="55992"/>
                  </a:cubicBezTo>
                  <a:cubicBezTo>
                    <a:pt x="35275" y="55992"/>
                    <a:pt x="37795" y="55992"/>
                    <a:pt x="41574" y="55992"/>
                  </a:cubicBezTo>
                  <a:cubicBezTo>
                    <a:pt x="46613" y="55992"/>
                    <a:pt x="52912" y="55992"/>
                    <a:pt x="57952" y="55992"/>
                  </a:cubicBezTo>
                  <a:cubicBezTo>
                    <a:pt x="64251" y="55992"/>
                    <a:pt x="70550" y="55992"/>
                    <a:pt x="75589" y="55992"/>
                  </a:cubicBezTo>
                  <a:cubicBezTo>
                    <a:pt x="75589" y="55992"/>
                    <a:pt x="75589" y="55992"/>
                    <a:pt x="74329" y="55992"/>
                  </a:cubicBezTo>
                  <a:cubicBezTo>
                    <a:pt x="78109" y="55992"/>
                    <a:pt x="80629" y="55992"/>
                    <a:pt x="84408" y="55992"/>
                  </a:cubicBezTo>
                  <a:cubicBezTo>
                    <a:pt x="88188" y="55992"/>
                    <a:pt x="90707" y="55992"/>
                    <a:pt x="94487" y="55992"/>
                  </a:cubicBezTo>
                  <a:cubicBezTo>
                    <a:pt x="98266" y="55992"/>
                    <a:pt x="102046" y="55992"/>
                    <a:pt x="105825" y="55992"/>
                  </a:cubicBezTo>
                  <a:lnTo>
                    <a:pt x="104565" y="55992"/>
                  </a:lnTo>
                  <a:cubicBezTo>
                    <a:pt x="108345" y="55992"/>
                    <a:pt x="110864" y="55992"/>
                    <a:pt x="114644" y="55992"/>
                  </a:cubicBezTo>
                  <a:cubicBezTo>
                    <a:pt x="118423" y="55992"/>
                    <a:pt x="122203" y="55992"/>
                    <a:pt x="124722" y="55992"/>
                  </a:cubicBezTo>
                  <a:cubicBezTo>
                    <a:pt x="128502" y="55992"/>
                    <a:pt x="131022" y="55992"/>
                    <a:pt x="134801" y="54733"/>
                  </a:cubicBezTo>
                  <a:cubicBezTo>
                    <a:pt x="138581" y="54733"/>
                    <a:pt x="141100" y="54733"/>
                    <a:pt x="144880" y="54733"/>
                  </a:cubicBezTo>
                  <a:cubicBezTo>
                    <a:pt x="148659" y="54733"/>
                    <a:pt x="152439" y="54733"/>
                    <a:pt x="156218" y="54733"/>
                  </a:cubicBezTo>
                  <a:cubicBezTo>
                    <a:pt x="158738" y="54733"/>
                    <a:pt x="159997" y="54733"/>
                    <a:pt x="162517" y="54733"/>
                  </a:cubicBezTo>
                  <a:cubicBezTo>
                    <a:pt x="163777" y="54733"/>
                    <a:pt x="166296" y="54733"/>
                    <a:pt x="167556" y="54733"/>
                  </a:cubicBezTo>
                  <a:cubicBezTo>
                    <a:pt x="175115" y="54733"/>
                    <a:pt x="182674" y="55992"/>
                    <a:pt x="190233" y="55992"/>
                  </a:cubicBezTo>
                  <a:cubicBezTo>
                    <a:pt x="194013" y="55992"/>
                    <a:pt x="197792" y="55992"/>
                    <a:pt x="201572" y="55992"/>
                  </a:cubicBezTo>
                  <a:cubicBezTo>
                    <a:pt x="205351" y="55992"/>
                    <a:pt x="210390" y="55992"/>
                    <a:pt x="214170" y="54733"/>
                  </a:cubicBezTo>
                  <a:cubicBezTo>
                    <a:pt x="215430" y="54733"/>
                    <a:pt x="217949" y="54733"/>
                    <a:pt x="219209" y="54733"/>
                  </a:cubicBezTo>
                  <a:cubicBezTo>
                    <a:pt x="220469" y="54733"/>
                    <a:pt x="220469" y="54733"/>
                    <a:pt x="221729" y="54733"/>
                  </a:cubicBezTo>
                  <a:cubicBezTo>
                    <a:pt x="222988" y="54733"/>
                    <a:pt x="224248" y="54733"/>
                    <a:pt x="225508" y="53473"/>
                  </a:cubicBezTo>
                  <a:cubicBezTo>
                    <a:pt x="226768" y="53473"/>
                    <a:pt x="226768" y="52213"/>
                    <a:pt x="228028" y="52213"/>
                  </a:cubicBezTo>
                  <a:cubicBezTo>
                    <a:pt x="229288" y="50953"/>
                    <a:pt x="229288" y="50953"/>
                    <a:pt x="230548" y="49693"/>
                  </a:cubicBezTo>
                  <a:cubicBezTo>
                    <a:pt x="230548" y="48433"/>
                    <a:pt x="231807" y="48433"/>
                    <a:pt x="233067" y="47174"/>
                  </a:cubicBezTo>
                  <a:cubicBezTo>
                    <a:pt x="234327" y="45914"/>
                    <a:pt x="235587" y="43394"/>
                    <a:pt x="236847" y="42134"/>
                  </a:cubicBezTo>
                  <a:cubicBezTo>
                    <a:pt x="238107" y="40874"/>
                    <a:pt x="238107" y="39615"/>
                    <a:pt x="238107" y="39615"/>
                  </a:cubicBezTo>
                  <a:cubicBezTo>
                    <a:pt x="238107" y="38355"/>
                    <a:pt x="236847" y="37095"/>
                    <a:pt x="236847" y="37095"/>
                  </a:cubicBezTo>
                  <a:cubicBezTo>
                    <a:pt x="235587" y="37095"/>
                    <a:pt x="234327" y="35835"/>
                    <a:pt x="234327" y="35835"/>
                  </a:cubicBezTo>
                  <a:cubicBezTo>
                    <a:pt x="233067" y="35835"/>
                    <a:pt x="231807" y="37095"/>
                    <a:pt x="231807" y="37095"/>
                  </a:cubicBezTo>
                  <a:cubicBezTo>
                    <a:pt x="230548" y="38355"/>
                    <a:pt x="229288" y="40874"/>
                    <a:pt x="228028" y="42134"/>
                  </a:cubicBezTo>
                  <a:cubicBezTo>
                    <a:pt x="226768" y="43394"/>
                    <a:pt x="226768" y="43394"/>
                    <a:pt x="226768" y="44654"/>
                  </a:cubicBezTo>
                  <a:cubicBezTo>
                    <a:pt x="226768" y="45914"/>
                    <a:pt x="225508" y="45914"/>
                    <a:pt x="225508" y="47174"/>
                  </a:cubicBezTo>
                  <a:cubicBezTo>
                    <a:pt x="225508" y="47174"/>
                    <a:pt x="225508" y="47174"/>
                    <a:pt x="224248" y="47174"/>
                  </a:cubicBezTo>
                  <a:cubicBezTo>
                    <a:pt x="224248" y="47174"/>
                    <a:pt x="222988" y="47174"/>
                    <a:pt x="222988" y="47174"/>
                  </a:cubicBezTo>
                  <a:cubicBezTo>
                    <a:pt x="220469" y="48433"/>
                    <a:pt x="216689" y="48433"/>
                    <a:pt x="214170" y="48433"/>
                  </a:cubicBezTo>
                  <a:cubicBezTo>
                    <a:pt x="210390" y="48433"/>
                    <a:pt x="206611" y="48433"/>
                    <a:pt x="204091" y="48433"/>
                  </a:cubicBezTo>
                  <a:cubicBezTo>
                    <a:pt x="197792" y="48433"/>
                    <a:pt x="190233" y="48433"/>
                    <a:pt x="183934" y="48433"/>
                  </a:cubicBezTo>
                  <a:cubicBezTo>
                    <a:pt x="178895" y="48433"/>
                    <a:pt x="173855" y="48433"/>
                    <a:pt x="168816" y="48433"/>
                  </a:cubicBezTo>
                  <a:cubicBezTo>
                    <a:pt x="163777" y="48433"/>
                    <a:pt x="157478" y="48433"/>
                    <a:pt x="152439" y="48433"/>
                  </a:cubicBezTo>
                  <a:lnTo>
                    <a:pt x="153698" y="48433"/>
                  </a:lnTo>
                  <a:cubicBezTo>
                    <a:pt x="152439" y="48433"/>
                    <a:pt x="152439" y="48433"/>
                    <a:pt x="151179" y="48433"/>
                  </a:cubicBezTo>
                  <a:cubicBezTo>
                    <a:pt x="147399" y="48433"/>
                    <a:pt x="142360" y="48433"/>
                    <a:pt x="138581" y="48433"/>
                  </a:cubicBezTo>
                  <a:cubicBezTo>
                    <a:pt x="134801" y="48433"/>
                    <a:pt x="131022" y="48433"/>
                    <a:pt x="125982" y="49693"/>
                  </a:cubicBezTo>
                  <a:cubicBezTo>
                    <a:pt x="122203" y="49693"/>
                    <a:pt x="118423" y="49693"/>
                    <a:pt x="113384" y="49693"/>
                  </a:cubicBezTo>
                  <a:cubicBezTo>
                    <a:pt x="109604" y="49693"/>
                    <a:pt x="105825" y="49693"/>
                    <a:pt x="102046" y="49693"/>
                  </a:cubicBezTo>
                  <a:cubicBezTo>
                    <a:pt x="98266" y="49693"/>
                    <a:pt x="94487" y="49693"/>
                    <a:pt x="91967" y="49693"/>
                  </a:cubicBezTo>
                  <a:cubicBezTo>
                    <a:pt x="88188" y="49693"/>
                    <a:pt x="84408" y="49693"/>
                    <a:pt x="80629" y="49693"/>
                  </a:cubicBezTo>
                  <a:cubicBezTo>
                    <a:pt x="80629" y="49693"/>
                    <a:pt x="80629" y="49693"/>
                    <a:pt x="81889" y="49693"/>
                  </a:cubicBezTo>
                  <a:cubicBezTo>
                    <a:pt x="76849" y="49693"/>
                    <a:pt x="71810" y="49693"/>
                    <a:pt x="66770" y="49693"/>
                  </a:cubicBezTo>
                  <a:cubicBezTo>
                    <a:pt x="64251" y="49693"/>
                    <a:pt x="61731" y="49693"/>
                    <a:pt x="59211" y="49693"/>
                  </a:cubicBezTo>
                  <a:cubicBezTo>
                    <a:pt x="56692" y="49693"/>
                    <a:pt x="55432" y="49693"/>
                    <a:pt x="52912" y="49693"/>
                  </a:cubicBezTo>
                  <a:cubicBezTo>
                    <a:pt x="49133" y="49693"/>
                    <a:pt x="45354" y="49693"/>
                    <a:pt x="41574" y="49693"/>
                  </a:cubicBezTo>
                  <a:cubicBezTo>
                    <a:pt x="39055" y="49693"/>
                    <a:pt x="37795" y="49693"/>
                    <a:pt x="35275" y="49693"/>
                  </a:cubicBezTo>
                  <a:cubicBezTo>
                    <a:pt x="34015" y="49693"/>
                    <a:pt x="31496" y="49693"/>
                    <a:pt x="30236" y="49693"/>
                  </a:cubicBezTo>
                  <a:cubicBezTo>
                    <a:pt x="28976" y="49693"/>
                    <a:pt x="26456" y="49693"/>
                    <a:pt x="25196" y="49693"/>
                  </a:cubicBezTo>
                  <a:cubicBezTo>
                    <a:pt x="22677" y="49693"/>
                    <a:pt x="21417" y="49693"/>
                    <a:pt x="18897" y="49693"/>
                  </a:cubicBezTo>
                  <a:cubicBezTo>
                    <a:pt x="17637" y="49693"/>
                    <a:pt x="17637" y="49693"/>
                    <a:pt x="16378" y="49693"/>
                  </a:cubicBezTo>
                  <a:cubicBezTo>
                    <a:pt x="17637" y="49693"/>
                    <a:pt x="17637" y="48433"/>
                    <a:pt x="18897" y="48433"/>
                  </a:cubicBezTo>
                  <a:cubicBezTo>
                    <a:pt x="21417" y="47174"/>
                    <a:pt x="23937" y="45914"/>
                    <a:pt x="26456" y="43394"/>
                  </a:cubicBezTo>
                  <a:cubicBezTo>
                    <a:pt x="28976" y="42134"/>
                    <a:pt x="32755" y="40874"/>
                    <a:pt x="35275" y="39615"/>
                  </a:cubicBezTo>
                  <a:cubicBezTo>
                    <a:pt x="41574" y="37095"/>
                    <a:pt x="47873" y="34575"/>
                    <a:pt x="54172" y="32056"/>
                  </a:cubicBezTo>
                  <a:cubicBezTo>
                    <a:pt x="61731" y="28276"/>
                    <a:pt x="69290" y="25756"/>
                    <a:pt x="78109" y="23237"/>
                  </a:cubicBezTo>
                  <a:cubicBezTo>
                    <a:pt x="85668" y="20717"/>
                    <a:pt x="93227" y="16938"/>
                    <a:pt x="100786" y="13158"/>
                  </a:cubicBezTo>
                  <a:cubicBezTo>
                    <a:pt x="103305" y="11898"/>
                    <a:pt x="103305" y="9379"/>
                    <a:pt x="103305" y="8119"/>
                  </a:cubicBezTo>
                  <a:cubicBezTo>
                    <a:pt x="100786" y="1820"/>
                    <a:pt x="100786" y="560"/>
                    <a:pt x="99526" y="560"/>
                  </a:cubicBezTo>
                  <a:moveTo>
                    <a:pt x="17637" y="43394"/>
                  </a:moveTo>
                  <a:cubicBezTo>
                    <a:pt x="16378" y="43394"/>
                    <a:pt x="16378" y="43394"/>
                    <a:pt x="17637" y="43394"/>
                  </a:cubicBezTo>
                  <a:cubicBezTo>
                    <a:pt x="16378" y="43394"/>
                    <a:pt x="16378" y="43394"/>
                    <a:pt x="17637" y="43394"/>
                  </a:cubicBezTo>
                  <a:moveTo>
                    <a:pt x="7559" y="44654"/>
                  </a:moveTo>
                  <a:cubicBezTo>
                    <a:pt x="7559" y="44654"/>
                    <a:pt x="7559" y="44654"/>
                    <a:pt x="7559" y="44654"/>
                  </a:cubicBezTo>
                  <a:cubicBezTo>
                    <a:pt x="7559" y="44654"/>
                    <a:pt x="7559" y="44654"/>
                    <a:pt x="7559" y="44654"/>
                  </a:cubicBezTo>
                  <a:moveTo>
                    <a:pt x="85668" y="53473"/>
                  </a:moveTo>
                  <a:cubicBezTo>
                    <a:pt x="85668" y="53473"/>
                    <a:pt x="85668" y="53473"/>
                    <a:pt x="85668" y="53473"/>
                  </a:cubicBezTo>
                  <a:cubicBezTo>
                    <a:pt x="85668" y="53473"/>
                    <a:pt x="85668" y="53473"/>
                    <a:pt x="85668" y="5347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/>
            <p:cNvSpPr/>
            <p:nvPr/>
          </p:nvSpPr>
          <p:spPr>
            <a:xfrm>
              <a:off x="9828452" y="4871279"/>
              <a:ext cx="137286" cy="34321"/>
            </a:xfrm>
            <a:custGeom>
              <a:avLst/>
              <a:gdLst>
                <a:gd name="connsiteX0" fmla="*/ 191988 w 201571"/>
                <a:gd name="connsiteY0" fmla="*/ 2519 h 50392"/>
                <a:gd name="connsiteX1" fmla="*/ 198287 w 201571"/>
                <a:gd name="connsiteY1" fmla="*/ 3779 h 50392"/>
                <a:gd name="connsiteX2" fmla="*/ 204586 w 201571"/>
                <a:gd name="connsiteY2" fmla="*/ 5039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8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6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8 h 50392"/>
                <a:gd name="connsiteX19" fmla="*/ 179389 w 201571"/>
                <a:gd name="connsiteY19" fmla="*/ 11338 h 50392"/>
                <a:gd name="connsiteX20" fmla="*/ 171830 w 201571"/>
                <a:gd name="connsiteY20" fmla="*/ 11338 h 50392"/>
                <a:gd name="connsiteX21" fmla="*/ 157972 w 201571"/>
                <a:gd name="connsiteY21" fmla="*/ 11338 h 50392"/>
                <a:gd name="connsiteX22" fmla="*/ 145374 w 201571"/>
                <a:gd name="connsiteY22" fmla="*/ 11338 h 50392"/>
                <a:gd name="connsiteX23" fmla="*/ 142855 w 201571"/>
                <a:gd name="connsiteY23" fmla="*/ 11338 h 50392"/>
                <a:gd name="connsiteX24" fmla="*/ 127736 w 201571"/>
                <a:gd name="connsiteY24" fmla="*/ 11338 h 50392"/>
                <a:gd name="connsiteX25" fmla="*/ 118918 w 201571"/>
                <a:gd name="connsiteY25" fmla="*/ 11338 h 50392"/>
                <a:gd name="connsiteX26" fmla="*/ 112618 w 201571"/>
                <a:gd name="connsiteY26" fmla="*/ 11338 h 50392"/>
                <a:gd name="connsiteX27" fmla="*/ 108839 w 201571"/>
                <a:gd name="connsiteY27" fmla="*/ 11338 h 50392"/>
                <a:gd name="connsiteX28" fmla="*/ 97501 w 201571"/>
                <a:gd name="connsiteY28" fmla="*/ 15118 h 50392"/>
                <a:gd name="connsiteX29" fmla="*/ 91202 w 201571"/>
                <a:gd name="connsiteY29" fmla="*/ 17637 h 50392"/>
                <a:gd name="connsiteX30" fmla="*/ 84903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3 h 50392"/>
                <a:gd name="connsiteX37" fmla="*/ 5533 w 201571"/>
                <a:gd name="connsiteY37" fmla="*/ 52912 h 50392"/>
                <a:gd name="connsiteX38" fmla="*/ 494 w 201571"/>
                <a:gd name="connsiteY38" fmla="*/ 50393 h 50392"/>
                <a:gd name="connsiteX39" fmla="*/ 3014 w 201571"/>
                <a:gd name="connsiteY39" fmla="*/ 45353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8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79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5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8 w 201571"/>
                <a:gd name="connsiteY61" fmla="*/ 2519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8" y="2519"/>
                  </a:moveTo>
                  <a:cubicBezTo>
                    <a:pt x="194507" y="2519"/>
                    <a:pt x="195767" y="2519"/>
                    <a:pt x="198287" y="3779"/>
                  </a:cubicBezTo>
                  <a:cubicBezTo>
                    <a:pt x="200806" y="3779"/>
                    <a:pt x="203326" y="3779"/>
                    <a:pt x="204586" y="5039"/>
                  </a:cubicBezTo>
                  <a:cubicBezTo>
                    <a:pt x="205846" y="5039"/>
                    <a:pt x="207105" y="503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8"/>
                  </a:cubicBezTo>
                  <a:cubicBezTo>
                    <a:pt x="210885" y="11338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6" y="37795"/>
                  </a:cubicBezTo>
                  <a:cubicBezTo>
                    <a:pt x="204586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7" y="13858"/>
                    <a:pt x="197027" y="12598"/>
                    <a:pt x="194507" y="12598"/>
                  </a:cubicBezTo>
                  <a:cubicBezTo>
                    <a:pt x="191988" y="12598"/>
                    <a:pt x="189468" y="11338"/>
                    <a:pt x="186948" y="11338"/>
                  </a:cubicBezTo>
                  <a:cubicBezTo>
                    <a:pt x="184429" y="11338"/>
                    <a:pt x="181909" y="11338"/>
                    <a:pt x="179389" y="11338"/>
                  </a:cubicBezTo>
                  <a:cubicBezTo>
                    <a:pt x="176870" y="11338"/>
                    <a:pt x="174350" y="11338"/>
                    <a:pt x="171830" y="11338"/>
                  </a:cubicBezTo>
                  <a:cubicBezTo>
                    <a:pt x="166791" y="11338"/>
                    <a:pt x="163011" y="11338"/>
                    <a:pt x="157972" y="11338"/>
                  </a:cubicBezTo>
                  <a:cubicBezTo>
                    <a:pt x="154193" y="11338"/>
                    <a:pt x="149154" y="11338"/>
                    <a:pt x="145374" y="11338"/>
                  </a:cubicBezTo>
                  <a:cubicBezTo>
                    <a:pt x="144114" y="11338"/>
                    <a:pt x="144114" y="11338"/>
                    <a:pt x="142855" y="11338"/>
                  </a:cubicBezTo>
                  <a:cubicBezTo>
                    <a:pt x="137815" y="11338"/>
                    <a:pt x="132776" y="11338"/>
                    <a:pt x="127736" y="11338"/>
                  </a:cubicBezTo>
                  <a:cubicBezTo>
                    <a:pt x="125217" y="11338"/>
                    <a:pt x="121437" y="11338"/>
                    <a:pt x="118918" y="11338"/>
                  </a:cubicBezTo>
                  <a:cubicBezTo>
                    <a:pt x="116398" y="11338"/>
                    <a:pt x="113878" y="11338"/>
                    <a:pt x="112618" y="11338"/>
                  </a:cubicBezTo>
                  <a:cubicBezTo>
                    <a:pt x="111359" y="11338"/>
                    <a:pt x="110099" y="11338"/>
                    <a:pt x="108839" y="11338"/>
                  </a:cubicBezTo>
                  <a:cubicBezTo>
                    <a:pt x="105060" y="12598"/>
                    <a:pt x="101280" y="13858"/>
                    <a:pt x="97501" y="15118"/>
                  </a:cubicBezTo>
                  <a:cubicBezTo>
                    <a:pt x="94981" y="16378"/>
                    <a:pt x="92462" y="16378"/>
                    <a:pt x="91202" y="17637"/>
                  </a:cubicBezTo>
                  <a:cubicBezTo>
                    <a:pt x="88682" y="18897"/>
                    <a:pt x="87422" y="18897"/>
                    <a:pt x="84903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9" y="36535"/>
                    <a:pt x="31990" y="41574"/>
                  </a:cubicBezTo>
                  <a:cubicBezTo>
                    <a:pt x="28211" y="42834"/>
                    <a:pt x="24431" y="45353"/>
                    <a:pt x="19392" y="46613"/>
                  </a:cubicBezTo>
                  <a:cubicBezTo>
                    <a:pt x="14352" y="49133"/>
                    <a:pt x="9313" y="51652"/>
                    <a:pt x="5533" y="52912"/>
                  </a:cubicBezTo>
                  <a:cubicBezTo>
                    <a:pt x="3014" y="54172"/>
                    <a:pt x="494" y="52912"/>
                    <a:pt x="494" y="50393"/>
                  </a:cubicBezTo>
                  <a:cubicBezTo>
                    <a:pt x="-766" y="47873"/>
                    <a:pt x="494" y="46613"/>
                    <a:pt x="3014" y="45353"/>
                  </a:cubicBezTo>
                  <a:cubicBezTo>
                    <a:pt x="8053" y="42834"/>
                    <a:pt x="13092" y="40314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10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7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8"/>
                  </a:cubicBezTo>
                  <a:cubicBezTo>
                    <a:pt x="79863" y="10078"/>
                    <a:pt x="81123" y="10078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2" y="5039"/>
                    <a:pt x="94981" y="5039"/>
                    <a:pt x="96241" y="3779"/>
                  </a:cubicBezTo>
                  <a:cubicBezTo>
                    <a:pt x="98761" y="2519"/>
                    <a:pt x="100020" y="2519"/>
                    <a:pt x="102540" y="1260"/>
                  </a:cubicBezTo>
                  <a:cubicBezTo>
                    <a:pt x="105060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6" y="0"/>
                    <a:pt x="137815" y="0"/>
                    <a:pt x="141595" y="0"/>
                  </a:cubicBezTo>
                  <a:cubicBezTo>
                    <a:pt x="149154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19"/>
                    <a:pt x="190728" y="2519"/>
                    <a:pt x="191988" y="2519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/>
            <p:cNvSpPr/>
            <p:nvPr/>
          </p:nvSpPr>
          <p:spPr>
            <a:xfrm>
              <a:off x="9612858" y="4877284"/>
              <a:ext cx="171607" cy="51482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3 w 251964"/>
                <a:gd name="connsiteY2" fmla="*/ 2520 h 75589"/>
                <a:gd name="connsiteX3" fmla="*/ 249013 w 251964"/>
                <a:gd name="connsiteY3" fmla="*/ 5039 h 75589"/>
                <a:gd name="connsiteX4" fmla="*/ 249013 w 251964"/>
                <a:gd name="connsiteY4" fmla="*/ 5039 h 75589"/>
                <a:gd name="connsiteX5" fmla="*/ 249013 w 251964"/>
                <a:gd name="connsiteY5" fmla="*/ 5039 h 75589"/>
                <a:gd name="connsiteX6" fmla="*/ 249013 w 251964"/>
                <a:gd name="connsiteY6" fmla="*/ 5039 h 75589"/>
                <a:gd name="connsiteX7" fmla="*/ 242714 w 251964"/>
                <a:gd name="connsiteY7" fmla="*/ 3780 h 75589"/>
                <a:gd name="connsiteX8" fmla="*/ 235154 w 251964"/>
                <a:gd name="connsiteY8" fmla="*/ 2520 h 75589"/>
                <a:gd name="connsiteX9" fmla="*/ 235154 w 251964"/>
                <a:gd name="connsiteY9" fmla="*/ 2520 h 75589"/>
                <a:gd name="connsiteX10" fmla="*/ 228855 w 251964"/>
                <a:gd name="connsiteY10" fmla="*/ 2520 h 75589"/>
                <a:gd name="connsiteX11" fmla="*/ 228855 w 251964"/>
                <a:gd name="connsiteY11" fmla="*/ 2520 h 75589"/>
                <a:gd name="connsiteX12" fmla="*/ 214997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3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9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31849 w 251964"/>
                <a:gd name="connsiteY40" fmla="*/ 10079 h 75589"/>
                <a:gd name="connsiteX41" fmla="*/ 124290 w 251964"/>
                <a:gd name="connsiteY41" fmla="*/ 12598 h 75589"/>
                <a:gd name="connsiteX42" fmla="*/ 120511 w 251964"/>
                <a:gd name="connsiteY42" fmla="*/ 13858 h 75589"/>
                <a:gd name="connsiteX43" fmla="*/ 117991 w 251964"/>
                <a:gd name="connsiteY43" fmla="*/ 15118 h 75589"/>
                <a:gd name="connsiteX44" fmla="*/ 116731 w 251964"/>
                <a:gd name="connsiteY44" fmla="*/ 15118 h 75589"/>
                <a:gd name="connsiteX45" fmla="*/ 110432 w 251964"/>
                <a:gd name="connsiteY45" fmla="*/ 16378 h 75589"/>
                <a:gd name="connsiteX46" fmla="*/ 109172 w 251964"/>
                <a:gd name="connsiteY46" fmla="*/ 16378 h 75589"/>
                <a:gd name="connsiteX47" fmla="*/ 97834 w 251964"/>
                <a:gd name="connsiteY47" fmla="*/ 20157 h 75589"/>
                <a:gd name="connsiteX48" fmla="*/ 94055 w 251964"/>
                <a:gd name="connsiteY48" fmla="*/ 21417 h 75589"/>
                <a:gd name="connsiteX49" fmla="*/ 91535 w 251964"/>
                <a:gd name="connsiteY49" fmla="*/ 22677 h 75589"/>
                <a:gd name="connsiteX50" fmla="*/ 83976 w 251964"/>
                <a:gd name="connsiteY50" fmla="*/ 25196 h 75589"/>
                <a:gd name="connsiteX51" fmla="*/ 75157 w 251964"/>
                <a:gd name="connsiteY51" fmla="*/ 27716 h 75589"/>
                <a:gd name="connsiteX52" fmla="*/ 71377 w 251964"/>
                <a:gd name="connsiteY52" fmla="*/ 28976 h 75589"/>
                <a:gd name="connsiteX53" fmla="*/ 58779 w 251964"/>
                <a:gd name="connsiteY53" fmla="*/ 34015 h 75589"/>
                <a:gd name="connsiteX54" fmla="*/ 46181 w 251964"/>
                <a:gd name="connsiteY54" fmla="*/ 39055 h 75589"/>
                <a:gd name="connsiteX55" fmla="*/ 33583 w 251964"/>
                <a:gd name="connsiteY55" fmla="*/ 44094 h 75589"/>
                <a:gd name="connsiteX56" fmla="*/ 32323 w 251964"/>
                <a:gd name="connsiteY56" fmla="*/ 44094 h 75589"/>
                <a:gd name="connsiteX57" fmla="*/ 26024 w 251964"/>
                <a:gd name="connsiteY57" fmla="*/ 46614 h 75589"/>
                <a:gd name="connsiteX58" fmla="*/ 20985 w 251964"/>
                <a:gd name="connsiteY58" fmla="*/ 49133 h 75589"/>
                <a:gd name="connsiteX59" fmla="*/ 17205 w 251964"/>
                <a:gd name="connsiteY59" fmla="*/ 51653 h 75589"/>
                <a:gd name="connsiteX60" fmla="*/ 15945 w 251964"/>
                <a:gd name="connsiteY60" fmla="*/ 52913 h 75589"/>
                <a:gd name="connsiteX61" fmla="*/ 14685 w 251964"/>
                <a:gd name="connsiteY61" fmla="*/ 52913 h 75589"/>
                <a:gd name="connsiteX62" fmla="*/ 9646 w 251964"/>
                <a:gd name="connsiteY62" fmla="*/ 55432 h 75589"/>
                <a:gd name="connsiteX63" fmla="*/ 3347 w 251964"/>
                <a:gd name="connsiteY63" fmla="*/ 60472 h 75589"/>
                <a:gd name="connsiteX64" fmla="*/ 827 w 251964"/>
                <a:gd name="connsiteY64" fmla="*/ 64251 h 75589"/>
                <a:gd name="connsiteX65" fmla="*/ 2087 w 251964"/>
                <a:gd name="connsiteY65" fmla="*/ 71810 h 75589"/>
                <a:gd name="connsiteX66" fmla="*/ 8386 w 251964"/>
                <a:gd name="connsiteY66" fmla="*/ 76849 h 75589"/>
                <a:gd name="connsiteX67" fmla="*/ 14685 w 251964"/>
                <a:gd name="connsiteY67" fmla="*/ 79369 h 75589"/>
                <a:gd name="connsiteX68" fmla="*/ 27284 w 251964"/>
                <a:gd name="connsiteY68" fmla="*/ 80629 h 75589"/>
                <a:gd name="connsiteX69" fmla="*/ 28544 w 251964"/>
                <a:gd name="connsiteY69" fmla="*/ 80629 h 75589"/>
                <a:gd name="connsiteX70" fmla="*/ 33583 w 251964"/>
                <a:gd name="connsiteY70" fmla="*/ 80629 h 75589"/>
                <a:gd name="connsiteX71" fmla="*/ 34843 w 251964"/>
                <a:gd name="connsiteY71" fmla="*/ 80629 h 75589"/>
                <a:gd name="connsiteX72" fmla="*/ 41142 w 251964"/>
                <a:gd name="connsiteY72" fmla="*/ 80629 h 75589"/>
                <a:gd name="connsiteX73" fmla="*/ 41142 w 251964"/>
                <a:gd name="connsiteY73" fmla="*/ 80629 h 75589"/>
                <a:gd name="connsiteX74" fmla="*/ 55000 w 251964"/>
                <a:gd name="connsiteY74" fmla="*/ 80629 h 75589"/>
                <a:gd name="connsiteX75" fmla="*/ 68858 w 251964"/>
                <a:gd name="connsiteY75" fmla="*/ 79369 h 75589"/>
                <a:gd name="connsiteX76" fmla="*/ 68858 w 251964"/>
                <a:gd name="connsiteY76" fmla="*/ 79369 h 75589"/>
                <a:gd name="connsiteX77" fmla="*/ 78936 w 251964"/>
                <a:gd name="connsiteY77" fmla="*/ 78109 h 75589"/>
                <a:gd name="connsiteX78" fmla="*/ 81456 w 251964"/>
                <a:gd name="connsiteY78" fmla="*/ 78109 h 75589"/>
                <a:gd name="connsiteX79" fmla="*/ 100354 w 251964"/>
                <a:gd name="connsiteY79" fmla="*/ 76849 h 75589"/>
                <a:gd name="connsiteX80" fmla="*/ 106653 w 251964"/>
                <a:gd name="connsiteY80" fmla="*/ 76849 h 75589"/>
                <a:gd name="connsiteX81" fmla="*/ 155786 w 251964"/>
                <a:gd name="connsiteY81" fmla="*/ 78109 h 75589"/>
                <a:gd name="connsiteX82" fmla="*/ 162085 w 251964"/>
                <a:gd name="connsiteY82" fmla="*/ 78109 h 75589"/>
                <a:gd name="connsiteX83" fmla="*/ 169644 w 251964"/>
                <a:gd name="connsiteY83" fmla="*/ 78109 h 75589"/>
                <a:gd name="connsiteX84" fmla="*/ 184762 w 251964"/>
                <a:gd name="connsiteY84" fmla="*/ 78109 h 75589"/>
                <a:gd name="connsiteX85" fmla="*/ 198620 w 251964"/>
                <a:gd name="connsiteY85" fmla="*/ 76849 h 75589"/>
                <a:gd name="connsiteX86" fmla="*/ 204919 w 251964"/>
                <a:gd name="connsiteY86" fmla="*/ 75589 h 75589"/>
                <a:gd name="connsiteX87" fmla="*/ 207439 w 251964"/>
                <a:gd name="connsiteY87" fmla="*/ 75589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1218 w 251964"/>
                <a:gd name="connsiteY90" fmla="*/ 74330 h 75589"/>
                <a:gd name="connsiteX91" fmla="*/ 212478 w 251964"/>
                <a:gd name="connsiteY91" fmla="*/ 75589 h 75589"/>
                <a:gd name="connsiteX92" fmla="*/ 212478 w 251964"/>
                <a:gd name="connsiteY92" fmla="*/ 75589 h 75589"/>
                <a:gd name="connsiteX93" fmla="*/ 217517 w 251964"/>
                <a:gd name="connsiteY93" fmla="*/ 79369 h 75589"/>
                <a:gd name="connsiteX94" fmla="*/ 222556 w 251964"/>
                <a:gd name="connsiteY94" fmla="*/ 81889 h 75589"/>
                <a:gd name="connsiteX95" fmla="*/ 226336 w 251964"/>
                <a:gd name="connsiteY95" fmla="*/ 83148 h 75589"/>
                <a:gd name="connsiteX96" fmla="*/ 227595 w 251964"/>
                <a:gd name="connsiteY96" fmla="*/ 83148 h 75589"/>
                <a:gd name="connsiteX97" fmla="*/ 241454 w 251964"/>
                <a:gd name="connsiteY97" fmla="*/ 81889 h 75589"/>
                <a:gd name="connsiteX98" fmla="*/ 242714 w 251964"/>
                <a:gd name="connsiteY98" fmla="*/ 81889 h 75589"/>
                <a:gd name="connsiteX99" fmla="*/ 247753 w 251964"/>
                <a:gd name="connsiteY99" fmla="*/ 80629 h 75589"/>
                <a:gd name="connsiteX100" fmla="*/ 254052 w 251964"/>
                <a:gd name="connsiteY100" fmla="*/ 76849 h 75589"/>
                <a:gd name="connsiteX101" fmla="*/ 255312 w 251964"/>
                <a:gd name="connsiteY101" fmla="*/ 74330 h 75589"/>
                <a:gd name="connsiteX102" fmla="*/ 257832 w 251964"/>
                <a:gd name="connsiteY102" fmla="*/ 70550 h 75589"/>
                <a:gd name="connsiteX103" fmla="*/ 257832 w 251964"/>
                <a:gd name="connsiteY103" fmla="*/ 60472 h 75589"/>
                <a:gd name="connsiteX104" fmla="*/ 257832 w 251964"/>
                <a:gd name="connsiteY104" fmla="*/ 55432 h 75589"/>
                <a:gd name="connsiteX105" fmla="*/ 257832 w 251964"/>
                <a:gd name="connsiteY105" fmla="*/ 52913 h 75589"/>
                <a:gd name="connsiteX106" fmla="*/ 257832 w 251964"/>
                <a:gd name="connsiteY106" fmla="*/ 42834 h 75589"/>
                <a:gd name="connsiteX107" fmla="*/ 257832 w 251964"/>
                <a:gd name="connsiteY107" fmla="*/ 40315 h 75589"/>
                <a:gd name="connsiteX108" fmla="*/ 257832 w 251964"/>
                <a:gd name="connsiteY108" fmla="*/ 36535 h 75589"/>
                <a:gd name="connsiteX109" fmla="*/ 257832 w 251964"/>
                <a:gd name="connsiteY109" fmla="*/ 27716 h 75589"/>
                <a:gd name="connsiteX110" fmla="*/ 257832 w 251964"/>
                <a:gd name="connsiteY110" fmla="*/ 21417 h 75589"/>
                <a:gd name="connsiteX111" fmla="*/ 257832 w 251964"/>
                <a:gd name="connsiteY111" fmla="*/ 15118 h 75589"/>
                <a:gd name="connsiteX112" fmla="*/ 256572 w 251964"/>
                <a:gd name="connsiteY112" fmla="*/ 11338 h 75589"/>
                <a:gd name="connsiteX113" fmla="*/ 255312 w 251964"/>
                <a:gd name="connsiteY113" fmla="*/ 8819 h 75589"/>
                <a:gd name="connsiteX114" fmla="*/ 255312 w 251964"/>
                <a:gd name="connsiteY114" fmla="*/ 5039 h 75589"/>
                <a:gd name="connsiteX115" fmla="*/ 252792 w 251964"/>
                <a:gd name="connsiteY115" fmla="*/ 1260 h 75589"/>
                <a:gd name="connsiteX116" fmla="*/ 8386 w 251964"/>
                <a:gd name="connsiteY116" fmla="*/ 65511 h 75589"/>
                <a:gd name="connsiteX117" fmla="*/ 12166 w 251964"/>
                <a:gd name="connsiteY117" fmla="*/ 62991 h 75589"/>
                <a:gd name="connsiteX118" fmla="*/ 15945 w 251964"/>
                <a:gd name="connsiteY118" fmla="*/ 60472 h 75589"/>
                <a:gd name="connsiteX119" fmla="*/ 17205 w 251964"/>
                <a:gd name="connsiteY119" fmla="*/ 60472 h 75589"/>
                <a:gd name="connsiteX120" fmla="*/ 20985 w 251964"/>
                <a:gd name="connsiteY120" fmla="*/ 59212 h 75589"/>
                <a:gd name="connsiteX121" fmla="*/ 22244 w 251964"/>
                <a:gd name="connsiteY121" fmla="*/ 57952 h 75589"/>
                <a:gd name="connsiteX122" fmla="*/ 28544 w 251964"/>
                <a:gd name="connsiteY122" fmla="*/ 55432 h 75589"/>
                <a:gd name="connsiteX123" fmla="*/ 34843 w 251964"/>
                <a:gd name="connsiteY123" fmla="*/ 52913 h 75589"/>
                <a:gd name="connsiteX124" fmla="*/ 26024 w 251964"/>
                <a:gd name="connsiteY124" fmla="*/ 57952 h 75589"/>
                <a:gd name="connsiteX125" fmla="*/ 26024 w 251964"/>
                <a:gd name="connsiteY125" fmla="*/ 57952 h 75589"/>
                <a:gd name="connsiteX126" fmla="*/ 15945 w 251964"/>
                <a:gd name="connsiteY126" fmla="*/ 64251 h 75589"/>
                <a:gd name="connsiteX127" fmla="*/ 12166 w 251964"/>
                <a:gd name="connsiteY127" fmla="*/ 65511 h 75589"/>
                <a:gd name="connsiteX128" fmla="*/ 8386 w 251964"/>
                <a:gd name="connsiteY128" fmla="*/ 6551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3" y="2520"/>
                  </a:cubicBezTo>
                  <a:cubicBezTo>
                    <a:pt x="250273" y="2520"/>
                    <a:pt x="249013" y="3780"/>
                    <a:pt x="249013" y="5039"/>
                  </a:cubicBezTo>
                  <a:lnTo>
                    <a:pt x="249013" y="5039"/>
                  </a:lnTo>
                  <a:lnTo>
                    <a:pt x="249013" y="5039"/>
                  </a:lnTo>
                  <a:lnTo>
                    <a:pt x="249013" y="5039"/>
                  </a:lnTo>
                  <a:cubicBezTo>
                    <a:pt x="247753" y="5039"/>
                    <a:pt x="245233" y="3780"/>
                    <a:pt x="242714" y="3780"/>
                  </a:cubicBezTo>
                  <a:cubicBezTo>
                    <a:pt x="240194" y="3780"/>
                    <a:pt x="237674" y="2520"/>
                    <a:pt x="235154" y="2520"/>
                  </a:cubicBezTo>
                  <a:lnTo>
                    <a:pt x="235154" y="2520"/>
                  </a:lnTo>
                  <a:cubicBezTo>
                    <a:pt x="232635" y="2520"/>
                    <a:pt x="231375" y="2520"/>
                    <a:pt x="228855" y="2520"/>
                  </a:cubicBezTo>
                  <a:lnTo>
                    <a:pt x="228855" y="2520"/>
                  </a:lnTo>
                  <a:cubicBezTo>
                    <a:pt x="223816" y="2520"/>
                    <a:pt x="220037" y="1260"/>
                    <a:pt x="214997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3" y="0"/>
                  </a:lnTo>
                  <a:cubicBezTo>
                    <a:pt x="170903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4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7" y="1260"/>
                    <a:pt x="148227" y="2520"/>
                    <a:pt x="146967" y="3780"/>
                  </a:cubicBezTo>
                  <a:cubicBezTo>
                    <a:pt x="143188" y="5039"/>
                    <a:pt x="139408" y="6299"/>
                    <a:pt x="135629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8"/>
                    <a:pt x="126810" y="12598"/>
                    <a:pt x="124290" y="12598"/>
                  </a:cubicBezTo>
                  <a:cubicBezTo>
                    <a:pt x="123030" y="12598"/>
                    <a:pt x="121770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1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7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5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6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7" y="28976"/>
                  </a:cubicBezTo>
                  <a:cubicBezTo>
                    <a:pt x="67598" y="30236"/>
                    <a:pt x="62559" y="31496"/>
                    <a:pt x="58779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4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5" y="52913"/>
                  </a:lnTo>
                  <a:cubicBezTo>
                    <a:pt x="13426" y="54173"/>
                    <a:pt x="10906" y="54173"/>
                    <a:pt x="9646" y="55432"/>
                  </a:cubicBezTo>
                  <a:cubicBezTo>
                    <a:pt x="7126" y="56692"/>
                    <a:pt x="5867" y="57952"/>
                    <a:pt x="3347" y="60472"/>
                  </a:cubicBezTo>
                  <a:cubicBezTo>
                    <a:pt x="2087" y="61731"/>
                    <a:pt x="827" y="62991"/>
                    <a:pt x="827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6" y="76849"/>
                  </a:cubicBezTo>
                  <a:cubicBezTo>
                    <a:pt x="10906" y="78109"/>
                    <a:pt x="12166" y="79369"/>
                    <a:pt x="14685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4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8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5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4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40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7" y="78109"/>
                    <a:pt x="217517" y="79369"/>
                  </a:cubicBezTo>
                  <a:cubicBezTo>
                    <a:pt x="218777" y="80629"/>
                    <a:pt x="220037" y="81889"/>
                    <a:pt x="222556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5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4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3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2" y="71810"/>
                    <a:pt x="257832" y="70550"/>
                  </a:cubicBezTo>
                  <a:cubicBezTo>
                    <a:pt x="257832" y="66771"/>
                    <a:pt x="257832" y="62991"/>
                    <a:pt x="257832" y="60472"/>
                  </a:cubicBezTo>
                  <a:cubicBezTo>
                    <a:pt x="257832" y="59212"/>
                    <a:pt x="257832" y="56692"/>
                    <a:pt x="257832" y="55432"/>
                  </a:cubicBezTo>
                  <a:cubicBezTo>
                    <a:pt x="257832" y="54173"/>
                    <a:pt x="257832" y="54173"/>
                    <a:pt x="257832" y="52913"/>
                  </a:cubicBezTo>
                  <a:cubicBezTo>
                    <a:pt x="257832" y="49133"/>
                    <a:pt x="257832" y="46614"/>
                    <a:pt x="257832" y="42834"/>
                  </a:cubicBezTo>
                  <a:lnTo>
                    <a:pt x="257832" y="40315"/>
                  </a:lnTo>
                  <a:lnTo>
                    <a:pt x="257832" y="36535"/>
                  </a:lnTo>
                  <a:cubicBezTo>
                    <a:pt x="257832" y="34015"/>
                    <a:pt x="257832" y="31496"/>
                    <a:pt x="257832" y="27716"/>
                  </a:cubicBezTo>
                  <a:cubicBezTo>
                    <a:pt x="257832" y="25196"/>
                    <a:pt x="257832" y="23937"/>
                    <a:pt x="257832" y="21417"/>
                  </a:cubicBezTo>
                  <a:cubicBezTo>
                    <a:pt x="257832" y="18897"/>
                    <a:pt x="257832" y="17637"/>
                    <a:pt x="257832" y="15118"/>
                  </a:cubicBezTo>
                  <a:cubicBezTo>
                    <a:pt x="257832" y="13858"/>
                    <a:pt x="257832" y="12598"/>
                    <a:pt x="256572" y="11338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39"/>
                  </a:cubicBezTo>
                  <a:cubicBezTo>
                    <a:pt x="256572" y="2520"/>
                    <a:pt x="255312" y="1260"/>
                    <a:pt x="252792" y="1260"/>
                  </a:cubicBezTo>
                  <a:moveTo>
                    <a:pt x="8386" y="65511"/>
                  </a:moveTo>
                  <a:cubicBezTo>
                    <a:pt x="9646" y="64251"/>
                    <a:pt x="10906" y="64251"/>
                    <a:pt x="12166" y="62991"/>
                  </a:cubicBezTo>
                  <a:cubicBezTo>
                    <a:pt x="13426" y="61731"/>
                    <a:pt x="14685" y="61731"/>
                    <a:pt x="15945" y="60472"/>
                  </a:cubicBezTo>
                  <a:lnTo>
                    <a:pt x="17205" y="60472"/>
                  </a:lnTo>
                  <a:cubicBezTo>
                    <a:pt x="18465" y="59212"/>
                    <a:pt x="19725" y="59212"/>
                    <a:pt x="20985" y="59212"/>
                  </a:cubicBezTo>
                  <a:lnTo>
                    <a:pt x="22244" y="57952"/>
                  </a:lnTo>
                  <a:cubicBezTo>
                    <a:pt x="23504" y="56692"/>
                    <a:pt x="26024" y="56692"/>
                    <a:pt x="28544" y="55432"/>
                  </a:cubicBezTo>
                  <a:cubicBezTo>
                    <a:pt x="31063" y="54173"/>
                    <a:pt x="33583" y="54173"/>
                    <a:pt x="34843" y="52913"/>
                  </a:cubicBezTo>
                  <a:cubicBezTo>
                    <a:pt x="32323" y="54173"/>
                    <a:pt x="28544" y="56692"/>
                    <a:pt x="26024" y="57952"/>
                  </a:cubicBezTo>
                  <a:lnTo>
                    <a:pt x="26024" y="57952"/>
                  </a:lnTo>
                  <a:cubicBezTo>
                    <a:pt x="22244" y="60472"/>
                    <a:pt x="19725" y="61731"/>
                    <a:pt x="15945" y="64251"/>
                  </a:cubicBezTo>
                  <a:cubicBezTo>
                    <a:pt x="14685" y="64251"/>
                    <a:pt x="13426" y="65511"/>
                    <a:pt x="12166" y="65511"/>
                  </a:cubicBezTo>
                  <a:cubicBezTo>
                    <a:pt x="10906" y="65511"/>
                    <a:pt x="9646" y="65511"/>
                    <a:pt x="8386" y="6551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/>
            <p:cNvSpPr/>
            <p:nvPr/>
          </p:nvSpPr>
          <p:spPr>
            <a:xfrm>
              <a:off x="9609131" y="4904508"/>
              <a:ext cx="42902" cy="25741"/>
            </a:xfrm>
            <a:custGeom>
              <a:avLst/>
              <a:gdLst>
                <a:gd name="connsiteX0" fmla="*/ 73070 w 62991"/>
                <a:gd name="connsiteY0" fmla="*/ 2863 h 37794"/>
                <a:gd name="connsiteX1" fmla="*/ 74330 w 62991"/>
                <a:gd name="connsiteY1" fmla="*/ 6642 h 37794"/>
                <a:gd name="connsiteX2" fmla="*/ 71810 w 62991"/>
                <a:gd name="connsiteY2" fmla="*/ 11682 h 37794"/>
                <a:gd name="connsiteX3" fmla="*/ 66771 w 62991"/>
                <a:gd name="connsiteY3" fmla="*/ 14202 h 37794"/>
                <a:gd name="connsiteX4" fmla="*/ 64251 w 62991"/>
                <a:gd name="connsiteY4" fmla="*/ 15461 h 37794"/>
                <a:gd name="connsiteX5" fmla="*/ 57952 w 62991"/>
                <a:gd name="connsiteY5" fmla="*/ 17981 h 37794"/>
                <a:gd name="connsiteX6" fmla="*/ 45354 w 62991"/>
                <a:gd name="connsiteY6" fmla="*/ 23020 h 37794"/>
                <a:gd name="connsiteX7" fmla="*/ 13858 w 62991"/>
                <a:gd name="connsiteY7" fmla="*/ 36878 h 37794"/>
                <a:gd name="connsiteX8" fmla="*/ 11339 w 62991"/>
                <a:gd name="connsiteY8" fmla="*/ 38138 h 37794"/>
                <a:gd name="connsiteX9" fmla="*/ 6299 w 62991"/>
                <a:gd name="connsiteY9" fmla="*/ 38138 h 37794"/>
                <a:gd name="connsiteX10" fmla="*/ 1260 w 62991"/>
                <a:gd name="connsiteY10" fmla="*/ 34358 h 37794"/>
                <a:gd name="connsiteX11" fmla="*/ 0 w 62991"/>
                <a:gd name="connsiteY11" fmla="*/ 28059 h 37794"/>
                <a:gd name="connsiteX12" fmla="*/ 3780 w 62991"/>
                <a:gd name="connsiteY12" fmla="*/ 23020 h 37794"/>
                <a:gd name="connsiteX13" fmla="*/ 35275 w 62991"/>
                <a:gd name="connsiteY13" fmla="*/ 10422 h 37794"/>
                <a:gd name="connsiteX14" fmla="*/ 62991 w 62991"/>
                <a:gd name="connsiteY14" fmla="*/ 343 h 37794"/>
                <a:gd name="connsiteX15" fmla="*/ 65511 w 62991"/>
                <a:gd name="connsiteY15" fmla="*/ 343 h 37794"/>
                <a:gd name="connsiteX16" fmla="*/ 73070 w 62991"/>
                <a:gd name="connsiteY16" fmla="*/ 28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863"/>
                  </a:moveTo>
                  <a:cubicBezTo>
                    <a:pt x="73070" y="4123"/>
                    <a:pt x="74330" y="5383"/>
                    <a:pt x="74330" y="6642"/>
                  </a:cubicBezTo>
                  <a:cubicBezTo>
                    <a:pt x="74330" y="7902"/>
                    <a:pt x="73070" y="10422"/>
                    <a:pt x="71810" y="11682"/>
                  </a:cubicBezTo>
                  <a:cubicBezTo>
                    <a:pt x="70550" y="12942"/>
                    <a:pt x="69290" y="14202"/>
                    <a:pt x="66771" y="14202"/>
                  </a:cubicBezTo>
                  <a:cubicBezTo>
                    <a:pt x="65511" y="14202"/>
                    <a:pt x="64251" y="15461"/>
                    <a:pt x="64251" y="15461"/>
                  </a:cubicBezTo>
                  <a:cubicBezTo>
                    <a:pt x="61732" y="16721"/>
                    <a:pt x="60472" y="17981"/>
                    <a:pt x="57952" y="17981"/>
                  </a:cubicBezTo>
                  <a:cubicBezTo>
                    <a:pt x="54173" y="20501"/>
                    <a:pt x="50393" y="21760"/>
                    <a:pt x="45354" y="23020"/>
                  </a:cubicBezTo>
                  <a:cubicBezTo>
                    <a:pt x="35275" y="28059"/>
                    <a:pt x="23937" y="31839"/>
                    <a:pt x="13858" y="36878"/>
                  </a:cubicBezTo>
                  <a:cubicBezTo>
                    <a:pt x="12598" y="36878"/>
                    <a:pt x="12598" y="36878"/>
                    <a:pt x="11339" y="38138"/>
                  </a:cubicBezTo>
                  <a:cubicBezTo>
                    <a:pt x="10079" y="38138"/>
                    <a:pt x="8819" y="38138"/>
                    <a:pt x="6299" y="38138"/>
                  </a:cubicBezTo>
                  <a:cubicBezTo>
                    <a:pt x="3780" y="38138"/>
                    <a:pt x="2520" y="35618"/>
                    <a:pt x="1260" y="34358"/>
                  </a:cubicBezTo>
                  <a:cubicBezTo>
                    <a:pt x="0" y="31839"/>
                    <a:pt x="0" y="30579"/>
                    <a:pt x="0" y="28059"/>
                  </a:cubicBezTo>
                  <a:cubicBezTo>
                    <a:pt x="0" y="26800"/>
                    <a:pt x="2520" y="24280"/>
                    <a:pt x="3780" y="23020"/>
                  </a:cubicBezTo>
                  <a:cubicBezTo>
                    <a:pt x="13858" y="19241"/>
                    <a:pt x="25196" y="14202"/>
                    <a:pt x="35275" y="10422"/>
                  </a:cubicBezTo>
                  <a:cubicBezTo>
                    <a:pt x="44094" y="6642"/>
                    <a:pt x="52913" y="2863"/>
                    <a:pt x="62991" y="343"/>
                  </a:cubicBezTo>
                  <a:cubicBezTo>
                    <a:pt x="64251" y="343"/>
                    <a:pt x="64251" y="343"/>
                    <a:pt x="65511" y="343"/>
                  </a:cubicBezTo>
                  <a:cubicBezTo>
                    <a:pt x="69290" y="-917"/>
                    <a:pt x="71810" y="1603"/>
                    <a:pt x="73070" y="286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/>
            <p:cNvSpPr/>
            <p:nvPr/>
          </p:nvSpPr>
          <p:spPr>
            <a:xfrm>
              <a:off x="9600551" y="4895304"/>
              <a:ext cx="154446" cy="34321"/>
            </a:xfrm>
            <a:custGeom>
              <a:avLst/>
              <a:gdLst>
                <a:gd name="connsiteX0" fmla="*/ 99526 w 226768"/>
                <a:gd name="connsiteY0" fmla="*/ 0 h 50392"/>
                <a:gd name="connsiteX1" fmla="*/ 99526 w 226768"/>
                <a:gd name="connsiteY1" fmla="*/ 0 h 50392"/>
                <a:gd name="connsiteX2" fmla="*/ 95747 w 226768"/>
                <a:gd name="connsiteY2" fmla="*/ 0 h 50392"/>
                <a:gd name="connsiteX3" fmla="*/ 68031 w 226768"/>
                <a:gd name="connsiteY3" fmla="*/ 10078 h 50392"/>
                <a:gd name="connsiteX4" fmla="*/ 56692 w 226768"/>
                <a:gd name="connsiteY4" fmla="*/ 15118 h 50392"/>
                <a:gd name="connsiteX5" fmla="*/ 46614 w 226768"/>
                <a:gd name="connsiteY5" fmla="*/ 18897 h 50392"/>
                <a:gd name="connsiteX6" fmla="*/ 23937 w 226768"/>
                <a:gd name="connsiteY6" fmla="*/ 28976 h 50392"/>
                <a:gd name="connsiteX7" fmla="*/ 12598 w 226768"/>
                <a:gd name="connsiteY7" fmla="*/ 35275 h 50392"/>
                <a:gd name="connsiteX8" fmla="*/ 7559 w 226768"/>
                <a:gd name="connsiteY8" fmla="*/ 39055 h 50392"/>
                <a:gd name="connsiteX9" fmla="*/ 2520 w 226768"/>
                <a:gd name="connsiteY9" fmla="*/ 42834 h 50392"/>
                <a:gd name="connsiteX10" fmla="*/ 0 w 226768"/>
                <a:gd name="connsiteY10" fmla="*/ 46614 h 50392"/>
                <a:gd name="connsiteX11" fmla="*/ 0 w 226768"/>
                <a:gd name="connsiteY11" fmla="*/ 49133 h 50392"/>
                <a:gd name="connsiteX12" fmla="*/ 0 w 226768"/>
                <a:gd name="connsiteY12" fmla="*/ 50393 h 50392"/>
                <a:gd name="connsiteX13" fmla="*/ 5040 w 226768"/>
                <a:gd name="connsiteY13" fmla="*/ 54172 h 50392"/>
                <a:gd name="connsiteX14" fmla="*/ 11339 w 226768"/>
                <a:gd name="connsiteY14" fmla="*/ 55432 h 50392"/>
                <a:gd name="connsiteX15" fmla="*/ 23937 w 226768"/>
                <a:gd name="connsiteY15" fmla="*/ 55432 h 50392"/>
                <a:gd name="connsiteX16" fmla="*/ 22677 w 226768"/>
                <a:gd name="connsiteY16" fmla="*/ 55432 h 50392"/>
                <a:gd name="connsiteX17" fmla="*/ 31496 w 226768"/>
                <a:gd name="connsiteY17" fmla="*/ 55432 h 50392"/>
                <a:gd name="connsiteX18" fmla="*/ 41574 w 226768"/>
                <a:gd name="connsiteY18" fmla="*/ 55432 h 50392"/>
                <a:gd name="connsiteX19" fmla="*/ 57952 w 226768"/>
                <a:gd name="connsiteY19" fmla="*/ 55432 h 50392"/>
                <a:gd name="connsiteX20" fmla="*/ 75589 w 226768"/>
                <a:gd name="connsiteY20" fmla="*/ 55432 h 50392"/>
                <a:gd name="connsiteX21" fmla="*/ 74330 w 226768"/>
                <a:gd name="connsiteY21" fmla="*/ 55432 h 50392"/>
                <a:gd name="connsiteX22" fmla="*/ 84408 w 226768"/>
                <a:gd name="connsiteY22" fmla="*/ 55432 h 50392"/>
                <a:gd name="connsiteX23" fmla="*/ 94487 w 226768"/>
                <a:gd name="connsiteY23" fmla="*/ 55432 h 50392"/>
                <a:gd name="connsiteX24" fmla="*/ 105825 w 226768"/>
                <a:gd name="connsiteY24" fmla="*/ 55432 h 50392"/>
                <a:gd name="connsiteX25" fmla="*/ 104566 w 226768"/>
                <a:gd name="connsiteY25" fmla="*/ 55432 h 50392"/>
                <a:gd name="connsiteX26" fmla="*/ 114644 w 226768"/>
                <a:gd name="connsiteY26" fmla="*/ 55432 h 50392"/>
                <a:gd name="connsiteX27" fmla="*/ 124723 w 226768"/>
                <a:gd name="connsiteY27" fmla="*/ 55432 h 50392"/>
                <a:gd name="connsiteX28" fmla="*/ 134801 w 226768"/>
                <a:gd name="connsiteY28" fmla="*/ 54172 h 50392"/>
                <a:gd name="connsiteX29" fmla="*/ 144880 w 226768"/>
                <a:gd name="connsiteY29" fmla="*/ 54172 h 50392"/>
                <a:gd name="connsiteX30" fmla="*/ 156218 w 226768"/>
                <a:gd name="connsiteY30" fmla="*/ 54172 h 50392"/>
                <a:gd name="connsiteX31" fmla="*/ 162518 w 226768"/>
                <a:gd name="connsiteY31" fmla="*/ 54172 h 50392"/>
                <a:gd name="connsiteX32" fmla="*/ 167557 w 226768"/>
                <a:gd name="connsiteY32" fmla="*/ 54172 h 50392"/>
                <a:gd name="connsiteX33" fmla="*/ 190233 w 226768"/>
                <a:gd name="connsiteY33" fmla="*/ 55432 h 50392"/>
                <a:gd name="connsiteX34" fmla="*/ 201572 w 226768"/>
                <a:gd name="connsiteY34" fmla="*/ 55432 h 50392"/>
                <a:gd name="connsiteX35" fmla="*/ 214170 w 226768"/>
                <a:gd name="connsiteY35" fmla="*/ 54172 h 50392"/>
                <a:gd name="connsiteX36" fmla="*/ 219210 w 226768"/>
                <a:gd name="connsiteY36" fmla="*/ 54172 h 50392"/>
                <a:gd name="connsiteX37" fmla="*/ 221729 w 226768"/>
                <a:gd name="connsiteY37" fmla="*/ 54172 h 50392"/>
                <a:gd name="connsiteX38" fmla="*/ 225509 w 226768"/>
                <a:gd name="connsiteY38" fmla="*/ 52913 h 50392"/>
                <a:gd name="connsiteX39" fmla="*/ 228028 w 226768"/>
                <a:gd name="connsiteY39" fmla="*/ 51653 h 50392"/>
                <a:gd name="connsiteX40" fmla="*/ 230548 w 226768"/>
                <a:gd name="connsiteY40" fmla="*/ 49133 h 50392"/>
                <a:gd name="connsiteX41" fmla="*/ 233067 w 226768"/>
                <a:gd name="connsiteY41" fmla="*/ 46614 h 50392"/>
                <a:gd name="connsiteX42" fmla="*/ 236847 w 226768"/>
                <a:gd name="connsiteY42" fmla="*/ 41574 h 50392"/>
                <a:gd name="connsiteX43" fmla="*/ 238107 w 226768"/>
                <a:gd name="connsiteY43" fmla="*/ 39055 h 50392"/>
                <a:gd name="connsiteX44" fmla="*/ 236847 w 226768"/>
                <a:gd name="connsiteY44" fmla="*/ 36535 h 50392"/>
                <a:gd name="connsiteX45" fmla="*/ 234327 w 226768"/>
                <a:gd name="connsiteY45" fmla="*/ 35275 h 50392"/>
                <a:gd name="connsiteX46" fmla="*/ 231808 w 226768"/>
                <a:gd name="connsiteY46" fmla="*/ 36535 h 50392"/>
                <a:gd name="connsiteX47" fmla="*/ 228028 w 226768"/>
                <a:gd name="connsiteY47" fmla="*/ 41574 h 50392"/>
                <a:gd name="connsiteX48" fmla="*/ 226768 w 226768"/>
                <a:gd name="connsiteY48" fmla="*/ 44094 h 50392"/>
                <a:gd name="connsiteX49" fmla="*/ 225509 w 226768"/>
                <a:gd name="connsiteY49" fmla="*/ 46614 h 50392"/>
                <a:gd name="connsiteX50" fmla="*/ 224249 w 226768"/>
                <a:gd name="connsiteY50" fmla="*/ 46614 h 50392"/>
                <a:gd name="connsiteX51" fmla="*/ 222989 w 226768"/>
                <a:gd name="connsiteY51" fmla="*/ 46614 h 50392"/>
                <a:gd name="connsiteX52" fmla="*/ 214170 w 226768"/>
                <a:gd name="connsiteY52" fmla="*/ 47873 h 50392"/>
                <a:gd name="connsiteX53" fmla="*/ 204092 w 226768"/>
                <a:gd name="connsiteY53" fmla="*/ 47873 h 50392"/>
                <a:gd name="connsiteX54" fmla="*/ 183934 w 226768"/>
                <a:gd name="connsiteY54" fmla="*/ 47873 h 50392"/>
                <a:gd name="connsiteX55" fmla="*/ 168817 w 226768"/>
                <a:gd name="connsiteY55" fmla="*/ 47873 h 50392"/>
                <a:gd name="connsiteX56" fmla="*/ 152439 w 226768"/>
                <a:gd name="connsiteY56" fmla="*/ 47873 h 50392"/>
                <a:gd name="connsiteX57" fmla="*/ 153699 w 226768"/>
                <a:gd name="connsiteY57" fmla="*/ 47873 h 50392"/>
                <a:gd name="connsiteX58" fmla="*/ 151179 w 226768"/>
                <a:gd name="connsiteY58" fmla="*/ 47873 h 50392"/>
                <a:gd name="connsiteX59" fmla="*/ 138581 w 226768"/>
                <a:gd name="connsiteY59" fmla="*/ 47873 h 50392"/>
                <a:gd name="connsiteX60" fmla="*/ 125982 w 226768"/>
                <a:gd name="connsiteY60" fmla="*/ 49133 h 50392"/>
                <a:gd name="connsiteX61" fmla="*/ 113384 w 226768"/>
                <a:gd name="connsiteY61" fmla="*/ 49133 h 50392"/>
                <a:gd name="connsiteX62" fmla="*/ 102046 w 226768"/>
                <a:gd name="connsiteY62" fmla="*/ 49133 h 50392"/>
                <a:gd name="connsiteX63" fmla="*/ 91967 w 226768"/>
                <a:gd name="connsiteY63" fmla="*/ 49133 h 50392"/>
                <a:gd name="connsiteX64" fmla="*/ 80629 w 226768"/>
                <a:gd name="connsiteY64" fmla="*/ 49133 h 50392"/>
                <a:gd name="connsiteX65" fmla="*/ 81889 w 226768"/>
                <a:gd name="connsiteY65" fmla="*/ 49133 h 50392"/>
                <a:gd name="connsiteX66" fmla="*/ 66771 w 226768"/>
                <a:gd name="connsiteY66" fmla="*/ 49133 h 50392"/>
                <a:gd name="connsiteX67" fmla="*/ 59212 w 226768"/>
                <a:gd name="connsiteY67" fmla="*/ 49133 h 50392"/>
                <a:gd name="connsiteX68" fmla="*/ 52913 w 226768"/>
                <a:gd name="connsiteY68" fmla="*/ 49133 h 50392"/>
                <a:gd name="connsiteX69" fmla="*/ 41574 w 226768"/>
                <a:gd name="connsiteY69" fmla="*/ 49133 h 50392"/>
                <a:gd name="connsiteX70" fmla="*/ 35275 w 226768"/>
                <a:gd name="connsiteY70" fmla="*/ 49133 h 50392"/>
                <a:gd name="connsiteX71" fmla="*/ 30236 w 226768"/>
                <a:gd name="connsiteY71" fmla="*/ 49133 h 50392"/>
                <a:gd name="connsiteX72" fmla="*/ 25196 w 226768"/>
                <a:gd name="connsiteY72" fmla="*/ 49133 h 50392"/>
                <a:gd name="connsiteX73" fmla="*/ 18897 w 226768"/>
                <a:gd name="connsiteY73" fmla="*/ 49133 h 50392"/>
                <a:gd name="connsiteX74" fmla="*/ 16378 w 226768"/>
                <a:gd name="connsiteY74" fmla="*/ 49133 h 50392"/>
                <a:gd name="connsiteX75" fmla="*/ 18897 w 226768"/>
                <a:gd name="connsiteY75" fmla="*/ 47873 h 50392"/>
                <a:gd name="connsiteX76" fmla="*/ 26456 w 226768"/>
                <a:gd name="connsiteY76" fmla="*/ 42834 h 50392"/>
                <a:gd name="connsiteX77" fmla="*/ 35275 w 226768"/>
                <a:gd name="connsiteY77" fmla="*/ 39055 h 50392"/>
                <a:gd name="connsiteX78" fmla="*/ 54173 w 226768"/>
                <a:gd name="connsiteY78" fmla="*/ 31496 h 50392"/>
                <a:gd name="connsiteX79" fmla="*/ 78109 w 226768"/>
                <a:gd name="connsiteY79" fmla="*/ 22677 h 50392"/>
                <a:gd name="connsiteX80" fmla="*/ 100786 w 226768"/>
                <a:gd name="connsiteY80" fmla="*/ 12598 h 50392"/>
                <a:gd name="connsiteX81" fmla="*/ 103306 w 226768"/>
                <a:gd name="connsiteY81" fmla="*/ 7559 h 50392"/>
                <a:gd name="connsiteX82" fmla="*/ 99526 w 226768"/>
                <a:gd name="connsiteY82" fmla="*/ 0 h 50392"/>
                <a:gd name="connsiteX83" fmla="*/ 17638 w 226768"/>
                <a:gd name="connsiteY83" fmla="*/ 44094 h 50392"/>
                <a:gd name="connsiteX84" fmla="*/ 17638 w 226768"/>
                <a:gd name="connsiteY84" fmla="*/ 44094 h 50392"/>
                <a:gd name="connsiteX85" fmla="*/ 17638 w 226768"/>
                <a:gd name="connsiteY85" fmla="*/ 44094 h 50392"/>
                <a:gd name="connsiteX86" fmla="*/ 7559 w 226768"/>
                <a:gd name="connsiteY86" fmla="*/ 44094 h 50392"/>
                <a:gd name="connsiteX87" fmla="*/ 7559 w 226768"/>
                <a:gd name="connsiteY87" fmla="*/ 44094 h 50392"/>
                <a:gd name="connsiteX88" fmla="*/ 7559 w 226768"/>
                <a:gd name="connsiteY88" fmla="*/ 44094 h 50392"/>
                <a:gd name="connsiteX89" fmla="*/ 85668 w 226768"/>
                <a:gd name="connsiteY89" fmla="*/ 54172 h 50392"/>
                <a:gd name="connsiteX90" fmla="*/ 85668 w 226768"/>
                <a:gd name="connsiteY90" fmla="*/ 54172 h 50392"/>
                <a:gd name="connsiteX91" fmla="*/ 85668 w 226768"/>
                <a:gd name="connsiteY91" fmla="*/ 54172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0"/>
                  </a:moveTo>
                  <a:cubicBezTo>
                    <a:pt x="99526" y="0"/>
                    <a:pt x="98266" y="0"/>
                    <a:pt x="99526" y="0"/>
                  </a:cubicBezTo>
                  <a:cubicBezTo>
                    <a:pt x="98266" y="0"/>
                    <a:pt x="97007" y="0"/>
                    <a:pt x="95747" y="0"/>
                  </a:cubicBezTo>
                  <a:cubicBezTo>
                    <a:pt x="86928" y="2520"/>
                    <a:pt x="78109" y="6299"/>
                    <a:pt x="68031" y="10078"/>
                  </a:cubicBezTo>
                  <a:cubicBezTo>
                    <a:pt x="64251" y="11338"/>
                    <a:pt x="60472" y="12598"/>
                    <a:pt x="56692" y="15118"/>
                  </a:cubicBezTo>
                  <a:cubicBezTo>
                    <a:pt x="52913" y="16378"/>
                    <a:pt x="49133" y="17637"/>
                    <a:pt x="46614" y="18897"/>
                  </a:cubicBezTo>
                  <a:cubicBezTo>
                    <a:pt x="39055" y="22677"/>
                    <a:pt x="31496" y="25196"/>
                    <a:pt x="23937" y="28976"/>
                  </a:cubicBezTo>
                  <a:cubicBezTo>
                    <a:pt x="20157" y="31496"/>
                    <a:pt x="16378" y="32755"/>
                    <a:pt x="12598" y="35275"/>
                  </a:cubicBezTo>
                  <a:cubicBezTo>
                    <a:pt x="11339" y="36535"/>
                    <a:pt x="8819" y="37795"/>
                    <a:pt x="7559" y="39055"/>
                  </a:cubicBezTo>
                  <a:cubicBezTo>
                    <a:pt x="6299" y="40315"/>
                    <a:pt x="3780" y="41574"/>
                    <a:pt x="2520" y="4283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7873"/>
                    <a:pt x="0" y="47873"/>
                    <a:pt x="0" y="49133"/>
                  </a:cubicBezTo>
                  <a:cubicBezTo>
                    <a:pt x="0" y="49133"/>
                    <a:pt x="0" y="50393"/>
                    <a:pt x="0" y="50393"/>
                  </a:cubicBezTo>
                  <a:cubicBezTo>
                    <a:pt x="1260" y="51653"/>
                    <a:pt x="2520" y="52913"/>
                    <a:pt x="5040" y="54172"/>
                  </a:cubicBezTo>
                  <a:cubicBezTo>
                    <a:pt x="6299" y="54172"/>
                    <a:pt x="8819" y="55432"/>
                    <a:pt x="11339" y="55432"/>
                  </a:cubicBezTo>
                  <a:cubicBezTo>
                    <a:pt x="15118" y="55432"/>
                    <a:pt x="18897" y="55432"/>
                    <a:pt x="23937" y="55432"/>
                  </a:cubicBezTo>
                  <a:cubicBezTo>
                    <a:pt x="23937" y="55432"/>
                    <a:pt x="22677" y="55432"/>
                    <a:pt x="22677" y="55432"/>
                  </a:cubicBezTo>
                  <a:cubicBezTo>
                    <a:pt x="25196" y="55432"/>
                    <a:pt x="28976" y="55432"/>
                    <a:pt x="31496" y="55432"/>
                  </a:cubicBezTo>
                  <a:cubicBezTo>
                    <a:pt x="35275" y="55432"/>
                    <a:pt x="37795" y="55432"/>
                    <a:pt x="41574" y="55432"/>
                  </a:cubicBezTo>
                  <a:cubicBezTo>
                    <a:pt x="46614" y="55432"/>
                    <a:pt x="52913" y="55432"/>
                    <a:pt x="57952" y="55432"/>
                  </a:cubicBezTo>
                  <a:cubicBezTo>
                    <a:pt x="64251" y="55432"/>
                    <a:pt x="70550" y="55432"/>
                    <a:pt x="75589" y="55432"/>
                  </a:cubicBezTo>
                  <a:cubicBezTo>
                    <a:pt x="75589" y="55432"/>
                    <a:pt x="75589" y="55432"/>
                    <a:pt x="74330" y="55432"/>
                  </a:cubicBezTo>
                  <a:cubicBezTo>
                    <a:pt x="78109" y="55432"/>
                    <a:pt x="80629" y="55432"/>
                    <a:pt x="84408" y="55432"/>
                  </a:cubicBezTo>
                  <a:cubicBezTo>
                    <a:pt x="88188" y="55432"/>
                    <a:pt x="90707" y="55432"/>
                    <a:pt x="94487" y="55432"/>
                  </a:cubicBezTo>
                  <a:cubicBezTo>
                    <a:pt x="98266" y="55432"/>
                    <a:pt x="102046" y="55432"/>
                    <a:pt x="105825" y="55432"/>
                  </a:cubicBezTo>
                  <a:lnTo>
                    <a:pt x="104566" y="55432"/>
                  </a:lnTo>
                  <a:cubicBezTo>
                    <a:pt x="108345" y="55432"/>
                    <a:pt x="110865" y="55432"/>
                    <a:pt x="114644" y="55432"/>
                  </a:cubicBezTo>
                  <a:cubicBezTo>
                    <a:pt x="118424" y="55432"/>
                    <a:pt x="122203" y="55432"/>
                    <a:pt x="124723" y="55432"/>
                  </a:cubicBezTo>
                  <a:cubicBezTo>
                    <a:pt x="128502" y="55432"/>
                    <a:pt x="131022" y="55432"/>
                    <a:pt x="134801" y="54172"/>
                  </a:cubicBezTo>
                  <a:cubicBezTo>
                    <a:pt x="138581" y="54172"/>
                    <a:pt x="141100" y="54172"/>
                    <a:pt x="144880" y="54172"/>
                  </a:cubicBezTo>
                  <a:cubicBezTo>
                    <a:pt x="148659" y="54172"/>
                    <a:pt x="152439" y="54172"/>
                    <a:pt x="156218" y="54172"/>
                  </a:cubicBezTo>
                  <a:cubicBezTo>
                    <a:pt x="158738" y="54172"/>
                    <a:pt x="159998" y="54172"/>
                    <a:pt x="162518" y="54172"/>
                  </a:cubicBezTo>
                  <a:cubicBezTo>
                    <a:pt x="163777" y="54172"/>
                    <a:pt x="166297" y="54172"/>
                    <a:pt x="167557" y="54172"/>
                  </a:cubicBezTo>
                  <a:cubicBezTo>
                    <a:pt x="175116" y="54172"/>
                    <a:pt x="182674" y="55432"/>
                    <a:pt x="190233" y="55432"/>
                  </a:cubicBezTo>
                  <a:cubicBezTo>
                    <a:pt x="194013" y="55432"/>
                    <a:pt x="197792" y="55432"/>
                    <a:pt x="201572" y="55432"/>
                  </a:cubicBezTo>
                  <a:cubicBezTo>
                    <a:pt x="205351" y="55432"/>
                    <a:pt x="210391" y="55432"/>
                    <a:pt x="214170" y="54172"/>
                  </a:cubicBezTo>
                  <a:cubicBezTo>
                    <a:pt x="215430" y="54172"/>
                    <a:pt x="217950" y="54172"/>
                    <a:pt x="219210" y="54172"/>
                  </a:cubicBezTo>
                  <a:cubicBezTo>
                    <a:pt x="220469" y="54172"/>
                    <a:pt x="220469" y="54172"/>
                    <a:pt x="221729" y="54172"/>
                  </a:cubicBezTo>
                  <a:cubicBezTo>
                    <a:pt x="222989" y="54172"/>
                    <a:pt x="224249" y="54172"/>
                    <a:pt x="225509" y="52913"/>
                  </a:cubicBezTo>
                  <a:cubicBezTo>
                    <a:pt x="226768" y="52913"/>
                    <a:pt x="226768" y="51653"/>
                    <a:pt x="228028" y="51653"/>
                  </a:cubicBezTo>
                  <a:cubicBezTo>
                    <a:pt x="229288" y="50393"/>
                    <a:pt x="229288" y="50393"/>
                    <a:pt x="230548" y="49133"/>
                  </a:cubicBezTo>
                  <a:cubicBezTo>
                    <a:pt x="230548" y="47873"/>
                    <a:pt x="231808" y="47873"/>
                    <a:pt x="233067" y="46614"/>
                  </a:cubicBezTo>
                  <a:cubicBezTo>
                    <a:pt x="234327" y="45354"/>
                    <a:pt x="235587" y="42834"/>
                    <a:pt x="236847" y="41574"/>
                  </a:cubicBezTo>
                  <a:cubicBezTo>
                    <a:pt x="238107" y="40315"/>
                    <a:pt x="238107" y="39055"/>
                    <a:pt x="238107" y="39055"/>
                  </a:cubicBezTo>
                  <a:cubicBezTo>
                    <a:pt x="238107" y="37795"/>
                    <a:pt x="236847" y="36535"/>
                    <a:pt x="236847" y="36535"/>
                  </a:cubicBezTo>
                  <a:cubicBezTo>
                    <a:pt x="235587" y="36535"/>
                    <a:pt x="234327" y="35275"/>
                    <a:pt x="234327" y="35275"/>
                  </a:cubicBezTo>
                  <a:cubicBezTo>
                    <a:pt x="233067" y="35275"/>
                    <a:pt x="231808" y="36535"/>
                    <a:pt x="231808" y="36535"/>
                  </a:cubicBezTo>
                  <a:cubicBezTo>
                    <a:pt x="230548" y="37795"/>
                    <a:pt x="229288" y="40315"/>
                    <a:pt x="228028" y="41574"/>
                  </a:cubicBezTo>
                  <a:cubicBezTo>
                    <a:pt x="226768" y="42834"/>
                    <a:pt x="226768" y="42834"/>
                    <a:pt x="226768" y="44094"/>
                  </a:cubicBezTo>
                  <a:cubicBezTo>
                    <a:pt x="226768" y="45354"/>
                    <a:pt x="225509" y="45354"/>
                    <a:pt x="225509" y="46614"/>
                  </a:cubicBezTo>
                  <a:cubicBezTo>
                    <a:pt x="225509" y="46614"/>
                    <a:pt x="225509" y="46614"/>
                    <a:pt x="224249" y="46614"/>
                  </a:cubicBezTo>
                  <a:cubicBezTo>
                    <a:pt x="224249" y="46614"/>
                    <a:pt x="222989" y="46614"/>
                    <a:pt x="222989" y="46614"/>
                  </a:cubicBezTo>
                  <a:cubicBezTo>
                    <a:pt x="220469" y="47873"/>
                    <a:pt x="216690" y="47873"/>
                    <a:pt x="214170" y="47873"/>
                  </a:cubicBezTo>
                  <a:cubicBezTo>
                    <a:pt x="210391" y="47873"/>
                    <a:pt x="206611" y="47873"/>
                    <a:pt x="204092" y="47873"/>
                  </a:cubicBezTo>
                  <a:cubicBezTo>
                    <a:pt x="197792" y="47873"/>
                    <a:pt x="190233" y="47873"/>
                    <a:pt x="183934" y="47873"/>
                  </a:cubicBezTo>
                  <a:cubicBezTo>
                    <a:pt x="178895" y="47873"/>
                    <a:pt x="173856" y="47873"/>
                    <a:pt x="168817" y="47873"/>
                  </a:cubicBezTo>
                  <a:cubicBezTo>
                    <a:pt x="163777" y="47873"/>
                    <a:pt x="157478" y="47873"/>
                    <a:pt x="152439" y="47873"/>
                  </a:cubicBezTo>
                  <a:lnTo>
                    <a:pt x="153699" y="47873"/>
                  </a:lnTo>
                  <a:cubicBezTo>
                    <a:pt x="152439" y="47873"/>
                    <a:pt x="152439" y="47873"/>
                    <a:pt x="151179" y="47873"/>
                  </a:cubicBezTo>
                  <a:cubicBezTo>
                    <a:pt x="147399" y="47873"/>
                    <a:pt x="142360" y="47873"/>
                    <a:pt x="138581" y="47873"/>
                  </a:cubicBezTo>
                  <a:cubicBezTo>
                    <a:pt x="134801" y="47873"/>
                    <a:pt x="131022" y="47873"/>
                    <a:pt x="125982" y="49133"/>
                  </a:cubicBezTo>
                  <a:cubicBezTo>
                    <a:pt x="122203" y="49133"/>
                    <a:pt x="118424" y="49133"/>
                    <a:pt x="113384" y="49133"/>
                  </a:cubicBezTo>
                  <a:cubicBezTo>
                    <a:pt x="109605" y="49133"/>
                    <a:pt x="105825" y="49133"/>
                    <a:pt x="102046" y="49133"/>
                  </a:cubicBezTo>
                  <a:cubicBezTo>
                    <a:pt x="98266" y="49133"/>
                    <a:pt x="94487" y="49133"/>
                    <a:pt x="91967" y="49133"/>
                  </a:cubicBezTo>
                  <a:cubicBezTo>
                    <a:pt x="88188" y="49133"/>
                    <a:pt x="84408" y="49133"/>
                    <a:pt x="80629" y="49133"/>
                  </a:cubicBezTo>
                  <a:cubicBezTo>
                    <a:pt x="80629" y="49133"/>
                    <a:pt x="80629" y="49133"/>
                    <a:pt x="81889" y="49133"/>
                  </a:cubicBezTo>
                  <a:cubicBezTo>
                    <a:pt x="76849" y="49133"/>
                    <a:pt x="71810" y="49133"/>
                    <a:pt x="66771" y="49133"/>
                  </a:cubicBezTo>
                  <a:cubicBezTo>
                    <a:pt x="64251" y="49133"/>
                    <a:pt x="61732" y="49133"/>
                    <a:pt x="59212" y="49133"/>
                  </a:cubicBezTo>
                  <a:cubicBezTo>
                    <a:pt x="56692" y="49133"/>
                    <a:pt x="55433" y="49133"/>
                    <a:pt x="52913" y="49133"/>
                  </a:cubicBezTo>
                  <a:cubicBezTo>
                    <a:pt x="49133" y="49133"/>
                    <a:pt x="45354" y="49133"/>
                    <a:pt x="41574" y="49133"/>
                  </a:cubicBezTo>
                  <a:cubicBezTo>
                    <a:pt x="39055" y="49133"/>
                    <a:pt x="37795" y="49133"/>
                    <a:pt x="35275" y="49133"/>
                  </a:cubicBezTo>
                  <a:cubicBezTo>
                    <a:pt x="34015" y="49133"/>
                    <a:pt x="31496" y="49133"/>
                    <a:pt x="30236" y="49133"/>
                  </a:cubicBezTo>
                  <a:cubicBezTo>
                    <a:pt x="28976" y="49133"/>
                    <a:pt x="26456" y="49133"/>
                    <a:pt x="25196" y="49133"/>
                  </a:cubicBezTo>
                  <a:cubicBezTo>
                    <a:pt x="22677" y="49133"/>
                    <a:pt x="21417" y="49133"/>
                    <a:pt x="18897" y="49133"/>
                  </a:cubicBezTo>
                  <a:cubicBezTo>
                    <a:pt x="17638" y="49133"/>
                    <a:pt x="17638" y="49133"/>
                    <a:pt x="16378" y="49133"/>
                  </a:cubicBezTo>
                  <a:cubicBezTo>
                    <a:pt x="17638" y="49133"/>
                    <a:pt x="17638" y="47873"/>
                    <a:pt x="18897" y="47873"/>
                  </a:cubicBezTo>
                  <a:cubicBezTo>
                    <a:pt x="21417" y="46614"/>
                    <a:pt x="23937" y="45354"/>
                    <a:pt x="26456" y="42834"/>
                  </a:cubicBezTo>
                  <a:cubicBezTo>
                    <a:pt x="28976" y="41574"/>
                    <a:pt x="32755" y="40315"/>
                    <a:pt x="35275" y="39055"/>
                  </a:cubicBezTo>
                  <a:cubicBezTo>
                    <a:pt x="41574" y="36535"/>
                    <a:pt x="47874" y="34015"/>
                    <a:pt x="54173" y="31496"/>
                  </a:cubicBezTo>
                  <a:cubicBezTo>
                    <a:pt x="61732" y="27716"/>
                    <a:pt x="69290" y="25196"/>
                    <a:pt x="78109" y="22677"/>
                  </a:cubicBezTo>
                  <a:cubicBezTo>
                    <a:pt x="85668" y="20157"/>
                    <a:pt x="93227" y="16378"/>
                    <a:pt x="100786" y="12598"/>
                  </a:cubicBezTo>
                  <a:cubicBezTo>
                    <a:pt x="103306" y="11338"/>
                    <a:pt x="103306" y="8819"/>
                    <a:pt x="103306" y="7559"/>
                  </a:cubicBezTo>
                  <a:cubicBezTo>
                    <a:pt x="100786" y="1260"/>
                    <a:pt x="100786" y="1260"/>
                    <a:pt x="99526" y="0"/>
                  </a:cubicBezTo>
                  <a:moveTo>
                    <a:pt x="17638" y="44094"/>
                  </a:moveTo>
                  <a:cubicBezTo>
                    <a:pt x="16378" y="44094"/>
                    <a:pt x="16378" y="44094"/>
                    <a:pt x="17638" y="44094"/>
                  </a:cubicBezTo>
                  <a:cubicBezTo>
                    <a:pt x="16378" y="44094"/>
                    <a:pt x="16378" y="44094"/>
                    <a:pt x="17638" y="44094"/>
                  </a:cubicBezTo>
                  <a:moveTo>
                    <a:pt x="7559" y="44094"/>
                  </a:moveTo>
                  <a:cubicBezTo>
                    <a:pt x="7559" y="44094"/>
                    <a:pt x="7559" y="44094"/>
                    <a:pt x="7559" y="44094"/>
                  </a:cubicBezTo>
                  <a:cubicBezTo>
                    <a:pt x="7559" y="44094"/>
                    <a:pt x="7559" y="44094"/>
                    <a:pt x="7559" y="44094"/>
                  </a:cubicBezTo>
                  <a:moveTo>
                    <a:pt x="85668" y="54172"/>
                  </a:moveTo>
                  <a:cubicBezTo>
                    <a:pt x="85668" y="54172"/>
                    <a:pt x="85668" y="54172"/>
                    <a:pt x="85668" y="54172"/>
                  </a:cubicBezTo>
                  <a:cubicBezTo>
                    <a:pt x="85668" y="54172"/>
                    <a:pt x="85668" y="54172"/>
                    <a:pt x="85668" y="54172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/>
            <p:cNvSpPr/>
            <p:nvPr/>
          </p:nvSpPr>
          <p:spPr>
            <a:xfrm>
              <a:off x="9645690" y="4872136"/>
              <a:ext cx="137286" cy="34321"/>
            </a:xfrm>
            <a:custGeom>
              <a:avLst/>
              <a:gdLst>
                <a:gd name="connsiteX0" fmla="*/ 191987 w 201571"/>
                <a:gd name="connsiteY0" fmla="*/ 2520 h 50392"/>
                <a:gd name="connsiteX1" fmla="*/ 198286 w 201571"/>
                <a:gd name="connsiteY1" fmla="*/ 3780 h 50392"/>
                <a:gd name="connsiteX2" fmla="*/ 204585 w 201571"/>
                <a:gd name="connsiteY2" fmla="*/ 5040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9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5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9 h 50392"/>
                <a:gd name="connsiteX19" fmla="*/ 179389 w 201571"/>
                <a:gd name="connsiteY19" fmla="*/ 11339 h 50392"/>
                <a:gd name="connsiteX20" fmla="*/ 171830 w 201571"/>
                <a:gd name="connsiteY20" fmla="*/ 11339 h 50392"/>
                <a:gd name="connsiteX21" fmla="*/ 157972 w 201571"/>
                <a:gd name="connsiteY21" fmla="*/ 11339 h 50392"/>
                <a:gd name="connsiteX22" fmla="*/ 145374 w 201571"/>
                <a:gd name="connsiteY22" fmla="*/ 11339 h 50392"/>
                <a:gd name="connsiteX23" fmla="*/ 142854 w 201571"/>
                <a:gd name="connsiteY23" fmla="*/ 11339 h 50392"/>
                <a:gd name="connsiteX24" fmla="*/ 127736 w 201571"/>
                <a:gd name="connsiteY24" fmla="*/ 11339 h 50392"/>
                <a:gd name="connsiteX25" fmla="*/ 118918 w 201571"/>
                <a:gd name="connsiteY25" fmla="*/ 11339 h 50392"/>
                <a:gd name="connsiteX26" fmla="*/ 112618 w 201571"/>
                <a:gd name="connsiteY26" fmla="*/ 11339 h 50392"/>
                <a:gd name="connsiteX27" fmla="*/ 108839 w 201571"/>
                <a:gd name="connsiteY27" fmla="*/ 11339 h 50392"/>
                <a:gd name="connsiteX28" fmla="*/ 97500 w 201571"/>
                <a:gd name="connsiteY28" fmla="*/ 15118 h 50392"/>
                <a:gd name="connsiteX29" fmla="*/ 91201 w 201571"/>
                <a:gd name="connsiteY29" fmla="*/ 17638 h 50392"/>
                <a:gd name="connsiteX30" fmla="*/ 84902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4 h 50392"/>
                <a:gd name="connsiteX37" fmla="*/ 5533 w 201571"/>
                <a:gd name="connsiteY37" fmla="*/ 52913 h 50392"/>
                <a:gd name="connsiteX38" fmla="*/ 494 w 201571"/>
                <a:gd name="connsiteY38" fmla="*/ 50393 h 50392"/>
                <a:gd name="connsiteX39" fmla="*/ 3014 w 201571"/>
                <a:gd name="connsiteY39" fmla="*/ 45354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9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80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4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7 w 201571"/>
                <a:gd name="connsiteY61" fmla="*/ 252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7" y="2520"/>
                  </a:moveTo>
                  <a:cubicBezTo>
                    <a:pt x="194507" y="2520"/>
                    <a:pt x="195767" y="2520"/>
                    <a:pt x="198286" y="3780"/>
                  </a:cubicBezTo>
                  <a:cubicBezTo>
                    <a:pt x="200806" y="3780"/>
                    <a:pt x="203326" y="3780"/>
                    <a:pt x="204585" y="5040"/>
                  </a:cubicBezTo>
                  <a:cubicBezTo>
                    <a:pt x="205845" y="5040"/>
                    <a:pt x="207105" y="629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9"/>
                  </a:cubicBezTo>
                  <a:cubicBezTo>
                    <a:pt x="210885" y="11339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5" y="37795"/>
                  </a:cubicBezTo>
                  <a:cubicBezTo>
                    <a:pt x="204585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6" y="13858"/>
                    <a:pt x="197027" y="12598"/>
                    <a:pt x="194507" y="12598"/>
                  </a:cubicBezTo>
                  <a:cubicBezTo>
                    <a:pt x="191987" y="12598"/>
                    <a:pt x="189468" y="11339"/>
                    <a:pt x="186948" y="11339"/>
                  </a:cubicBezTo>
                  <a:cubicBezTo>
                    <a:pt x="184429" y="11339"/>
                    <a:pt x="181909" y="11339"/>
                    <a:pt x="179389" y="11339"/>
                  </a:cubicBezTo>
                  <a:cubicBezTo>
                    <a:pt x="176870" y="11339"/>
                    <a:pt x="174350" y="11339"/>
                    <a:pt x="171830" y="11339"/>
                  </a:cubicBezTo>
                  <a:cubicBezTo>
                    <a:pt x="166791" y="11339"/>
                    <a:pt x="163011" y="11339"/>
                    <a:pt x="157972" y="11339"/>
                  </a:cubicBezTo>
                  <a:cubicBezTo>
                    <a:pt x="154192" y="11339"/>
                    <a:pt x="149153" y="11339"/>
                    <a:pt x="145374" y="11339"/>
                  </a:cubicBezTo>
                  <a:cubicBezTo>
                    <a:pt x="144114" y="11339"/>
                    <a:pt x="144114" y="11339"/>
                    <a:pt x="142854" y="11339"/>
                  </a:cubicBezTo>
                  <a:cubicBezTo>
                    <a:pt x="137815" y="11339"/>
                    <a:pt x="132776" y="11339"/>
                    <a:pt x="127736" y="11339"/>
                  </a:cubicBezTo>
                  <a:cubicBezTo>
                    <a:pt x="125217" y="11339"/>
                    <a:pt x="121437" y="11339"/>
                    <a:pt x="118918" y="11339"/>
                  </a:cubicBezTo>
                  <a:cubicBezTo>
                    <a:pt x="116398" y="11339"/>
                    <a:pt x="113878" y="11339"/>
                    <a:pt x="112618" y="11339"/>
                  </a:cubicBezTo>
                  <a:cubicBezTo>
                    <a:pt x="111359" y="11339"/>
                    <a:pt x="110099" y="11339"/>
                    <a:pt x="108839" y="11339"/>
                  </a:cubicBezTo>
                  <a:cubicBezTo>
                    <a:pt x="105059" y="12598"/>
                    <a:pt x="101280" y="13858"/>
                    <a:pt x="97500" y="15118"/>
                  </a:cubicBezTo>
                  <a:cubicBezTo>
                    <a:pt x="94981" y="16378"/>
                    <a:pt x="92461" y="16378"/>
                    <a:pt x="91201" y="17638"/>
                  </a:cubicBezTo>
                  <a:cubicBezTo>
                    <a:pt x="88682" y="18897"/>
                    <a:pt x="87422" y="18897"/>
                    <a:pt x="84902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8" y="36535"/>
                    <a:pt x="31990" y="41574"/>
                  </a:cubicBezTo>
                  <a:cubicBezTo>
                    <a:pt x="28210" y="42834"/>
                    <a:pt x="24431" y="45354"/>
                    <a:pt x="19392" y="46614"/>
                  </a:cubicBezTo>
                  <a:cubicBezTo>
                    <a:pt x="14352" y="49133"/>
                    <a:pt x="9313" y="51653"/>
                    <a:pt x="5533" y="52913"/>
                  </a:cubicBezTo>
                  <a:cubicBezTo>
                    <a:pt x="3014" y="54173"/>
                    <a:pt x="494" y="52913"/>
                    <a:pt x="494" y="50393"/>
                  </a:cubicBezTo>
                  <a:cubicBezTo>
                    <a:pt x="-766" y="47874"/>
                    <a:pt x="494" y="46614"/>
                    <a:pt x="3014" y="45354"/>
                  </a:cubicBezTo>
                  <a:cubicBezTo>
                    <a:pt x="8053" y="42834"/>
                    <a:pt x="13093" y="40315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09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8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9"/>
                  </a:cubicBezTo>
                  <a:cubicBezTo>
                    <a:pt x="79863" y="10079"/>
                    <a:pt x="81123" y="10079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1" y="5040"/>
                    <a:pt x="94981" y="5040"/>
                    <a:pt x="96241" y="3780"/>
                  </a:cubicBezTo>
                  <a:cubicBezTo>
                    <a:pt x="98760" y="2520"/>
                    <a:pt x="100020" y="2520"/>
                    <a:pt x="102540" y="1260"/>
                  </a:cubicBezTo>
                  <a:cubicBezTo>
                    <a:pt x="105059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5" y="0"/>
                    <a:pt x="137815" y="0"/>
                    <a:pt x="141594" y="0"/>
                  </a:cubicBezTo>
                  <a:cubicBezTo>
                    <a:pt x="149153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20"/>
                    <a:pt x="190728" y="2520"/>
                    <a:pt x="191987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/>
            <p:cNvSpPr/>
            <p:nvPr/>
          </p:nvSpPr>
          <p:spPr>
            <a:xfrm>
              <a:off x="9747275" y="3528454"/>
              <a:ext cx="111545" cy="94384"/>
            </a:xfrm>
            <a:custGeom>
              <a:avLst/>
              <a:gdLst>
                <a:gd name="connsiteX0" fmla="*/ 17637 w 163777"/>
                <a:gd name="connsiteY0" fmla="*/ 3780 h 138580"/>
                <a:gd name="connsiteX1" fmla="*/ 18897 w 163777"/>
                <a:gd name="connsiteY1" fmla="*/ 6299 h 138580"/>
                <a:gd name="connsiteX2" fmla="*/ 18897 w 163777"/>
                <a:gd name="connsiteY2" fmla="*/ 8819 h 138580"/>
                <a:gd name="connsiteX3" fmla="*/ 13858 w 163777"/>
                <a:gd name="connsiteY3" fmla="*/ 20157 h 138580"/>
                <a:gd name="connsiteX4" fmla="*/ 11338 w 163777"/>
                <a:gd name="connsiteY4" fmla="*/ 25196 h 138580"/>
                <a:gd name="connsiteX5" fmla="*/ 11338 w 163777"/>
                <a:gd name="connsiteY5" fmla="*/ 26456 h 138580"/>
                <a:gd name="connsiteX6" fmla="*/ 11338 w 163777"/>
                <a:gd name="connsiteY6" fmla="*/ 26456 h 138580"/>
                <a:gd name="connsiteX7" fmla="*/ 11338 w 163777"/>
                <a:gd name="connsiteY7" fmla="*/ 26456 h 138580"/>
                <a:gd name="connsiteX8" fmla="*/ 12598 w 163777"/>
                <a:gd name="connsiteY8" fmla="*/ 26456 h 138580"/>
                <a:gd name="connsiteX9" fmla="*/ 13858 w 163777"/>
                <a:gd name="connsiteY9" fmla="*/ 26456 h 138580"/>
                <a:gd name="connsiteX10" fmla="*/ 13858 w 163777"/>
                <a:gd name="connsiteY10" fmla="*/ 26456 h 138580"/>
                <a:gd name="connsiteX11" fmla="*/ 15118 w 163777"/>
                <a:gd name="connsiteY11" fmla="*/ 26456 h 138580"/>
                <a:gd name="connsiteX12" fmla="*/ 16378 w 163777"/>
                <a:gd name="connsiteY12" fmla="*/ 26456 h 138580"/>
                <a:gd name="connsiteX13" fmla="*/ 21417 w 163777"/>
                <a:gd name="connsiteY13" fmla="*/ 26456 h 138580"/>
                <a:gd name="connsiteX14" fmla="*/ 22677 w 163777"/>
                <a:gd name="connsiteY14" fmla="*/ 26456 h 138580"/>
                <a:gd name="connsiteX15" fmla="*/ 30236 w 163777"/>
                <a:gd name="connsiteY15" fmla="*/ 26456 h 138580"/>
                <a:gd name="connsiteX16" fmla="*/ 30236 w 163777"/>
                <a:gd name="connsiteY16" fmla="*/ 26456 h 138580"/>
                <a:gd name="connsiteX17" fmla="*/ 31496 w 163777"/>
                <a:gd name="connsiteY17" fmla="*/ 26456 h 138580"/>
                <a:gd name="connsiteX18" fmla="*/ 32755 w 163777"/>
                <a:gd name="connsiteY18" fmla="*/ 26456 h 138580"/>
                <a:gd name="connsiteX19" fmla="*/ 37795 w 163777"/>
                <a:gd name="connsiteY19" fmla="*/ 26456 h 138580"/>
                <a:gd name="connsiteX20" fmla="*/ 42834 w 163777"/>
                <a:gd name="connsiteY20" fmla="*/ 26456 h 138580"/>
                <a:gd name="connsiteX21" fmla="*/ 52913 w 163777"/>
                <a:gd name="connsiteY21" fmla="*/ 26456 h 138580"/>
                <a:gd name="connsiteX22" fmla="*/ 64251 w 163777"/>
                <a:gd name="connsiteY22" fmla="*/ 26456 h 138580"/>
                <a:gd name="connsiteX23" fmla="*/ 68030 w 163777"/>
                <a:gd name="connsiteY23" fmla="*/ 26456 h 138580"/>
                <a:gd name="connsiteX24" fmla="*/ 74329 w 163777"/>
                <a:gd name="connsiteY24" fmla="*/ 26456 h 138580"/>
                <a:gd name="connsiteX25" fmla="*/ 84408 w 163777"/>
                <a:gd name="connsiteY25" fmla="*/ 26456 h 138580"/>
                <a:gd name="connsiteX26" fmla="*/ 85668 w 163777"/>
                <a:gd name="connsiteY26" fmla="*/ 26456 h 138580"/>
                <a:gd name="connsiteX27" fmla="*/ 98266 w 163777"/>
                <a:gd name="connsiteY27" fmla="*/ 26456 h 138580"/>
                <a:gd name="connsiteX28" fmla="*/ 105825 w 163777"/>
                <a:gd name="connsiteY28" fmla="*/ 26456 h 138580"/>
                <a:gd name="connsiteX29" fmla="*/ 120943 w 163777"/>
                <a:gd name="connsiteY29" fmla="*/ 27716 h 138580"/>
                <a:gd name="connsiteX30" fmla="*/ 125982 w 163777"/>
                <a:gd name="connsiteY30" fmla="*/ 28976 h 138580"/>
                <a:gd name="connsiteX31" fmla="*/ 127242 w 163777"/>
                <a:gd name="connsiteY31" fmla="*/ 28976 h 138580"/>
                <a:gd name="connsiteX32" fmla="*/ 128502 w 163777"/>
                <a:gd name="connsiteY32" fmla="*/ 28976 h 138580"/>
                <a:gd name="connsiteX33" fmla="*/ 132281 w 163777"/>
                <a:gd name="connsiteY33" fmla="*/ 30236 h 138580"/>
                <a:gd name="connsiteX34" fmla="*/ 134801 w 163777"/>
                <a:gd name="connsiteY34" fmla="*/ 31496 h 138580"/>
                <a:gd name="connsiteX35" fmla="*/ 137321 w 163777"/>
                <a:gd name="connsiteY35" fmla="*/ 32755 h 138580"/>
                <a:gd name="connsiteX36" fmla="*/ 139840 w 163777"/>
                <a:gd name="connsiteY36" fmla="*/ 35275 h 138580"/>
                <a:gd name="connsiteX37" fmla="*/ 143620 w 163777"/>
                <a:gd name="connsiteY37" fmla="*/ 39055 h 138580"/>
                <a:gd name="connsiteX38" fmla="*/ 146140 w 163777"/>
                <a:gd name="connsiteY38" fmla="*/ 42834 h 138580"/>
                <a:gd name="connsiteX39" fmla="*/ 146140 w 163777"/>
                <a:gd name="connsiteY39" fmla="*/ 42834 h 138580"/>
                <a:gd name="connsiteX40" fmla="*/ 148659 w 163777"/>
                <a:gd name="connsiteY40" fmla="*/ 46613 h 138580"/>
                <a:gd name="connsiteX41" fmla="*/ 151179 w 163777"/>
                <a:gd name="connsiteY41" fmla="*/ 51653 h 138580"/>
                <a:gd name="connsiteX42" fmla="*/ 152439 w 163777"/>
                <a:gd name="connsiteY42" fmla="*/ 55432 h 138580"/>
                <a:gd name="connsiteX43" fmla="*/ 156218 w 163777"/>
                <a:gd name="connsiteY43" fmla="*/ 65511 h 138580"/>
                <a:gd name="connsiteX44" fmla="*/ 159998 w 163777"/>
                <a:gd name="connsiteY44" fmla="*/ 76849 h 138580"/>
                <a:gd name="connsiteX45" fmla="*/ 163777 w 163777"/>
                <a:gd name="connsiteY45" fmla="*/ 97006 h 138580"/>
                <a:gd name="connsiteX46" fmla="*/ 163777 w 163777"/>
                <a:gd name="connsiteY46" fmla="*/ 98266 h 138580"/>
                <a:gd name="connsiteX47" fmla="*/ 166297 w 163777"/>
                <a:gd name="connsiteY47" fmla="*/ 119683 h 138580"/>
                <a:gd name="connsiteX48" fmla="*/ 166297 w 163777"/>
                <a:gd name="connsiteY48" fmla="*/ 120943 h 138580"/>
                <a:gd name="connsiteX49" fmla="*/ 166297 w 163777"/>
                <a:gd name="connsiteY49" fmla="*/ 123463 h 138580"/>
                <a:gd name="connsiteX50" fmla="*/ 165037 w 163777"/>
                <a:gd name="connsiteY50" fmla="*/ 125982 h 138580"/>
                <a:gd name="connsiteX51" fmla="*/ 163777 w 163777"/>
                <a:gd name="connsiteY51" fmla="*/ 127242 h 138580"/>
                <a:gd name="connsiteX52" fmla="*/ 163777 w 163777"/>
                <a:gd name="connsiteY52" fmla="*/ 127242 h 138580"/>
                <a:gd name="connsiteX53" fmla="*/ 162517 w 163777"/>
                <a:gd name="connsiteY53" fmla="*/ 128502 h 138580"/>
                <a:gd name="connsiteX54" fmla="*/ 159998 w 163777"/>
                <a:gd name="connsiteY54" fmla="*/ 131022 h 138580"/>
                <a:gd name="connsiteX55" fmla="*/ 154958 w 163777"/>
                <a:gd name="connsiteY55" fmla="*/ 133541 h 138580"/>
                <a:gd name="connsiteX56" fmla="*/ 151179 w 163777"/>
                <a:gd name="connsiteY56" fmla="*/ 134801 h 138580"/>
                <a:gd name="connsiteX57" fmla="*/ 149919 w 163777"/>
                <a:gd name="connsiteY57" fmla="*/ 134801 h 138580"/>
                <a:gd name="connsiteX58" fmla="*/ 148659 w 163777"/>
                <a:gd name="connsiteY58" fmla="*/ 134801 h 138580"/>
                <a:gd name="connsiteX59" fmla="*/ 144880 w 163777"/>
                <a:gd name="connsiteY59" fmla="*/ 136061 h 138580"/>
                <a:gd name="connsiteX60" fmla="*/ 141100 w 163777"/>
                <a:gd name="connsiteY60" fmla="*/ 137321 h 138580"/>
                <a:gd name="connsiteX61" fmla="*/ 139840 w 163777"/>
                <a:gd name="connsiteY61" fmla="*/ 137321 h 138580"/>
                <a:gd name="connsiteX62" fmla="*/ 137321 w 163777"/>
                <a:gd name="connsiteY62" fmla="*/ 138581 h 138580"/>
                <a:gd name="connsiteX63" fmla="*/ 129762 w 163777"/>
                <a:gd name="connsiteY63" fmla="*/ 141100 h 138580"/>
                <a:gd name="connsiteX64" fmla="*/ 122203 w 163777"/>
                <a:gd name="connsiteY64" fmla="*/ 143620 h 138580"/>
                <a:gd name="connsiteX65" fmla="*/ 124722 w 163777"/>
                <a:gd name="connsiteY65" fmla="*/ 124723 h 138580"/>
                <a:gd name="connsiteX66" fmla="*/ 124722 w 163777"/>
                <a:gd name="connsiteY66" fmla="*/ 119683 h 138580"/>
                <a:gd name="connsiteX67" fmla="*/ 120943 w 163777"/>
                <a:gd name="connsiteY67" fmla="*/ 119683 h 138580"/>
                <a:gd name="connsiteX68" fmla="*/ 115904 w 163777"/>
                <a:gd name="connsiteY68" fmla="*/ 119683 h 138580"/>
                <a:gd name="connsiteX69" fmla="*/ 100786 w 163777"/>
                <a:gd name="connsiteY69" fmla="*/ 117164 h 138580"/>
                <a:gd name="connsiteX70" fmla="*/ 97007 w 163777"/>
                <a:gd name="connsiteY70" fmla="*/ 115904 h 138580"/>
                <a:gd name="connsiteX71" fmla="*/ 97007 w 163777"/>
                <a:gd name="connsiteY71" fmla="*/ 115904 h 138580"/>
                <a:gd name="connsiteX72" fmla="*/ 83148 w 163777"/>
                <a:gd name="connsiteY72" fmla="*/ 113384 h 138580"/>
                <a:gd name="connsiteX73" fmla="*/ 64251 w 163777"/>
                <a:gd name="connsiteY73" fmla="*/ 107085 h 138580"/>
                <a:gd name="connsiteX74" fmla="*/ 46614 w 163777"/>
                <a:gd name="connsiteY74" fmla="*/ 98266 h 138580"/>
                <a:gd name="connsiteX75" fmla="*/ 39055 w 163777"/>
                <a:gd name="connsiteY75" fmla="*/ 93227 h 138580"/>
                <a:gd name="connsiteX76" fmla="*/ 31496 w 163777"/>
                <a:gd name="connsiteY76" fmla="*/ 86928 h 138580"/>
                <a:gd name="connsiteX77" fmla="*/ 20157 w 163777"/>
                <a:gd name="connsiteY77" fmla="*/ 71810 h 138580"/>
                <a:gd name="connsiteX78" fmla="*/ 11338 w 163777"/>
                <a:gd name="connsiteY78" fmla="*/ 55432 h 138580"/>
                <a:gd name="connsiteX79" fmla="*/ 3780 w 163777"/>
                <a:gd name="connsiteY79" fmla="*/ 36535 h 138580"/>
                <a:gd name="connsiteX80" fmla="*/ 0 w 163777"/>
                <a:gd name="connsiteY80" fmla="*/ 25196 h 138580"/>
                <a:gd name="connsiteX81" fmla="*/ 0 w 163777"/>
                <a:gd name="connsiteY81" fmla="*/ 25196 h 138580"/>
                <a:gd name="connsiteX82" fmla="*/ 2520 w 163777"/>
                <a:gd name="connsiteY82" fmla="*/ 22677 h 138580"/>
                <a:gd name="connsiteX83" fmla="*/ 5039 w 163777"/>
                <a:gd name="connsiteY83" fmla="*/ 17638 h 138580"/>
                <a:gd name="connsiteX84" fmla="*/ 5039 w 163777"/>
                <a:gd name="connsiteY84" fmla="*/ 17638 h 138580"/>
                <a:gd name="connsiteX85" fmla="*/ 6299 w 163777"/>
                <a:gd name="connsiteY85" fmla="*/ 13858 h 138580"/>
                <a:gd name="connsiteX86" fmla="*/ 6299 w 163777"/>
                <a:gd name="connsiteY86" fmla="*/ 12598 h 138580"/>
                <a:gd name="connsiteX87" fmla="*/ 7559 w 163777"/>
                <a:gd name="connsiteY87" fmla="*/ 10079 h 138580"/>
                <a:gd name="connsiteX88" fmla="*/ 11338 w 163777"/>
                <a:gd name="connsiteY88" fmla="*/ 1260 h 138580"/>
                <a:gd name="connsiteX89" fmla="*/ 13858 w 163777"/>
                <a:gd name="connsiteY89" fmla="*/ 0 h 138580"/>
                <a:gd name="connsiteX90" fmla="*/ 15118 w 163777"/>
                <a:gd name="connsiteY90" fmla="*/ 0 h 138580"/>
                <a:gd name="connsiteX91" fmla="*/ 17637 w 163777"/>
                <a:gd name="connsiteY91" fmla="*/ 378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777" h="138580">
                  <a:moveTo>
                    <a:pt x="17637" y="3780"/>
                  </a:moveTo>
                  <a:cubicBezTo>
                    <a:pt x="18897" y="3780"/>
                    <a:pt x="18897" y="5039"/>
                    <a:pt x="18897" y="6299"/>
                  </a:cubicBezTo>
                  <a:cubicBezTo>
                    <a:pt x="18897" y="7559"/>
                    <a:pt x="18897" y="7559"/>
                    <a:pt x="18897" y="8819"/>
                  </a:cubicBezTo>
                  <a:cubicBezTo>
                    <a:pt x="17637" y="12598"/>
                    <a:pt x="15118" y="16378"/>
                    <a:pt x="13858" y="20157"/>
                  </a:cubicBezTo>
                  <a:cubicBezTo>
                    <a:pt x="12598" y="21417"/>
                    <a:pt x="12598" y="22677"/>
                    <a:pt x="11338" y="25196"/>
                  </a:cubicBezTo>
                  <a:cubicBezTo>
                    <a:pt x="11338" y="25196"/>
                    <a:pt x="11338" y="25196"/>
                    <a:pt x="11338" y="26456"/>
                  </a:cubicBezTo>
                  <a:lnTo>
                    <a:pt x="11338" y="26456"/>
                  </a:lnTo>
                  <a:lnTo>
                    <a:pt x="11338" y="26456"/>
                  </a:lnTo>
                  <a:cubicBezTo>
                    <a:pt x="11338" y="26456"/>
                    <a:pt x="12598" y="26456"/>
                    <a:pt x="12598" y="26456"/>
                  </a:cubicBezTo>
                  <a:cubicBezTo>
                    <a:pt x="12598" y="26456"/>
                    <a:pt x="13858" y="26456"/>
                    <a:pt x="13858" y="26456"/>
                  </a:cubicBezTo>
                  <a:cubicBezTo>
                    <a:pt x="13858" y="26456"/>
                    <a:pt x="13858" y="26456"/>
                    <a:pt x="13858" y="26456"/>
                  </a:cubicBezTo>
                  <a:cubicBezTo>
                    <a:pt x="13858" y="26456"/>
                    <a:pt x="15118" y="26456"/>
                    <a:pt x="15118" y="26456"/>
                  </a:cubicBezTo>
                  <a:cubicBezTo>
                    <a:pt x="15118" y="26456"/>
                    <a:pt x="15118" y="26456"/>
                    <a:pt x="16378" y="26456"/>
                  </a:cubicBezTo>
                  <a:cubicBezTo>
                    <a:pt x="17637" y="26456"/>
                    <a:pt x="20157" y="26456"/>
                    <a:pt x="21417" y="26456"/>
                  </a:cubicBezTo>
                  <a:lnTo>
                    <a:pt x="22677" y="26456"/>
                  </a:lnTo>
                  <a:cubicBezTo>
                    <a:pt x="25196" y="26456"/>
                    <a:pt x="27716" y="26456"/>
                    <a:pt x="30236" y="26456"/>
                  </a:cubicBezTo>
                  <a:lnTo>
                    <a:pt x="30236" y="26456"/>
                  </a:lnTo>
                  <a:cubicBezTo>
                    <a:pt x="30236" y="26456"/>
                    <a:pt x="31496" y="26456"/>
                    <a:pt x="31496" y="26456"/>
                  </a:cubicBezTo>
                  <a:lnTo>
                    <a:pt x="32755" y="26456"/>
                  </a:lnTo>
                  <a:cubicBezTo>
                    <a:pt x="34015" y="26456"/>
                    <a:pt x="36535" y="26456"/>
                    <a:pt x="37795" y="26456"/>
                  </a:cubicBezTo>
                  <a:cubicBezTo>
                    <a:pt x="39055" y="26456"/>
                    <a:pt x="40314" y="26456"/>
                    <a:pt x="42834" y="26456"/>
                  </a:cubicBezTo>
                  <a:cubicBezTo>
                    <a:pt x="46614" y="26456"/>
                    <a:pt x="50393" y="26456"/>
                    <a:pt x="52913" y="26456"/>
                  </a:cubicBezTo>
                  <a:cubicBezTo>
                    <a:pt x="56692" y="26456"/>
                    <a:pt x="60472" y="26456"/>
                    <a:pt x="64251" y="26456"/>
                  </a:cubicBezTo>
                  <a:cubicBezTo>
                    <a:pt x="65511" y="26456"/>
                    <a:pt x="66771" y="26456"/>
                    <a:pt x="68030" y="26456"/>
                  </a:cubicBezTo>
                  <a:cubicBezTo>
                    <a:pt x="70550" y="26456"/>
                    <a:pt x="71810" y="26456"/>
                    <a:pt x="74329" y="26456"/>
                  </a:cubicBezTo>
                  <a:cubicBezTo>
                    <a:pt x="78109" y="26456"/>
                    <a:pt x="80629" y="26456"/>
                    <a:pt x="84408" y="26456"/>
                  </a:cubicBezTo>
                  <a:lnTo>
                    <a:pt x="85668" y="26456"/>
                  </a:lnTo>
                  <a:cubicBezTo>
                    <a:pt x="89448" y="26456"/>
                    <a:pt x="93227" y="26456"/>
                    <a:pt x="98266" y="26456"/>
                  </a:cubicBezTo>
                  <a:cubicBezTo>
                    <a:pt x="100786" y="26456"/>
                    <a:pt x="103306" y="26456"/>
                    <a:pt x="105825" y="26456"/>
                  </a:cubicBezTo>
                  <a:cubicBezTo>
                    <a:pt x="110865" y="26456"/>
                    <a:pt x="115904" y="27716"/>
                    <a:pt x="120943" y="27716"/>
                  </a:cubicBezTo>
                  <a:cubicBezTo>
                    <a:pt x="122203" y="27716"/>
                    <a:pt x="124722" y="27716"/>
                    <a:pt x="125982" y="28976"/>
                  </a:cubicBezTo>
                  <a:lnTo>
                    <a:pt x="127242" y="28976"/>
                  </a:lnTo>
                  <a:cubicBezTo>
                    <a:pt x="127242" y="28976"/>
                    <a:pt x="128502" y="28976"/>
                    <a:pt x="128502" y="28976"/>
                  </a:cubicBezTo>
                  <a:cubicBezTo>
                    <a:pt x="129762" y="28976"/>
                    <a:pt x="131022" y="28976"/>
                    <a:pt x="132281" y="30236"/>
                  </a:cubicBezTo>
                  <a:cubicBezTo>
                    <a:pt x="133541" y="30236"/>
                    <a:pt x="133541" y="30236"/>
                    <a:pt x="134801" y="31496"/>
                  </a:cubicBezTo>
                  <a:cubicBezTo>
                    <a:pt x="136061" y="31496"/>
                    <a:pt x="137321" y="32755"/>
                    <a:pt x="137321" y="32755"/>
                  </a:cubicBezTo>
                  <a:cubicBezTo>
                    <a:pt x="138581" y="32755"/>
                    <a:pt x="139840" y="34015"/>
                    <a:pt x="139840" y="35275"/>
                  </a:cubicBezTo>
                  <a:cubicBezTo>
                    <a:pt x="141100" y="36535"/>
                    <a:pt x="142360" y="37795"/>
                    <a:pt x="143620" y="39055"/>
                  </a:cubicBezTo>
                  <a:cubicBezTo>
                    <a:pt x="144880" y="40314"/>
                    <a:pt x="144880" y="41574"/>
                    <a:pt x="146140" y="42834"/>
                  </a:cubicBezTo>
                  <a:lnTo>
                    <a:pt x="146140" y="42834"/>
                  </a:lnTo>
                  <a:cubicBezTo>
                    <a:pt x="147399" y="44094"/>
                    <a:pt x="147399" y="45354"/>
                    <a:pt x="148659" y="46613"/>
                  </a:cubicBezTo>
                  <a:cubicBezTo>
                    <a:pt x="149919" y="47873"/>
                    <a:pt x="149919" y="50393"/>
                    <a:pt x="151179" y="51653"/>
                  </a:cubicBezTo>
                  <a:cubicBezTo>
                    <a:pt x="151179" y="52913"/>
                    <a:pt x="152439" y="54172"/>
                    <a:pt x="152439" y="55432"/>
                  </a:cubicBezTo>
                  <a:cubicBezTo>
                    <a:pt x="153699" y="59212"/>
                    <a:pt x="154958" y="61731"/>
                    <a:pt x="156218" y="65511"/>
                  </a:cubicBezTo>
                  <a:cubicBezTo>
                    <a:pt x="157478" y="69290"/>
                    <a:pt x="158738" y="73070"/>
                    <a:pt x="159998" y="76849"/>
                  </a:cubicBezTo>
                  <a:cubicBezTo>
                    <a:pt x="161258" y="83148"/>
                    <a:pt x="162517" y="89448"/>
                    <a:pt x="163777" y="97006"/>
                  </a:cubicBezTo>
                  <a:lnTo>
                    <a:pt x="163777" y="98266"/>
                  </a:lnTo>
                  <a:cubicBezTo>
                    <a:pt x="165037" y="104565"/>
                    <a:pt x="166297" y="112124"/>
                    <a:pt x="166297" y="119683"/>
                  </a:cubicBezTo>
                  <a:cubicBezTo>
                    <a:pt x="166297" y="119683"/>
                    <a:pt x="166297" y="120943"/>
                    <a:pt x="166297" y="120943"/>
                  </a:cubicBezTo>
                  <a:cubicBezTo>
                    <a:pt x="166297" y="122203"/>
                    <a:pt x="166297" y="122203"/>
                    <a:pt x="166297" y="123463"/>
                  </a:cubicBezTo>
                  <a:cubicBezTo>
                    <a:pt x="166297" y="124723"/>
                    <a:pt x="165037" y="124723"/>
                    <a:pt x="165037" y="125982"/>
                  </a:cubicBezTo>
                  <a:cubicBezTo>
                    <a:pt x="165037" y="125982"/>
                    <a:pt x="163777" y="127242"/>
                    <a:pt x="163777" y="127242"/>
                  </a:cubicBezTo>
                  <a:lnTo>
                    <a:pt x="163777" y="127242"/>
                  </a:lnTo>
                  <a:cubicBezTo>
                    <a:pt x="163777" y="127242"/>
                    <a:pt x="162517" y="128502"/>
                    <a:pt x="162517" y="128502"/>
                  </a:cubicBezTo>
                  <a:cubicBezTo>
                    <a:pt x="161258" y="129762"/>
                    <a:pt x="161258" y="129762"/>
                    <a:pt x="159998" y="131022"/>
                  </a:cubicBezTo>
                  <a:cubicBezTo>
                    <a:pt x="158738" y="132281"/>
                    <a:pt x="156218" y="132281"/>
                    <a:pt x="154958" y="133541"/>
                  </a:cubicBezTo>
                  <a:cubicBezTo>
                    <a:pt x="153699" y="133541"/>
                    <a:pt x="152439" y="134801"/>
                    <a:pt x="151179" y="134801"/>
                  </a:cubicBezTo>
                  <a:cubicBezTo>
                    <a:pt x="151179" y="134801"/>
                    <a:pt x="149919" y="134801"/>
                    <a:pt x="149919" y="134801"/>
                  </a:cubicBezTo>
                  <a:cubicBezTo>
                    <a:pt x="149919" y="134801"/>
                    <a:pt x="148659" y="134801"/>
                    <a:pt x="148659" y="134801"/>
                  </a:cubicBezTo>
                  <a:cubicBezTo>
                    <a:pt x="147399" y="134801"/>
                    <a:pt x="146140" y="134801"/>
                    <a:pt x="144880" y="136061"/>
                  </a:cubicBezTo>
                  <a:cubicBezTo>
                    <a:pt x="143620" y="136061"/>
                    <a:pt x="142360" y="137321"/>
                    <a:pt x="141100" y="137321"/>
                  </a:cubicBezTo>
                  <a:lnTo>
                    <a:pt x="139840" y="137321"/>
                  </a:lnTo>
                  <a:cubicBezTo>
                    <a:pt x="138581" y="137321"/>
                    <a:pt x="138581" y="138581"/>
                    <a:pt x="137321" y="138581"/>
                  </a:cubicBezTo>
                  <a:cubicBezTo>
                    <a:pt x="134801" y="139840"/>
                    <a:pt x="132281" y="139840"/>
                    <a:pt x="129762" y="141100"/>
                  </a:cubicBezTo>
                  <a:cubicBezTo>
                    <a:pt x="127242" y="142360"/>
                    <a:pt x="124722" y="142360"/>
                    <a:pt x="122203" y="143620"/>
                  </a:cubicBezTo>
                  <a:cubicBezTo>
                    <a:pt x="123463" y="138581"/>
                    <a:pt x="123463" y="132281"/>
                    <a:pt x="124722" y="124723"/>
                  </a:cubicBezTo>
                  <a:cubicBezTo>
                    <a:pt x="124722" y="123463"/>
                    <a:pt x="124722" y="122203"/>
                    <a:pt x="124722" y="119683"/>
                  </a:cubicBezTo>
                  <a:cubicBezTo>
                    <a:pt x="123463" y="119683"/>
                    <a:pt x="122203" y="119683"/>
                    <a:pt x="120943" y="119683"/>
                  </a:cubicBezTo>
                  <a:cubicBezTo>
                    <a:pt x="119683" y="119683"/>
                    <a:pt x="117164" y="119683"/>
                    <a:pt x="115904" y="119683"/>
                  </a:cubicBezTo>
                  <a:cubicBezTo>
                    <a:pt x="110865" y="119683"/>
                    <a:pt x="104566" y="118424"/>
                    <a:pt x="100786" y="117164"/>
                  </a:cubicBezTo>
                  <a:cubicBezTo>
                    <a:pt x="99526" y="117164"/>
                    <a:pt x="98266" y="117164"/>
                    <a:pt x="97007" y="115904"/>
                  </a:cubicBezTo>
                  <a:lnTo>
                    <a:pt x="97007" y="115904"/>
                  </a:lnTo>
                  <a:cubicBezTo>
                    <a:pt x="93227" y="114644"/>
                    <a:pt x="88188" y="114644"/>
                    <a:pt x="83148" y="113384"/>
                  </a:cubicBezTo>
                  <a:cubicBezTo>
                    <a:pt x="76849" y="112124"/>
                    <a:pt x="70550" y="109605"/>
                    <a:pt x="64251" y="107085"/>
                  </a:cubicBezTo>
                  <a:cubicBezTo>
                    <a:pt x="56692" y="103305"/>
                    <a:pt x="51653" y="100786"/>
                    <a:pt x="46614" y="98266"/>
                  </a:cubicBezTo>
                  <a:cubicBezTo>
                    <a:pt x="44094" y="97006"/>
                    <a:pt x="41574" y="94487"/>
                    <a:pt x="39055" y="93227"/>
                  </a:cubicBezTo>
                  <a:cubicBezTo>
                    <a:pt x="36535" y="90707"/>
                    <a:pt x="34015" y="89448"/>
                    <a:pt x="31496" y="86928"/>
                  </a:cubicBezTo>
                  <a:cubicBezTo>
                    <a:pt x="27716" y="83148"/>
                    <a:pt x="23937" y="78109"/>
                    <a:pt x="20157" y="71810"/>
                  </a:cubicBezTo>
                  <a:cubicBezTo>
                    <a:pt x="16378" y="65511"/>
                    <a:pt x="13858" y="60472"/>
                    <a:pt x="11338" y="55432"/>
                  </a:cubicBezTo>
                  <a:cubicBezTo>
                    <a:pt x="8819" y="49133"/>
                    <a:pt x="6299" y="41574"/>
                    <a:pt x="3780" y="36535"/>
                  </a:cubicBezTo>
                  <a:cubicBezTo>
                    <a:pt x="2520" y="32755"/>
                    <a:pt x="1260" y="30236"/>
                    <a:pt x="0" y="25196"/>
                  </a:cubicBezTo>
                  <a:lnTo>
                    <a:pt x="0" y="25196"/>
                  </a:lnTo>
                  <a:cubicBezTo>
                    <a:pt x="1260" y="25196"/>
                    <a:pt x="1260" y="23937"/>
                    <a:pt x="2520" y="22677"/>
                  </a:cubicBezTo>
                  <a:cubicBezTo>
                    <a:pt x="3780" y="21417"/>
                    <a:pt x="3780" y="20157"/>
                    <a:pt x="5039" y="17638"/>
                  </a:cubicBezTo>
                  <a:lnTo>
                    <a:pt x="5039" y="17638"/>
                  </a:lnTo>
                  <a:cubicBezTo>
                    <a:pt x="5039" y="16378"/>
                    <a:pt x="6299" y="15118"/>
                    <a:pt x="6299" y="13858"/>
                  </a:cubicBezTo>
                  <a:lnTo>
                    <a:pt x="6299" y="12598"/>
                  </a:lnTo>
                  <a:lnTo>
                    <a:pt x="7559" y="10079"/>
                  </a:lnTo>
                  <a:lnTo>
                    <a:pt x="11338" y="1260"/>
                  </a:lnTo>
                  <a:cubicBezTo>
                    <a:pt x="11338" y="0"/>
                    <a:pt x="12598" y="0"/>
                    <a:pt x="13858" y="0"/>
                  </a:cubicBezTo>
                  <a:cubicBezTo>
                    <a:pt x="13858" y="0"/>
                    <a:pt x="15118" y="0"/>
                    <a:pt x="15118" y="0"/>
                  </a:cubicBezTo>
                  <a:cubicBezTo>
                    <a:pt x="16378" y="2520"/>
                    <a:pt x="16378" y="2520"/>
                    <a:pt x="17637" y="378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/>
            <p:cNvSpPr/>
            <p:nvPr/>
          </p:nvSpPr>
          <p:spPr>
            <a:xfrm>
              <a:off x="9914592" y="3881964"/>
              <a:ext cx="231669" cy="257410"/>
            </a:xfrm>
            <a:custGeom>
              <a:avLst/>
              <a:gdLst>
                <a:gd name="connsiteX0" fmla="*/ 306137 w 340152"/>
                <a:gd name="connsiteY0" fmla="*/ 1260 h 377946"/>
                <a:gd name="connsiteX1" fmla="*/ 312436 w 340152"/>
                <a:gd name="connsiteY1" fmla="*/ 2520 h 377946"/>
                <a:gd name="connsiteX2" fmla="*/ 319995 w 340152"/>
                <a:gd name="connsiteY2" fmla="*/ 6299 h 377946"/>
                <a:gd name="connsiteX3" fmla="*/ 321255 w 340152"/>
                <a:gd name="connsiteY3" fmla="*/ 7559 h 377946"/>
                <a:gd name="connsiteX4" fmla="*/ 328814 w 340152"/>
                <a:gd name="connsiteY4" fmla="*/ 11339 h 377946"/>
                <a:gd name="connsiteX5" fmla="*/ 332593 w 340152"/>
                <a:gd name="connsiteY5" fmla="*/ 15118 h 377946"/>
                <a:gd name="connsiteX6" fmla="*/ 337633 w 340152"/>
                <a:gd name="connsiteY6" fmla="*/ 26456 h 377946"/>
                <a:gd name="connsiteX7" fmla="*/ 340152 w 340152"/>
                <a:gd name="connsiteY7" fmla="*/ 36535 h 377946"/>
                <a:gd name="connsiteX8" fmla="*/ 340152 w 340152"/>
                <a:gd name="connsiteY8" fmla="*/ 36535 h 377946"/>
                <a:gd name="connsiteX9" fmla="*/ 340152 w 340152"/>
                <a:gd name="connsiteY9" fmla="*/ 36535 h 377946"/>
                <a:gd name="connsiteX10" fmla="*/ 341412 w 340152"/>
                <a:gd name="connsiteY10" fmla="*/ 44094 h 377946"/>
                <a:gd name="connsiteX11" fmla="*/ 341412 w 340152"/>
                <a:gd name="connsiteY11" fmla="*/ 62991 h 377946"/>
                <a:gd name="connsiteX12" fmla="*/ 340152 w 340152"/>
                <a:gd name="connsiteY12" fmla="*/ 81889 h 377946"/>
                <a:gd name="connsiteX13" fmla="*/ 340152 w 340152"/>
                <a:gd name="connsiteY13" fmla="*/ 81889 h 377946"/>
                <a:gd name="connsiteX14" fmla="*/ 340152 w 340152"/>
                <a:gd name="connsiteY14" fmla="*/ 81889 h 377946"/>
                <a:gd name="connsiteX15" fmla="*/ 338892 w 340152"/>
                <a:gd name="connsiteY15" fmla="*/ 88188 h 377946"/>
                <a:gd name="connsiteX16" fmla="*/ 333853 w 340152"/>
                <a:gd name="connsiteY16" fmla="*/ 103306 h 377946"/>
                <a:gd name="connsiteX17" fmla="*/ 331334 w 340152"/>
                <a:gd name="connsiteY17" fmla="*/ 107085 h 377946"/>
                <a:gd name="connsiteX18" fmla="*/ 319995 w 340152"/>
                <a:gd name="connsiteY18" fmla="*/ 120943 h 377946"/>
                <a:gd name="connsiteX19" fmla="*/ 308657 w 340152"/>
                <a:gd name="connsiteY19" fmla="*/ 133541 h 377946"/>
                <a:gd name="connsiteX20" fmla="*/ 308657 w 340152"/>
                <a:gd name="connsiteY20" fmla="*/ 133541 h 377946"/>
                <a:gd name="connsiteX21" fmla="*/ 297318 w 340152"/>
                <a:gd name="connsiteY21" fmla="*/ 144880 h 377946"/>
                <a:gd name="connsiteX22" fmla="*/ 284720 w 340152"/>
                <a:gd name="connsiteY22" fmla="*/ 157478 h 377946"/>
                <a:gd name="connsiteX23" fmla="*/ 273382 w 340152"/>
                <a:gd name="connsiteY23" fmla="*/ 168816 h 377946"/>
                <a:gd name="connsiteX24" fmla="*/ 272122 w 340152"/>
                <a:gd name="connsiteY24" fmla="*/ 170076 h 377946"/>
                <a:gd name="connsiteX25" fmla="*/ 269602 w 340152"/>
                <a:gd name="connsiteY25" fmla="*/ 172596 h 377946"/>
                <a:gd name="connsiteX26" fmla="*/ 246925 w 340152"/>
                <a:gd name="connsiteY26" fmla="*/ 194013 h 377946"/>
                <a:gd name="connsiteX27" fmla="*/ 234327 w 340152"/>
                <a:gd name="connsiteY27" fmla="*/ 205351 h 377946"/>
                <a:gd name="connsiteX28" fmla="*/ 222989 w 340152"/>
                <a:gd name="connsiteY28" fmla="*/ 215430 h 377946"/>
                <a:gd name="connsiteX29" fmla="*/ 221729 w 340152"/>
                <a:gd name="connsiteY29" fmla="*/ 216690 h 377946"/>
                <a:gd name="connsiteX30" fmla="*/ 216690 w 340152"/>
                <a:gd name="connsiteY30" fmla="*/ 221729 h 377946"/>
                <a:gd name="connsiteX31" fmla="*/ 209131 w 340152"/>
                <a:gd name="connsiteY31" fmla="*/ 228028 h 377946"/>
                <a:gd name="connsiteX32" fmla="*/ 194013 w 340152"/>
                <a:gd name="connsiteY32" fmla="*/ 240626 h 377946"/>
                <a:gd name="connsiteX33" fmla="*/ 181414 w 340152"/>
                <a:gd name="connsiteY33" fmla="*/ 249445 h 377946"/>
                <a:gd name="connsiteX34" fmla="*/ 167557 w 340152"/>
                <a:gd name="connsiteY34" fmla="*/ 259524 h 377946"/>
                <a:gd name="connsiteX35" fmla="*/ 158738 w 340152"/>
                <a:gd name="connsiteY35" fmla="*/ 267083 h 377946"/>
                <a:gd name="connsiteX36" fmla="*/ 156218 w 340152"/>
                <a:gd name="connsiteY36" fmla="*/ 269602 h 377946"/>
                <a:gd name="connsiteX37" fmla="*/ 149919 w 340152"/>
                <a:gd name="connsiteY37" fmla="*/ 274642 h 377946"/>
                <a:gd name="connsiteX38" fmla="*/ 142360 w 340152"/>
                <a:gd name="connsiteY38" fmla="*/ 280941 h 377946"/>
                <a:gd name="connsiteX39" fmla="*/ 142360 w 340152"/>
                <a:gd name="connsiteY39" fmla="*/ 280941 h 377946"/>
                <a:gd name="connsiteX40" fmla="*/ 129762 w 340152"/>
                <a:gd name="connsiteY40" fmla="*/ 292279 h 377946"/>
                <a:gd name="connsiteX41" fmla="*/ 117164 w 340152"/>
                <a:gd name="connsiteY41" fmla="*/ 304877 h 377946"/>
                <a:gd name="connsiteX42" fmla="*/ 112124 w 340152"/>
                <a:gd name="connsiteY42" fmla="*/ 311177 h 377946"/>
                <a:gd name="connsiteX43" fmla="*/ 108345 w 340152"/>
                <a:gd name="connsiteY43" fmla="*/ 317476 h 377946"/>
                <a:gd name="connsiteX44" fmla="*/ 105825 w 340152"/>
                <a:gd name="connsiteY44" fmla="*/ 323775 h 377946"/>
                <a:gd name="connsiteX45" fmla="*/ 105825 w 340152"/>
                <a:gd name="connsiteY45" fmla="*/ 325034 h 377946"/>
                <a:gd name="connsiteX46" fmla="*/ 99526 w 340152"/>
                <a:gd name="connsiteY46" fmla="*/ 340152 h 377946"/>
                <a:gd name="connsiteX47" fmla="*/ 99526 w 340152"/>
                <a:gd name="connsiteY47" fmla="*/ 340152 h 377946"/>
                <a:gd name="connsiteX48" fmla="*/ 95747 w 340152"/>
                <a:gd name="connsiteY48" fmla="*/ 347711 h 377946"/>
                <a:gd name="connsiteX49" fmla="*/ 93227 w 340152"/>
                <a:gd name="connsiteY49" fmla="*/ 352751 h 377946"/>
                <a:gd name="connsiteX50" fmla="*/ 91967 w 340152"/>
                <a:gd name="connsiteY50" fmla="*/ 355270 h 377946"/>
                <a:gd name="connsiteX51" fmla="*/ 89448 w 340152"/>
                <a:gd name="connsiteY51" fmla="*/ 359050 h 377946"/>
                <a:gd name="connsiteX52" fmla="*/ 88188 w 340152"/>
                <a:gd name="connsiteY52" fmla="*/ 361569 h 377946"/>
                <a:gd name="connsiteX53" fmla="*/ 80629 w 340152"/>
                <a:gd name="connsiteY53" fmla="*/ 371648 h 377946"/>
                <a:gd name="connsiteX54" fmla="*/ 74329 w 340152"/>
                <a:gd name="connsiteY54" fmla="*/ 377947 h 377946"/>
                <a:gd name="connsiteX55" fmla="*/ 71810 w 340152"/>
                <a:gd name="connsiteY55" fmla="*/ 380467 h 377946"/>
                <a:gd name="connsiteX56" fmla="*/ 71810 w 340152"/>
                <a:gd name="connsiteY56" fmla="*/ 380467 h 377946"/>
                <a:gd name="connsiteX57" fmla="*/ 68030 w 340152"/>
                <a:gd name="connsiteY57" fmla="*/ 382986 h 377946"/>
                <a:gd name="connsiteX58" fmla="*/ 62991 w 340152"/>
                <a:gd name="connsiteY58" fmla="*/ 385506 h 377946"/>
                <a:gd name="connsiteX59" fmla="*/ 56692 w 340152"/>
                <a:gd name="connsiteY59" fmla="*/ 388026 h 377946"/>
                <a:gd name="connsiteX60" fmla="*/ 51653 w 340152"/>
                <a:gd name="connsiteY60" fmla="*/ 389286 h 377946"/>
                <a:gd name="connsiteX61" fmla="*/ 50393 w 340152"/>
                <a:gd name="connsiteY61" fmla="*/ 389286 h 377946"/>
                <a:gd name="connsiteX62" fmla="*/ 47874 w 340152"/>
                <a:gd name="connsiteY62" fmla="*/ 389286 h 377946"/>
                <a:gd name="connsiteX63" fmla="*/ 47874 w 340152"/>
                <a:gd name="connsiteY63" fmla="*/ 389286 h 377946"/>
                <a:gd name="connsiteX64" fmla="*/ 47874 w 340152"/>
                <a:gd name="connsiteY64" fmla="*/ 389286 h 377946"/>
                <a:gd name="connsiteX65" fmla="*/ 47874 w 340152"/>
                <a:gd name="connsiteY65" fmla="*/ 389286 h 377946"/>
                <a:gd name="connsiteX66" fmla="*/ 47874 w 340152"/>
                <a:gd name="connsiteY66" fmla="*/ 389286 h 377946"/>
                <a:gd name="connsiteX67" fmla="*/ 47874 w 340152"/>
                <a:gd name="connsiteY67" fmla="*/ 389286 h 377946"/>
                <a:gd name="connsiteX68" fmla="*/ 47874 w 340152"/>
                <a:gd name="connsiteY68" fmla="*/ 389286 h 377946"/>
                <a:gd name="connsiteX69" fmla="*/ 39055 w 340152"/>
                <a:gd name="connsiteY69" fmla="*/ 386766 h 377946"/>
                <a:gd name="connsiteX70" fmla="*/ 39055 w 340152"/>
                <a:gd name="connsiteY70" fmla="*/ 386766 h 377946"/>
                <a:gd name="connsiteX71" fmla="*/ 31496 w 340152"/>
                <a:gd name="connsiteY71" fmla="*/ 382986 h 377946"/>
                <a:gd name="connsiteX72" fmla="*/ 28976 w 340152"/>
                <a:gd name="connsiteY72" fmla="*/ 381727 h 377946"/>
                <a:gd name="connsiteX73" fmla="*/ 27716 w 340152"/>
                <a:gd name="connsiteY73" fmla="*/ 381727 h 377946"/>
                <a:gd name="connsiteX74" fmla="*/ 23937 w 340152"/>
                <a:gd name="connsiteY74" fmla="*/ 379207 h 377946"/>
                <a:gd name="connsiteX75" fmla="*/ 21417 w 340152"/>
                <a:gd name="connsiteY75" fmla="*/ 376687 h 377946"/>
                <a:gd name="connsiteX76" fmla="*/ 21417 w 340152"/>
                <a:gd name="connsiteY76" fmla="*/ 376687 h 377946"/>
                <a:gd name="connsiteX77" fmla="*/ 15118 w 340152"/>
                <a:gd name="connsiteY77" fmla="*/ 369128 h 377946"/>
                <a:gd name="connsiteX78" fmla="*/ 15118 w 340152"/>
                <a:gd name="connsiteY78" fmla="*/ 367869 h 377946"/>
                <a:gd name="connsiteX79" fmla="*/ 13858 w 340152"/>
                <a:gd name="connsiteY79" fmla="*/ 365349 h 377946"/>
                <a:gd name="connsiteX80" fmla="*/ 11338 w 340152"/>
                <a:gd name="connsiteY80" fmla="*/ 361569 h 377946"/>
                <a:gd name="connsiteX81" fmla="*/ 7559 w 340152"/>
                <a:gd name="connsiteY81" fmla="*/ 352751 h 377946"/>
                <a:gd name="connsiteX82" fmla="*/ 3780 w 340152"/>
                <a:gd name="connsiteY82" fmla="*/ 342672 h 377946"/>
                <a:gd name="connsiteX83" fmla="*/ 3780 w 340152"/>
                <a:gd name="connsiteY83" fmla="*/ 341412 h 377946"/>
                <a:gd name="connsiteX84" fmla="*/ 0 w 340152"/>
                <a:gd name="connsiteY84" fmla="*/ 323775 h 377946"/>
                <a:gd name="connsiteX85" fmla="*/ 0 w 340152"/>
                <a:gd name="connsiteY85" fmla="*/ 316216 h 377946"/>
                <a:gd name="connsiteX86" fmla="*/ 0 w 340152"/>
                <a:gd name="connsiteY86" fmla="*/ 313696 h 377946"/>
                <a:gd name="connsiteX87" fmla="*/ 0 w 340152"/>
                <a:gd name="connsiteY87" fmla="*/ 307397 h 377946"/>
                <a:gd name="connsiteX88" fmla="*/ 0 w 340152"/>
                <a:gd name="connsiteY88" fmla="*/ 304877 h 377946"/>
                <a:gd name="connsiteX89" fmla="*/ 0 w 340152"/>
                <a:gd name="connsiteY89" fmla="*/ 304877 h 377946"/>
                <a:gd name="connsiteX90" fmla="*/ 0 w 340152"/>
                <a:gd name="connsiteY90" fmla="*/ 304877 h 377946"/>
                <a:gd name="connsiteX91" fmla="*/ 0 w 340152"/>
                <a:gd name="connsiteY91" fmla="*/ 299838 h 377946"/>
                <a:gd name="connsiteX92" fmla="*/ 0 w 340152"/>
                <a:gd name="connsiteY92" fmla="*/ 297318 h 377946"/>
                <a:gd name="connsiteX93" fmla="*/ 0 w 340152"/>
                <a:gd name="connsiteY93" fmla="*/ 294799 h 377946"/>
                <a:gd name="connsiteX94" fmla="*/ 0 w 340152"/>
                <a:gd name="connsiteY94" fmla="*/ 289759 h 377946"/>
                <a:gd name="connsiteX95" fmla="*/ 2520 w 340152"/>
                <a:gd name="connsiteY95" fmla="*/ 282201 h 377946"/>
                <a:gd name="connsiteX96" fmla="*/ 2520 w 340152"/>
                <a:gd name="connsiteY96" fmla="*/ 282201 h 377946"/>
                <a:gd name="connsiteX97" fmla="*/ 2520 w 340152"/>
                <a:gd name="connsiteY97" fmla="*/ 280941 h 377946"/>
                <a:gd name="connsiteX98" fmla="*/ 5039 w 340152"/>
                <a:gd name="connsiteY98" fmla="*/ 272122 h 377946"/>
                <a:gd name="connsiteX99" fmla="*/ 5039 w 340152"/>
                <a:gd name="connsiteY99" fmla="*/ 270862 h 377946"/>
                <a:gd name="connsiteX100" fmla="*/ 5039 w 340152"/>
                <a:gd name="connsiteY100" fmla="*/ 270862 h 377946"/>
                <a:gd name="connsiteX101" fmla="*/ 11338 w 340152"/>
                <a:gd name="connsiteY101" fmla="*/ 257004 h 377946"/>
                <a:gd name="connsiteX102" fmla="*/ 12598 w 340152"/>
                <a:gd name="connsiteY102" fmla="*/ 254484 h 377946"/>
                <a:gd name="connsiteX103" fmla="*/ 12598 w 340152"/>
                <a:gd name="connsiteY103" fmla="*/ 254484 h 377946"/>
                <a:gd name="connsiteX104" fmla="*/ 15118 w 340152"/>
                <a:gd name="connsiteY104" fmla="*/ 249445 h 377946"/>
                <a:gd name="connsiteX105" fmla="*/ 20157 w 340152"/>
                <a:gd name="connsiteY105" fmla="*/ 240626 h 377946"/>
                <a:gd name="connsiteX106" fmla="*/ 20157 w 340152"/>
                <a:gd name="connsiteY106" fmla="*/ 240626 h 377946"/>
                <a:gd name="connsiteX107" fmla="*/ 27716 w 340152"/>
                <a:gd name="connsiteY107" fmla="*/ 226768 h 377946"/>
                <a:gd name="connsiteX108" fmla="*/ 37795 w 340152"/>
                <a:gd name="connsiteY108" fmla="*/ 211650 h 377946"/>
                <a:gd name="connsiteX109" fmla="*/ 49133 w 340152"/>
                <a:gd name="connsiteY109" fmla="*/ 196533 h 377946"/>
                <a:gd name="connsiteX110" fmla="*/ 69290 w 340152"/>
                <a:gd name="connsiteY110" fmla="*/ 172596 h 377946"/>
                <a:gd name="connsiteX111" fmla="*/ 71810 w 340152"/>
                <a:gd name="connsiteY111" fmla="*/ 170076 h 377946"/>
                <a:gd name="connsiteX112" fmla="*/ 95747 w 340152"/>
                <a:gd name="connsiteY112" fmla="*/ 144880 h 377946"/>
                <a:gd name="connsiteX113" fmla="*/ 104566 w 340152"/>
                <a:gd name="connsiteY113" fmla="*/ 137321 h 377946"/>
                <a:gd name="connsiteX114" fmla="*/ 104566 w 340152"/>
                <a:gd name="connsiteY114" fmla="*/ 137321 h 377946"/>
                <a:gd name="connsiteX115" fmla="*/ 104566 w 340152"/>
                <a:gd name="connsiteY115" fmla="*/ 137321 h 377946"/>
                <a:gd name="connsiteX116" fmla="*/ 104566 w 340152"/>
                <a:gd name="connsiteY116" fmla="*/ 137321 h 377946"/>
                <a:gd name="connsiteX117" fmla="*/ 120943 w 340152"/>
                <a:gd name="connsiteY117" fmla="*/ 120943 h 377946"/>
                <a:gd name="connsiteX118" fmla="*/ 146140 w 340152"/>
                <a:gd name="connsiteY118" fmla="*/ 97007 h 377946"/>
                <a:gd name="connsiteX119" fmla="*/ 159998 w 340152"/>
                <a:gd name="connsiteY119" fmla="*/ 84408 h 377946"/>
                <a:gd name="connsiteX120" fmla="*/ 167557 w 340152"/>
                <a:gd name="connsiteY120" fmla="*/ 78109 h 377946"/>
                <a:gd name="connsiteX121" fmla="*/ 172596 w 340152"/>
                <a:gd name="connsiteY121" fmla="*/ 73070 h 377946"/>
                <a:gd name="connsiteX122" fmla="*/ 176375 w 340152"/>
                <a:gd name="connsiteY122" fmla="*/ 70550 h 377946"/>
                <a:gd name="connsiteX123" fmla="*/ 187714 w 340152"/>
                <a:gd name="connsiteY123" fmla="*/ 60472 h 377946"/>
                <a:gd name="connsiteX124" fmla="*/ 188973 w 340152"/>
                <a:gd name="connsiteY124" fmla="*/ 59212 h 377946"/>
                <a:gd name="connsiteX125" fmla="*/ 191493 w 340152"/>
                <a:gd name="connsiteY125" fmla="*/ 56692 h 377946"/>
                <a:gd name="connsiteX126" fmla="*/ 194013 w 340152"/>
                <a:gd name="connsiteY126" fmla="*/ 52913 h 377946"/>
                <a:gd name="connsiteX127" fmla="*/ 200312 w 340152"/>
                <a:gd name="connsiteY127" fmla="*/ 46614 h 377946"/>
                <a:gd name="connsiteX128" fmla="*/ 200312 w 340152"/>
                <a:gd name="connsiteY128" fmla="*/ 46614 h 377946"/>
                <a:gd name="connsiteX129" fmla="*/ 200312 w 340152"/>
                <a:gd name="connsiteY129" fmla="*/ 46614 h 377946"/>
                <a:gd name="connsiteX130" fmla="*/ 200312 w 340152"/>
                <a:gd name="connsiteY130" fmla="*/ 46614 h 377946"/>
                <a:gd name="connsiteX131" fmla="*/ 200312 w 340152"/>
                <a:gd name="connsiteY131" fmla="*/ 46614 h 377946"/>
                <a:gd name="connsiteX132" fmla="*/ 200312 w 340152"/>
                <a:gd name="connsiteY132" fmla="*/ 46614 h 377946"/>
                <a:gd name="connsiteX133" fmla="*/ 200312 w 340152"/>
                <a:gd name="connsiteY133" fmla="*/ 46614 h 377946"/>
                <a:gd name="connsiteX134" fmla="*/ 204092 w 340152"/>
                <a:gd name="connsiteY134" fmla="*/ 44094 h 377946"/>
                <a:gd name="connsiteX135" fmla="*/ 204092 w 340152"/>
                <a:gd name="connsiteY135" fmla="*/ 44094 h 377946"/>
                <a:gd name="connsiteX136" fmla="*/ 204092 w 340152"/>
                <a:gd name="connsiteY136" fmla="*/ 44094 h 377946"/>
                <a:gd name="connsiteX137" fmla="*/ 204092 w 340152"/>
                <a:gd name="connsiteY137" fmla="*/ 44094 h 377946"/>
                <a:gd name="connsiteX138" fmla="*/ 204092 w 340152"/>
                <a:gd name="connsiteY138" fmla="*/ 44094 h 377946"/>
                <a:gd name="connsiteX139" fmla="*/ 204092 w 340152"/>
                <a:gd name="connsiteY139" fmla="*/ 44094 h 377946"/>
                <a:gd name="connsiteX140" fmla="*/ 204092 w 340152"/>
                <a:gd name="connsiteY140" fmla="*/ 44094 h 377946"/>
                <a:gd name="connsiteX141" fmla="*/ 204092 w 340152"/>
                <a:gd name="connsiteY141" fmla="*/ 44094 h 377946"/>
                <a:gd name="connsiteX142" fmla="*/ 204092 w 340152"/>
                <a:gd name="connsiteY142" fmla="*/ 44094 h 377946"/>
                <a:gd name="connsiteX143" fmla="*/ 204092 w 340152"/>
                <a:gd name="connsiteY143" fmla="*/ 44094 h 377946"/>
                <a:gd name="connsiteX144" fmla="*/ 204092 w 340152"/>
                <a:gd name="connsiteY144" fmla="*/ 44094 h 377946"/>
                <a:gd name="connsiteX145" fmla="*/ 204092 w 340152"/>
                <a:gd name="connsiteY145" fmla="*/ 44094 h 377946"/>
                <a:gd name="connsiteX146" fmla="*/ 204092 w 340152"/>
                <a:gd name="connsiteY146" fmla="*/ 44094 h 377946"/>
                <a:gd name="connsiteX147" fmla="*/ 204092 w 340152"/>
                <a:gd name="connsiteY147" fmla="*/ 44094 h 377946"/>
                <a:gd name="connsiteX148" fmla="*/ 204092 w 340152"/>
                <a:gd name="connsiteY148" fmla="*/ 44094 h 377946"/>
                <a:gd name="connsiteX149" fmla="*/ 204092 w 340152"/>
                <a:gd name="connsiteY149" fmla="*/ 44094 h 377946"/>
                <a:gd name="connsiteX150" fmla="*/ 215430 w 340152"/>
                <a:gd name="connsiteY150" fmla="*/ 35275 h 377946"/>
                <a:gd name="connsiteX151" fmla="*/ 220469 w 340152"/>
                <a:gd name="connsiteY151" fmla="*/ 31496 h 377946"/>
                <a:gd name="connsiteX152" fmla="*/ 225508 w 340152"/>
                <a:gd name="connsiteY152" fmla="*/ 27716 h 377946"/>
                <a:gd name="connsiteX153" fmla="*/ 234327 w 340152"/>
                <a:gd name="connsiteY153" fmla="*/ 22677 h 377946"/>
                <a:gd name="connsiteX154" fmla="*/ 238107 w 340152"/>
                <a:gd name="connsiteY154" fmla="*/ 20157 h 377946"/>
                <a:gd name="connsiteX155" fmla="*/ 238107 w 340152"/>
                <a:gd name="connsiteY155" fmla="*/ 20157 h 377946"/>
                <a:gd name="connsiteX156" fmla="*/ 244406 w 340152"/>
                <a:gd name="connsiteY156" fmla="*/ 16378 h 377946"/>
                <a:gd name="connsiteX157" fmla="*/ 262043 w 340152"/>
                <a:gd name="connsiteY157" fmla="*/ 7559 h 377946"/>
                <a:gd name="connsiteX158" fmla="*/ 283460 w 340152"/>
                <a:gd name="connsiteY158" fmla="*/ 1260 h 377946"/>
                <a:gd name="connsiteX159" fmla="*/ 296058 w 340152"/>
                <a:gd name="connsiteY159" fmla="*/ 0 h 377946"/>
                <a:gd name="connsiteX160" fmla="*/ 306137 w 340152"/>
                <a:gd name="connsiteY160" fmla="*/ 1260 h 377946"/>
                <a:gd name="connsiteX161" fmla="*/ 306137 w 340152"/>
                <a:gd name="connsiteY161" fmla="*/ 1260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340152" h="377946">
                  <a:moveTo>
                    <a:pt x="306137" y="1260"/>
                  </a:moveTo>
                  <a:cubicBezTo>
                    <a:pt x="307397" y="1260"/>
                    <a:pt x="309917" y="2520"/>
                    <a:pt x="312436" y="2520"/>
                  </a:cubicBezTo>
                  <a:cubicBezTo>
                    <a:pt x="314956" y="3780"/>
                    <a:pt x="317476" y="5039"/>
                    <a:pt x="319995" y="6299"/>
                  </a:cubicBezTo>
                  <a:lnTo>
                    <a:pt x="321255" y="7559"/>
                  </a:lnTo>
                  <a:cubicBezTo>
                    <a:pt x="323775" y="8819"/>
                    <a:pt x="326294" y="10079"/>
                    <a:pt x="328814" y="11339"/>
                  </a:cubicBezTo>
                  <a:cubicBezTo>
                    <a:pt x="330074" y="12598"/>
                    <a:pt x="331334" y="13858"/>
                    <a:pt x="332593" y="15118"/>
                  </a:cubicBezTo>
                  <a:cubicBezTo>
                    <a:pt x="335113" y="18897"/>
                    <a:pt x="336373" y="22677"/>
                    <a:pt x="337633" y="26456"/>
                  </a:cubicBezTo>
                  <a:cubicBezTo>
                    <a:pt x="338892" y="30236"/>
                    <a:pt x="340152" y="32755"/>
                    <a:pt x="340152" y="36535"/>
                  </a:cubicBezTo>
                  <a:lnTo>
                    <a:pt x="340152" y="36535"/>
                  </a:lnTo>
                  <a:lnTo>
                    <a:pt x="340152" y="36535"/>
                  </a:lnTo>
                  <a:cubicBezTo>
                    <a:pt x="341412" y="39055"/>
                    <a:pt x="341412" y="41574"/>
                    <a:pt x="341412" y="44094"/>
                  </a:cubicBezTo>
                  <a:cubicBezTo>
                    <a:pt x="341412" y="50393"/>
                    <a:pt x="341412" y="57952"/>
                    <a:pt x="341412" y="62991"/>
                  </a:cubicBezTo>
                  <a:cubicBezTo>
                    <a:pt x="341412" y="69290"/>
                    <a:pt x="340152" y="75589"/>
                    <a:pt x="340152" y="81889"/>
                  </a:cubicBezTo>
                  <a:lnTo>
                    <a:pt x="340152" y="81889"/>
                  </a:lnTo>
                  <a:lnTo>
                    <a:pt x="340152" y="81889"/>
                  </a:lnTo>
                  <a:cubicBezTo>
                    <a:pt x="340152" y="84408"/>
                    <a:pt x="338892" y="85668"/>
                    <a:pt x="338892" y="88188"/>
                  </a:cubicBezTo>
                  <a:cubicBezTo>
                    <a:pt x="337633" y="93227"/>
                    <a:pt x="336373" y="98266"/>
                    <a:pt x="333853" y="103306"/>
                  </a:cubicBezTo>
                  <a:cubicBezTo>
                    <a:pt x="332593" y="104565"/>
                    <a:pt x="332593" y="105825"/>
                    <a:pt x="331334" y="107085"/>
                  </a:cubicBezTo>
                  <a:cubicBezTo>
                    <a:pt x="327554" y="112124"/>
                    <a:pt x="323775" y="117164"/>
                    <a:pt x="319995" y="120943"/>
                  </a:cubicBezTo>
                  <a:cubicBezTo>
                    <a:pt x="316216" y="124723"/>
                    <a:pt x="312436" y="129762"/>
                    <a:pt x="308657" y="133541"/>
                  </a:cubicBezTo>
                  <a:lnTo>
                    <a:pt x="308657" y="133541"/>
                  </a:lnTo>
                  <a:cubicBezTo>
                    <a:pt x="304877" y="137321"/>
                    <a:pt x="301098" y="141100"/>
                    <a:pt x="297318" y="144880"/>
                  </a:cubicBezTo>
                  <a:cubicBezTo>
                    <a:pt x="293539" y="148659"/>
                    <a:pt x="288499" y="153699"/>
                    <a:pt x="284720" y="157478"/>
                  </a:cubicBezTo>
                  <a:cubicBezTo>
                    <a:pt x="280941" y="161257"/>
                    <a:pt x="277161" y="165037"/>
                    <a:pt x="273382" y="168816"/>
                  </a:cubicBezTo>
                  <a:lnTo>
                    <a:pt x="272122" y="170076"/>
                  </a:lnTo>
                  <a:lnTo>
                    <a:pt x="269602" y="172596"/>
                  </a:lnTo>
                  <a:cubicBezTo>
                    <a:pt x="262043" y="180155"/>
                    <a:pt x="254484" y="187714"/>
                    <a:pt x="246925" y="194013"/>
                  </a:cubicBezTo>
                  <a:cubicBezTo>
                    <a:pt x="243146" y="197792"/>
                    <a:pt x="238107" y="201572"/>
                    <a:pt x="234327" y="205351"/>
                  </a:cubicBezTo>
                  <a:cubicBezTo>
                    <a:pt x="230548" y="209131"/>
                    <a:pt x="226768" y="211650"/>
                    <a:pt x="222989" y="215430"/>
                  </a:cubicBezTo>
                  <a:lnTo>
                    <a:pt x="221729" y="216690"/>
                  </a:lnTo>
                  <a:cubicBezTo>
                    <a:pt x="220469" y="217949"/>
                    <a:pt x="217950" y="219209"/>
                    <a:pt x="216690" y="221729"/>
                  </a:cubicBezTo>
                  <a:cubicBezTo>
                    <a:pt x="214170" y="224249"/>
                    <a:pt x="211651" y="225508"/>
                    <a:pt x="209131" y="228028"/>
                  </a:cubicBezTo>
                  <a:cubicBezTo>
                    <a:pt x="204092" y="231808"/>
                    <a:pt x="199052" y="235587"/>
                    <a:pt x="194013" y="240626"/>
                  </a:cubicBezTo>
                  <a:cubicBezTo>
                    <a:pt x="190233" y="244406"/>
                    <a:pt x="185194" y="246925"/>
                    <a:pt x="181414" y="249445"/>
                  </a:cubicBezTo>
                  <a:cubicBezTo>
                    <a:pt x="176375" y="253225"/>
                    <a:pt x="172596" y="257004"/>
                    <a:pt x="167557" y="259524"/>
                  </a:cubicBezTo>
                  <a:cubicBezTo>
                    <a:pt x="163777" y="262043"/>
                    <a:pt x="161258" y="264563"/>
                    <a:pt x="158738" y="267083"/>
                  </a:cubicBezTo>
                  <a:lnTo>
                    <a:pt x="156218" y="269602"/>
                  </a:lnTo>
                  <a:cubicBezTo>
                    <a:pt x="153699" y="270862"/>
                    <a:pt x="152439" y="273382"/>
                    <a:pt x="149919" y="274642"/>
                  </a:cubicBezTo>
                  <a:cubicBezTo>
                    <a:pt x="147399" y="277161"/>
                    <a:pt x="144880" y="278421"/>
                    <a:pt x="142360" y="280941"/>
                  </a:cubicBezTo>
                  <a:lnTo>
                    <a:pt x="142360" y="280941"/>
                  </a:lnTo>
                  <a:cubicBezTo>
                    <a:pt x="138581" y="284720"/>
                    <a:pt x="133541" y="288500"/>
                    <a:pt x="129762" y="292279"/>
                  </a:cubicBezTo>
                  <a:cubicBezTo>
                    <a:pt x="125982" y="296058"/>
                    <a:pt x="120943" y="299838"/>
                    <a:pt x="117164" y="304877"/>
                  </a:cubicBezTo>
                  <a:cubicBezTo>
                    <a:pt x="115904" y="306137"/>
                    <a:pt x="113384" y="308657"/>
                    <a:pt x="112124" y="311177"/>
                  </a:cubicBezTo>
                  <a:cubicBezTo>
                    <a:pt x="110865" y="312436"/>
                    <a:pt x="109605" y="314956"/>
                    <a:pt x="108345" y="317476"/>
                  </a:cubicBezTo>
                  <a:cubicBezTo>
                    <a:pt x="107085" y="319995"/>
                    <a:pt x="107085" y="321255"/>
                    <a:pt x="105825" y="323775"/>
                  </a:cubicBezTo>
                  <a:lnTo>
                    <a:pt x="105825" y="325034"/>
                  </a:lnTo>
                  <a:cubicBezTo>
                    <a:pt x="103306" y="330074"/>
                    <a:pt x="102046" y="335113"/>
                    <a:pt x="99526" y="340152"/>
                  </a:cubicBezTo>
                  <a:lnTo>
                    <a:pt x="99526" y="340152"/>
                  </a:lnTo>
                  <a:cubicBezTo>
                    <a:pt x="98266" y="342672"/>
                    <a:pt x="97007" y="345192"/>
                    <a:pt x="95747" y="347711"/>
                  </a:cubicBezTo>
                  <a:cubicBezTo>
                    <a:pt x="94487" y="348971"/>
                    <a:pt x="94487" y="351491"/>
                    <a:pt x="93227" y="352751"/>
                  </a:cubicBezTo>
                  <a:cubicBezTo>
                    <a:pt x="93227" y="354010"/>
                    <a:pt x="91967" y="354010"/>
                    <a:pt x="91967" y="355270"/>
                  </a:cubicBezTo>
                  <a:cubicBezTo>
                    <a:pt x="90707" y="356530"/>
                    <a:pt x="90707" y="357790"/>
                    <a:pt x="89448" y="359050"/>
                  </a:cubicBezTo>
                  <a:lnTo>
                    <a:pt x="88188" y="361569"/>
                  </a:lnTo>
                  <a:cubicBezTo>
                    <a:pt x="85668" y="365349"/>
                    <a:pt x="84408" y="369128"/>
                    <a:pt x="80629" y="371648"/>
                  </a:cubicBezTo>
                  <a:cubicBezTo>
                    <a:pt x="78109" y="374168"/>
                    <a:pt x="76849" y="375427"/>
                    <a:pt x="74329" y="377947"/>
                  </a:cubicBezTo>
                  <a:cubicBezTo>
                    <a:pt x="73070" y="379207"/>
                    <a:pt x="71810" y="379207"/>
                    <a:pt x="71810" y="380467"/>
                  </a:cubicBezTo>
                  <a:lnTo>
                    <a:pt x="71810" y="380467"/>
                  </a:lnTo>
                  <a:cubicBezTo>
                    <a:pt x="70550" y="381727"/>
                    <a:pt x="69290" y="382986"/>
                    <a:pt x="68030" y="382986"/>
                  </a:cubicBezTo>
                  <a:cubicBezTo>
                    <a:pt x="66771" y="384246"/>
                    <a:pt x="64251" y="384246"/>
                    <a:pt x="62991" y="385506"/>
                  </a:cubicBezTo>
                  <a:cubicBezTo>
                    <a:pt x="60472" y="386766"/>
                    <a:pt x="59212" y="386766"/>
                    <a:pt x="56692" y="388026"/>
                  </a:cubicBezTo>
                  <a:cubicBezTo>
                    <a:pt x="55432" y="388026"/>
                    <a:pt x="52913" y="389286"/>
                    <a:pt x="51653" y="389286"/>
                  </a:cubicBezTo>
                  <a:cubicBezTo>
                    <a:pt x="51653" y="389286"/>
                    <a:pt x="50393" y="389286"/>
                    <a:pt x="50393" y="389286"/>
                  </a:cubicBezTo>
                  <a:cubicBezTo>
                    <a:pt x="49133" y="389286"/>
                    <a:pt x="49133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lnTo>
                    <a:pt x="47874" y="389286"/>
                  </a:lnTo>
                  <a:lnTo>
                    <a:pt x="47874" y="389286"/>
                  </a:ln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4094" y="388026"/>
                    <a:pt x="41574" y="386766"/>
                    <a:pt x="39055" y="386766"/>
                  </a:cubicBezTo>
                  <a:lnTo>
                    <a:pt x="39055" y="386766"/>
                  </a:lnTo>
                  <a:cubicBezTo>
                    <a:pt x="36535" y="385506"/>
                    <a:pt x="34015" y="384246"/>
                    <a:pt x="31496" y="382986"/>
                  </a:cubicBezTo>
                  <a:cubicBezTo>
                    <a:pt x="30236" y="382986"/>
                    <a:pt x="28976" y="381727"/>
                    <a:pt x="28976" y="381727"/>
                  </a:cubicBezTo>
                  <a:lnTo>
                    <a:pt x="27716" y="381727"/>
                  </a:lnTo>
                  <a:cubicBezTo>
                    <a:pt x="26456" y="380467"/>
                    <a:pt x="25196" y="380467"/>
                    <a:pt x="23937" y="379207"/>
                  </a:cubicBezTo>
                  <a:cubicBezTo>
                    <a:pt x="22677" y="377947"/>
                    <a:pt x="22677" y="377947"/>
                    <a:pt x="21417" y="376687"/>
                  </a:cubicBezTo>
                  <a:lnTo>
                    <a:pt x="21417" y="376687"/>
                  </a:lnTo>
                  <a:cubicBezTo>
                    <a:pt x="18897" y="374168"/>
                    <a:pt x="17637" y="371648"/>
                    <a:pt x="15118" y="369128"/>
                  </a:cubicBezTo>
                  <a:lnTo>
                    <a:pt x="15118" y="367869"/>
                  </a:lnTo>
                  <a:cubicBezTo>
                    <a:pt x="15118" y="367869"/>
                    <a:pt x="13858" y="366609"/>
                    <a:pt x="13858" y="365349"/>
                  </a:cubicBezTo>
                  <a:cubicBezTo>
                    <a:pt x="12598" y="364089"/>
                    <a:pt x="12598" y="362829"/>
                    <a:pt x="11338" y="361569"/>
                  </a:cubicBezTo>
                  <a:cubicBezTo>
                    <a:pt x="10079" y="359050"/>
                    <a:pt x="8819" y="355270"/>
                    <a:pt x="7559" y="352751"/>
                  </a:cubicBezTo>
                  <a:cubicBezTo>
                    <a:pt x="6299" y="348971"/>
                    <a:pt x="5039" y="346451"/>
                    <a:pt x="3780" y="342672"/>
                  </a:cubicBezTo>
                  <a:lnTo>
                    <a:pt x="3780" y="341412"/>
                  </a:lnTo>
                  <a:cubicBezTo>
                    <a:pt x="2520" y="336373"/>
                    <a:pt x="1260" y="331334"/>
                    <a:pt x="0" y="323775"/>
                  </a:cubicBezTo>
                  <a:cubicBezTo>
                    <a:pt x="0" y="321255"/>
                    <a:pt x="0" y="318735"/>
                    <a:pt x="0" y="316216"/>
                  </a:cubicBezTo>
                  <a:lnTo>
                    <a:pt x="0" y="313696"/>
                  </a:lnTo>
                  <a:cubicBezTo>
                    <a:pt x="0" y="311177"/>
                    <a:pt x="0" y="309917"/>
                    <a:pt x="0" y="307397"/>
                  </a:cubicBezTo>
                  <a:lnTo>
                    <a:pt x="0" y="304877"/>
                  </a:lnTo>
                  <a:lnTo>
                    <a:pt x="0" y="304877"/>
                  </a:lnTo>
                  <a:lnTo>
                    <a:pt x="0" y="304877"/>
                  </a:lnTo>
                  <a:cubicBezTo>
                    <a:pt x="0" y="303618"/>
                    <a:pt x="0" y="301098"/>
                    <a:pt x="0" y="299838"/>
                  </a:cubicBezTo>
                  <a:lnTo>
                    <a:pt x="0" y="297318"/>
                  </a:lnTo>
                  <a:lnTo>
                    <a:pt x="0" y="294799"/>
                  </a:lnTo>
                  <a:cubicBezTo>
                    <a:pt x="0" y="293539"/>
                    <a:pt x="0" y="291019"/>
                    <a:pt x="0" y="289759"/>
                  </a:cubicBezTo>
                  <a:cubicBezTo>
                    <a:pt x="0" y="287240"/>
                    <a:pt x="1260" y="284720"/>
                    <a:pt x="2520" y="282201"/>
                  </a:cubicBezTo>
                  <a:lnTo>
                    <a:pt x="2520" y="282201"/>
                  </a:lnTo>
                  <a:lnTo>
                    <a:pt x="2520" y="280941"/>
                  </a:lnTo>
                  <a:cubicBezTo>
                    <a:pt x="3780" y="278421"/>
                    <a:pt x="3780" y="274642"/>
                    <a:pt x="5039" y="272122"/>
                  </a:cubicBezTo>
                  <a:lnTo>
                    <a:pt x="5039" y="270862"/>
                  </a:lnTo>
                  <a:lnTo>
                    <a:pt x="5039" y="270862"/>
                  </a:lnTo>
                  <a:cubicBezTo>
                    <a:pt x="6299" y="267083"/>
                    <a:pt x="8819" y="260784"/>
                    <a:pt x="11338" y="257004"/>
                  </a:cubicBezTo>
                  <a:cubicBezTo>
                    <a:pt x="11338" y="255744"/>
                    <a:pt x="12598" y="255744"/>
                    <a:pt x="12598" y="254484"/>
                  </a:cubicBezTo>
                  <a:lnTo>
                    <a:pt x="12598" y="254484"/>
                  </a:lnTo>
                  <a:cubicBezTo>
                    <a:pt x="13858" y="253225"/>
                    <a:pt x="13858" y="250705"/>
                    <a:pt x="15118" y="249445"/>
                  </a:cubicBezTo>
                  <a:cubicBezTo>
                    <a:pt x="16378" y="246925"/>
                    <a:pt x="18897" y="243146"/>
                    <a:pt x="20157" y="240626"/>
                  </a:cubicBezTo>
                  <a:lnTo>
                    <a:pt x="20157" y="240626"/>
                  </a:lnTo>
                  <a:cubicBezTo>
                    <a:pt x="22677" y="236847"/>
                    <a:pt x="25196" y="231808"/>
                    <a:pt x="27716" y="226768"/>
                  </a:cubicBezTo>
                  <a:cubicBezTo>
                    <a:pt x="30236" y="221729"/>
                    <a:pt x="34015" y="216690"/>
                    <a:pt x="37795" y="211650"/>
                  </a:cubicBezTo>
                  <a:cubicBezTo>
                    <a:pt x="41574" y="206611"/>
                    <a:pt x="45354" y="200312"/>
                    <a:pt x="49133" y="196533"/>
                  </a:cubicBezTo>
                  <a:cubicBezTo>
                    <a:pt x="55432" y="187714"/>
                    <a:pt x="61731" y="180155"/>
                    <a:pt x="69290" y="172596"/>
                  </a:cubicBezTo>
                  <a:lnTo>
                    <a:pt x="71810" y="170076"/>
                  </a:lnTo>
                  <a:cubicBezTo>
                    <a:pt x="78109" y="162517"/>
                    <a:pt x="86928" y="153699"/>
                    <a:pt x="95747" y="144880"/>
                  </a:cubicBezTo>
                  <a:cubicBezTo>
                    <a:pt x="98266" y="142360"/>
                    <a:pt x="102046" y="139840"/>
                    <a:pt x="104566" y="137321"/>
                  </a:cubicBezTo>
                  <a:lnTo>
                    <a:pt x="104566" y="137321"/>
                  </a:lnTo>
                  <a:lnTo>
                    <a:pt x="104566" y="137321"/>
                  </a:lnTo>
                  <a:cubicBezTo>
                    <a:pt x="104566" y="137321"/>
                    <a:pt x="104566" y="137321"/>
                    <a:pt x="104566" y="137321"/>
                  </a:cubicBezTo>
                  <a:cubicBezTo>
                    <a:pt x="109605" y="132281"/>
                    <a:pt x="115904" y="127242"/>
                    <a:pt x="120943" y="120943"/>
                  </a:cubicBezTo>
                  <a:cubicBezTo>
                    <a:pt x="129762" y="112124"/>
                    <a:pt x="137321" y="104565"/>
                    <a:pt x="146140" y="97007"/>
                  </a:cubicBezTo>
                  <a:cubicBezTo>
                    <a:pt x="149919" y="93227"/>
                    <a:pt x="154958" y="89448"/>
                    <a:pt x="159998" y="84408"/>
                  </a:cubicBezTo>
                  <a:cubicBezTo>
                    <a:pt x="162517" y="81889"/>
                    <a:pt x="165037" y="80629"/>
                    <a:pt x="167557" y="78109"/>
                  </a:cubicBezTo>
                  <a:cubicBezTo>
                    <a:pt x="168816" y="76849"/>
                    <a:pt x="171336" y="75589"/>
                    <a:pt x="172596" y="73070"/>
                  </a:cubicBezTo>
                  <a:lnTo>
                    <a:pt x="176375" y="70550"/>
                  </a:lnTo>
                  <a:cubicBezTo>
                    <a:pt x="180155" y="66771"/>
                    <a:pt x="183934" y="64251"/>
                    <a:pt x="187714" y="60472"/>
                  </a:cubicBezTo>
                  <a:cubicBezTo>
                    <a:pt x="187714" y="60472"/>
                    <a:pt x="188973" y="59212"/>
                    <a:pt x="188973" y="59212"/>
                  </a:cubicBezTo>
                  <a:lnTo>
                    <a:pt x="191493" y="56692"/>
                  </a:lnTo>
                  <a:cubicBezTo>
                    <a:pt x="192753" y="55432"/>
                    <a:pt x="194013" y="54172"/>
                    <a:pt x="194013" y="52913"/>
                  </a:cubicBezTo>
                  <a:cubicBezTo>
                    <a:pt x="196533" y="50393"/>
                    <a:pt x="197792" y="49133"/>
                    <a:pt x="200312" y="46614"/>
                  </a:cubicBez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cubicBezTo>
                    <a:pt x="201572" y="45354"/>
                    <a:pt x="202832" y="4535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cubicBezTo>
                    <a:pt x="207871" y="41574"/>
                    <a:pt x="211651" y="39055"/>
                    <a:pt x="215430" y="35275"/>
                  </a:cubicBezTo>
                  <a:cubicBezTo>
                    <a:pt x="216690" y="34015"/>
                    <a:pt x="219209" y="32755"/>
                    <a:pt x="220469" y="31496"/>
                  </a:cubicBezTo>
                  <a:cubicBezTo>
                    <a:pt x="221729" y="30236"/>
                    <a:pt x="222989" y="28976"/>
                    <a:pt x="225508" y="27716"/>
                  </a:cubicBezTo>
                  <a:cubicBezTo>
                    <a:pt x="228028" y="25196"/>
                    <a:pt x="231807" y="23937"/>
                    <a:pt x="234327" y="22677"/>
                  </a:cubicBezTo>
                  <a:cubicBezTo>
                    <a:pt x="235587" y="21417"/>
                    <a:pt x="236847" y="21417"/>
                    <a:pt x="238107" y="20157"/>
                  </a:cubicBezTo>
                  <a:lnTo>
                    <a:pt x="238107" y="20157"/>
                  </a:lnTo>
                  <a:cubicBezTo>
                    <a:pt x="240626" y="18897"/>
                    <a:pt x="241886" y="17638"/>
                    <a:pt x="244406" y="16378"/>
                  </a:cubicBezTo>
                  <a:cubicBezTo>
                    <a:pt x="249445" y="13858"/>
                    <a:pt x="255744" y="10079"/>
                    <a:pt x="262043" y="7559"/>
                  </a:cubicBezTo>
                  <a:cubicBezTo>
                    <a:pt x="268343" y="5039"/>
                    <a:pt x="275901" y="2520"/>
                    <a:pt x="283460" y="1260"/>
                  </a:cubicBezTo>
                  <a:cubicBezTo>
                    <a:pt x="288499" y="1260"/>
                    <a:pt x="292279" y="0"/>
                    <a:pt x="296058" y="0"/>
                  </a:cubicBezTo>
                  <a:cubicBezTo>
                    <a:pt x="297318" y="1260"/>
                    <a:pt x="301098" y="1260"/>
                    <a:pt x="306137" y="1260"/>
                  </a:cubicBezTo>
                  <a:lnTo>
                    <a:pt x="306137" y="126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/>
            <p:cNvSpPr/>
            <p:nvPr/>
          </p:nvSpPr>
          <p:spPr>
            <a:xfrm>
              <a:off x="9739553" y="3396793"/>
              <a:ext cx="171607" cy="283152"/>
            </a:xfrm>
            <a:custGeom>
              <a:avLst/>
              <a:gdLst>
                <a:gd name="connsiteX0" fmla="*/ 172596 w 251964"/>
                <a:gd name="connsiteY0" fmla="*/ 560 h 415741"/>
                <a:gd name="connsiteX1" fmla="*/ 177635 w 251964"/>
                <a:gd name="connsiteY1" fmla="*/ 11898 h 415741"/>
                <a:gd name="connsiteX2" fmla="*/ 177635 w 251964"/>
                <a:gd name="connsiteY2" fmla="*/ 13158 h 415741"/>
                <a:gd name="connsiteX3" fmla="*/ 180155 w 251964"/>
                <a:gd name="connsiteY3" fmla="*/ 16938 h 415741"/>
                <a:gd name="connsiteX4" fmla="*/ 180155 w 251964"/>
                <a:gd name="connsiteY4" fmla="*/ 16938 h 415741"/>
                <a:gd name="connsiteX5" fmla="*/ 182674 w 251964"/>
                <a:gd name="connsiteY5" fmla="*/ 20717 h 415741"/>
                <a:gd name="connsiteX6" fmla="*/ 194013 w 251964"/>
                <a:gd name="connsiteY6" fmla="*/ 30796 h 415741"/>
                <a:gd name="connsiteX7" fmla="*/ 200312 w 251964"/>
                <a:gd name="connsiteY7" fmla="*/ 35835 h 415741"/>
                <a:gd name="connsiteX8" fmla="*/ 211650 w 251964"/>
                <a:gd name="connsiteY8" fmla="*/ 43394 h 415741"/>
                <a:gd name="connsiteX9" fmla="*/ 226768 w 251964"/>
                <a:gd name="connsiteY9" fmla="*/ 49693 h 415741"/>
                <a:gd name="connsiteX10" fmla="*/ 234327 w 251964"/>
                <a:gd name="connsiteY10" fmla="*/ 52213 h 415741"/>
                <a:gd name="connsiteX11" fmla="*/ 238107 w 251964"/>
                <a:gd name="connsiteY11" fmla="*/ 53473 h 415741"/>
                <a:gd name="connsiteX12" fmla="*/ 238107 w 251964"/>
                <a:gd name="connsiteY12" fmla="*/ 53473 h 415741"/>
                <a:gd name="connsiteX13" fmla="*/ 248185 w 251964"/>
                <a:gd name="connsiteY13" fmla="*/ 58512 h 415741"/>
                <a:gd name="connsiteX14" fmla="*/ 255744 w 251964"/>
                <a:gd name="connsiteY14" fmla="*/ 61031 h 415741"/>
                <a:gd name="connsiteX15" fmla="*/ 257004 w 251964"/>
                <a:gd name="connsiteY15" fmla="*/ 61031 h 415741"/>
                <a:gd name="connsiteX16" fmla="*/ 257004 w 251964"/>
                <a:gd name="connsiteY16" fmla="*/ 61031 h 415741"/>
                <a:gd name="connsiteX17" fmla="*/ 257004 w 251964"/>
                <a:gd name="connsiteY17" fmla="*/ 61031 h 415741"/>
                <a:gd name="connsiteX18" fmla="*/ 257004 w 251964"/>
                <a:gd name="connsiteY18" fmla="*/ 61031 h 415741"/>
                <a:gd name="connsiteX19" fmla="*/ 257004 w 251964"/>
                <a:gd name="connsiteY19" fmla="*/ 61031 h 415741"/>
                <a:gd name="connsiteX20" fmla="*/ 258264 w 251964"/>
                <a:gd name="connsiteY20" fmla="*/ 61031 h 415741"/>
                <a:gd name="connsiteX21" fmla="*/ 259524 w 251964"/>
                <a:gd name="connsiteY21" fmla="*/ 62291 h 415741"/>
                <a:gd name="connsiteX22" fmla="*/ 259524 w 251964"/>
                <a:gd name="connsiteY22" fmla="*/ 67331 h 415741"/>
                <a:gd name="connsiteX23" fmla="*/ 258264 w 251964"/>
                <a:gd name="connsiteY23" fmla="*/ 79929 h 415741"/>
                <a:gd name="connsiteX24" fmla="*/ 257004 w 251964"/>
                <a:gd name="connsiteY24" fmla="*/ 86228 h 415741"/>
                <a:gd name="connsiteX25" fmla="*/ 257004 w 251964"/>
                <a:gd name="connsiteY25" fmla="*/ 86228 h 415741"/>
                <a:gd name="connsiteX26" fmla="*/ 255744 w 251964"/>
                <a:gd name="connsiteY26" fmla="*/ 92527 h 415741"/>
                <a:gd name="connsiteX27" fmla="*/ 254484 w 251964"/>
                <a:gd name="connsiteY27" fmla="*/ 105125 h 415741"/>
                <a:gd name="connsiteX28" fmla="*/ 254484 w 251964"/>
                <a:gd name="connsiteY28" fmla="*/ 111424 h 415741"/>
                <a:gd name="connsiteX29" fmla="*/ 254484 w 251964"/>
                <a:gd name="connsiteY29" fmla="*/ 122763 h 415741"/>
                <a:gd name="connsiteX30" fmla="*/ 249445 w 251964"/>
                <a:gd name="connsiteY30" fmla="*/ 126542 h 415741"/>
                <a:gd name="connsiteX31" fmla="*/ 235587 w 251964"/>
                <a:gd name="connsiteY31" fmla="*/ 139140 h 415741"/>
                <a:gd name="connsiteX32" fmla="*/ 235587 w 251964"/>
                <a:gd name="connsiteY32" fmla="*/ 156778 h 415741"/>
                <a:gd name="connsiteX33" fmla="*/ 250705 w 251964"/>
                <a:gd name="connsiteY33" fmla="*/ 159298 h 415741"/>
                <a:gd name="connsiteX34" fmla="*/ 250705 w 251964"/>
                <a:gd name="connsiteY34" fmla="*/ 159298 h 415741"/>
                <a:gd name="connsiteX35" fmla="*/ 250705 w 251964"/>
                <a:gd name="connsiteY35" fmla="*/ 163077 h 415741"/>
                <a:gd name="connsiteX36" fmla="*/ 250705 w 251964"/>
                <a:gd name="connsiteY36" fmla="*/ 164337 h 415741"/>
                <a:gd name="connsiteX37" fmla="*/ 250705 w 251964"/>
                <a:gd name="connsiteY37" fmla="*/ 165597 h 415741"/>
                <a:gd name="connsiteX38" fmla="*/ 250705 w 251964"/>
                <a:gd name="connsiteY38" fmla="*/ 170636 h 415741"/>
                <a:gd name="connsiteX39" fmla="*/ 249445 w 251964"/>
                <a:gd name="connsiteY39" fmla="*/ 178195 h 415741"/>
                <a:gd name="connsiteX40" fmla="*/ 245666 w 251964"/>
                <a:gd name="connsiteY40" fmla="*/ 181975 h 415741"/>
                <a:gd name="connsiteX41" fmla="*/ 243146 w 251964"/>
                <a:gd name="connsiteY41" fmla="*/ 184494 h 415741"/>
                <a:gd name="connsiteX42" fmla="*/ 236847 w 251964"/>
                <a:gd name="connsiteY42" fmla="*/ 190793 h 415741"/>
                <a:gd name="connsiteX43" fmla="*/ 233067 w 251964"/>
                <a:gd name="connsiteY43" fmla="*/ 194573 h 415741"/>
                <a:gd name="connsiteX44" fmla="*/ 228028 w 251964"/>
                <a:gd name="connsiteY44" fmla="*/ 199612 h 415741"/>
                <a:gd name="connsiteX45" fmla="*/ 226768 w 251964"/>
                <a:gd name="connsiteY45" fmla="*/ 204651 h 415741"/>
                <a:gd name="connsiteX46" fmla="*/ 226768 w 251964"/>
                <a:gd name="connsiteY46" fmla="*/ 205911 h 415741"/>
                <a:gd name="connsiteX47" fmla="*/ 226768 w 251964"/>
                <a:gd name="connsiteY47" fmla="*/ 207171 h 415741"/>
                <a:gd name="connsiteX48" fmla="*/ 229288 w 251964"/>
                <a:gd name="connsiteY48" fmla="*/ 212210 h 415741"/>
                <a:gd name="connsiteX49" fmla="*/ 235587 w 251964"/>
                <a:gd name="connsiteY49" fmla="*/ 214730 h 415741"/>
                <a:gd name="connsiteX50" fmla="*/ 235587 w 251964"/>
                <a:gd name="connsiteY50" fmla="*/ 214730 h 415741"/>
                <a:gd name="connsiteX51" fmla="*/ 240626 w 251964"/>
                <a:gd name="connsiteY51" fmla="*/ 213470 h 415741"/>
                <a:gd name="connsiteX52" fmla="*/ 241886 w 251964"/>
                <a:gd name="connsiteY52" fmla="*/ 212210 h 415741"/>
                <a:gd name="connsiteX53" fmla="*/ 240626 w 251964"/>
                <a:gd name="connsiteY53" fmla="*/ 217250 h 415741"/>
                <a:gd name="connsiteX54" fmla="*/ 236847 w 251964"/>
                <a:gd name="connsiteY54" fmla="*/ 229848 h 415741"/>
                <a:gd name="connsiteX55" fmla="*/ 233067 w 251964"/>
                <a:gd name="connsiteY55" fmla="*/ 239926 h 415741"/>
                <a:gd name="connsiteX56" fmla="*/ 230548 w 251964"/>
                <a:gd name="connsiteY56" fmla="*/ 244966 h 415741"/>
                <a:gd name="connsiteX57" fmla="*/ 230548 w 251964"/>
                <a:gd name="connsiteY57" fmla="*/ 246225 h 415741"/>
                <a:gd name="connsiteX58" fmla="*/ 230548 w 251964"/>
                <a:gd name="connsiteY58" fmla="*/ 247485 h 415741"/>
                <a:gd name="connsiteX59" fmla="*/ 228028 w 251964"/>
                <a:gd name="connsiteY59" fmla="*/ 252525 h 415741"/>
                <a:gd name="connsiteX60" fmla="*/ 226768 w 251964"/>
                <a:gd name="connsiteY60" fmla="*/ 253784 h 415741"/>
                <a:gd name="connsiteX61" fmla="*/ 222989 w 251964"/>
                <a:gd name="connsiteY61" fmla="*/ 258824 h 415741"/>
                <a:gd name="connsiteX62" fmla="*/ 220469 w 251964"/>
                <a:gd name="connsiteY62" fmla="*/ 265123 h 415741"/>
                <a:gd name="connsiteX63" fmla="*/ 220469 w 251964"/>
                <a:gd name="connsiteY63" fmla="*/ 265123 h 415741"/>
                <a:gd name="connsiteX64" fmla="*/ 220469 w 251964"/>
                <a:gd name="connsiteY64" fmla="*/ 266383 h 415741"/>
                <a:gd name="connsiteX65" fmla="*/ 220469 w 251964"/>
                <a:gd name="connsiteY65" fmla="*/ 266383 h 415741"/>
                <a:gd name="connsiteX66" fmla="*/ 219209 w 251964"/>
                <a:gd name="connsiteY66" fmla="*/ 268902 h 415741"/>
                <a:gd name="connsiteX67" fmla="*/ 219209 w 251964"/>
                <a:gd name="connsiteY67" fmla="*/ 268902 h 415741"/>
                <a:gd name="connsiteX68" fmla="*/ 217949 w 251964"/>
                <a:gd name="connsiteY68" fmla="*/ 271422 h 415741"/>
                <a:gd name="connsiteX69" fmla="*/ 217949 w 251964"/>
                <a:gd name="connsiteY69" fmla="*/ 271422 h 415741"/>
                <a:gd name="connsiteX70" fmla="*/ 217949 w 251964"/>
                <a:gd name="connsiteY70" fmla="*/ 271422 h 415741"/>
                <a:gd name="connsiteX71" fmla="*/ 216690 w 251964"/>
                <a:gd name="connsiteY71" fmla="*/ 273942 h 415741"/>
                <a:gd name="connsiteX72" fmla="*/ 216690 w 251964"/>
                <a:gd name="connsiteY72" fmla="*/ 275201 h 415741"/>
                <a:gd name="connsiteX73" fmla="*/ 216690 w 251964"/>
                <a:gd name="connsiteY73" fmla="*/ 276461 h 415741"/>
                <a:gd name="connsiteX74" fmla="*/ 217949 w 251964"/>
                <a:gd name="connsiteY74" fmla="*/ 280241 h 415741"/>
                <a:gd name="connsiteX75" fmla="*/ 219209 w 251964"/>
                <a:gd name="connsiteY75" fmla="*/ 290319 h 415741"/>
                <a:gd name="connsiteX76" fmla="*/ 219209 w 251964"/>
                <a:gd name="connsiteY76" fmla="*/ 290319 h 415741"/>
                <a:gd name="connsiteX77" fmla="*/ 220469 w 251964"/>
                <a:gd name="connsiteY77" fmla="*/ 300398 h 415741"/>
                <a:gd name="connsiteX78" fmla="*/ 221729 w 251964"/>
                <a:gd name="connsiteY78" fmla="*/ 310476 h 415741"/>
                <a:gd name="connsiteX79" fmla="*/ 224248 w 251964"/>
                <a:gd name="connsiteY79" fmla="*/ 321815 h 415741"/>
                <a:gd name="connsiteX80" fmla="*/ 230548 w 251964"/>
                <a:gd name="connsiteY80" fmla="*/ 338193 h 415741"/>
                <a:gd name="connsiteX81" fmla="*/ 234327 w 251964"/>
                <a:gd name="connsiteY81" fmla="*/ 347011 h 415741"/>
                <a:gd name="connsiteX82" fmla="*/ 234327 w 251964"/>
                <a:gd name="connsiteY82" fmla="*/ 347011 h 415741"/>
                <a:gd name="connsiteX83" fmla="*/ 236847 w 251964"/>
                <a:gd name="connsiteY83" fmla="*/ 353310 h 415741"/>
                <a:gd name="connsiteX84" fmla="*/ 238107 w 251964"/>
                <a:gd name="connsiteY84" fmla="*/ 354570 h 415741"/>
                <a:gd name="connsiteX85" fmla="*/ 238107 w 251964"/>
                <a:gd name="connsiteY85" fmla="*/ 354570 h 415741"/>
                <a:gd name="connsiteX86" fmla="*/ 240626 w 251964"/>
                <a:gd name="connsiteY86" fmla="*/ 359610 h 415741"/>
                <a:gd name="connsiteX87" fmla="*/ 241886 w 251964"/>
                <a:gd name="connsiteY87" fmla="*/ 364649 h 415741"/>
                <a:gd name="connsiteX88" fmla="*/ 241886 w 251964"/>
                <a:gd name="connsiteY88" fmla="*/ 365909 h 415741"/>
                <a:gd name="connsiteX89" fmla="*/ 241886 w 251964"/>
                <a:gd name="connsiteY89" fmla="*/ 365909 h 415741"/>
                <a:gd name="connsiteX90" fmla="*/ 241886 w 251964"/>
                <a:gd name="connsiteY90" fmla="*/ 365909 h 415741"/>
                <a:gd name="connsiteX91" fmla="*/ 241886 w 251964"/>
                <a:gd name="connsiteY91" fmla="*/ 369688 h 415741"/>
                <a:gd name="connsiteX92" fmla="*/ 241886 w 251964"/>
                <a:gd name="connsiteY92" fmla="*/ 373468 h 415741"/>
                <a:gd name="connsiteX93" fmla="*/ 241886 w 251964"/>
                <a:gd name="connsiteY93" fmla="*/ 374728 h 415741"/>
                <a:gd name="connsiteX94" fmla="*/ 240626 w 251964"/>
                <a:gd name="connsiteY94" fmla="*/ 378507 h 415741"/>
                <a:gd name="connsiteX95" fmla="*/ 236847 w 251964"/>
                <a:gd name="connsiteY95" fmla="*/ 387326 h 415741"/>
                <a:gd name="connsiteX96" fmla="*/ 231807 w 251964"/>
                <a:gd name="connsiteY96" fmla="*/ 393625 h 415741"/>
                <a:gd name="connsiteX97" fmla="*/ 219209 w 251964"/>
                <a:gd name="connsiteY97" fmla="*/ 406223 h 415741"/>
                <a:gd name="connsiteX98" fmla="*/ 210391 w 251964"/>
                <a:gd name="connsiteY98" fmla="*/ 411262 h 415741"/>
                <a:gd name="connsiteX99" fmla="*/ 209131 w 251964"/>
                <a:gd name="connsiteY99" fmla="*/ 412522 h 415741"/>
                <a:gd name="connsiteX100" fmla="*/ 202832 w 251964"/>
                <a:gd name="connsiteY100" fmla="*/ 416302 h 415741"/>
                <a:gd name="connsiteX101" fmla="*/ 185194 w 251964"/>
                <a:gd name="connsiteY101" fmla="*/ 421341 h 415741"/>
                <a:gd name="connsiteX102" fmla="*/ 175115 w 251964"/>
                <a:gd name="connsiteY102" fmla="*/ 421341 h 415741"/>
                <a:gd name="connsiteX103" fmla="*/ 166297 w 251964"/>
                <a:gd name="connsiteY103" fmla="*/ 421341 h 415741"/>
                <a:gd name="connsiteX104" fmla="*/ 165037 w 251964"/>
                <a:gd name="connsiteY104" fmla="*/ 421341 h 415741"/>
                <a:gd name="connsiteX105" fmla="*/ 157478 w 251964"/>
                <a:gd name="connsiteY105" fmla="*/ 420081 h 415741"/>
                <a:gd name="connsiteX106" fmla="*/ 149919 w 251964"/>
                <a:gd name="connsiteY106" fmla="*/ 417561 h 415741"/>
                <a:gd name="connsiteX107" fmla="*/ 137321 w 251964"/>
                <a:gd name="connsiteY107" fmla="*/ 411262 h 415741"/>
                <a:gd name="connsiteX108" fmla="*/ 131022 w 251964"/>
                <a:gd name="connsiteY108" fmla="*/ 406223 h 415741"/>
                <a:gd name="connsiteX109" fmla="*/ 125982 w 251964"/>
                <a:gd name="connsiteY109" fmla="*/ 399924 h 415741"/>
                <a:gd name="connsiteX110" fmla="*/ 123463 w 251964"/>
                <a:gd name="connsiteY110" fmla="*/ 393625 h 415741"/>
                <a:gd name="connsiteX111" fmla="*/ 120943 w 251964"/>
                <a:gd name="connsiteY111" fmla="*/ 386066 h 415741"/>
                <a:gd name="connsiteX112" fmla="*/ 119683 w 251964"/>
                <a:gd name="connsiteY112" fmla="*/ 378507 h 415741"/>
                <a:gd name="connsiteX113" fmla="*/ 119683 w 251964"/>
                <a:gd name="connsiteY113" fmla="*/ 378507 h 415741"/>
                <a:gd name="connsiteX114" fmla="*/ 119683 w 251964"/>
                <a:gd name="connsiteY114" fmla="*/ 378507 h 415741"/>
                <a:gd name="connsiteX115" fmla="*/ 119683 w 251964"/>
                <a:gd name="connsiteY115" fmla="*/ 378507 h 415741"/>
                <a:gd name="connsiteX116" fmla="*/ 125982 w 251964"/>
                <a:gd name="connsiteY116" fmla="*/ 373468 h 415741"/>
                <a:gd name="connsiteX117" fmla="*/ 129762 w 251964"/>
                <a:gd name="connsiteY117" fmla="*/ 368428 h 415741"/>
                <a:gd name="connsiteX118" fmla="*/ 131022 w 251964"/>
                <a:gd name="connsiteY118" fmla="*/ 358350 h 415741"/>
                <a:gd name="connsiteX119" fmla="*/ 128502 w 251964"/>
                <a:gd name="connsiteY119" fmla="*/ 353310 h 415741"/>
                <a:gd name="connsiteX120" fmla="*/ 132281 w 251964"/>
                <a:gd name="connsiteY120" fmla="*/ 336933 h 415741"/>
                <a:gd name="connsiteX121" fmla="*/ 132281 w 251964"/>
                <a:gd name="connsiteY121" fmla="*/ 336933 h 415741"/>
                <a:gd name="connsiteX122" fmla="*/ 132281 w 251964"/>
                <a:gd name="connsiteY122" fmla="*/ 336933 h 415741"/>
                <a:gd name="connsiteX123" fmla="*/ 134801 w 251964"/>
                <a:gd name="connsiteY123" fmla="*/ 318036 h 415741"/>
                <a:gd name="connsiteX124" fmla="*/ 134801 w 251964"/>
                <a:gd name="connsiteY124" fmla="*/ 312996 h 415741"/>
                <a:gd name="connsiteX125" fmla="*/ 131022 w 251964"/>
                <a:gd name="connsiteY125" fmla="*/ 312996 h 415741"/>
                <a:gd name="connsiteX126" fmla="*/ 125982 w 251964"/>
                <a:gd name="connsiteY126" fmla="*/ 312996 h 415741"/>
                <a:gd name="connsiteX127" fmla="*/ 110864 w 251964"/>
                <a:gd name="connsiteY127" fmla="*/ 310476 h 415741"/>
                <a:gd name="connsiteX128" fmla="*/ 107085 w 251964"/>
                <a:gd name="connsiteY128" fmla="*/ 309217 h 415741"/>
                <a:gd name="connsiteX129" fmla="*/ 107085 w 251964"/>
                <a:gd name="connsiteY129" fmla="*/ 309217 h 415741"/>
                <a:gd name="connsiteX130" fmla="*/ 93227 w 251964"/>
                <a:gd name="connsiteY130" fmla="*/ 306697 h 415741"/>
                <a:gd name="connsiteX131" fmla="*/ 74329 w 251964"/>
                <a:gd name="connsiteY131" fmla="*/ 300398 h 415741"/>
                <a:gd name="connsiteX132" fmla="*/ 56692 w 251964"/>
                <a:gd name="connsiteY132" fmla="*/ 291579 h 415741"/>
                <a:gd name="connsiteX133" fmla="*/ 49133 w 251964"/>
                <a:gd name="connsiteY133" fmla="*/ 286540 h 415741"/>
                <a:gd name="connsiteX134" fmla="*/ 41574 w 251964"/>
                <a:gd name="connsiteY134" fmla="*/ 280241 h 415741"/>
                <a:gd name="connsiteX135" fmla="*/ 30236 w 251964"/>
                <a:gd name="connsiteY135" fmla="*/ 265123 h 415741"/>
                <a:gd name="connsiteX136" fmla="*/ 21417 w 251964"/>
                <a:gd name="connsiteY136" fmla="*/ 248745 h 415741"/>
                <a:gd name="connsiteX137" fmla="*/ 13858 w 251964"/>
                <a:gd name="connsiteY137" fmla="*/ 229848 h 415741"/>
                <a:gd name="connsiteX138" fmla="*/ 10078 w 251964"/>
                <a:gd name="connsiteY138" fmla="*/ 218509 h 415741"/>
                <a:gd name="connsiteX139" fmla="*/ 10078 w 251964"/>
                <a:gd name="connsiteY139" fmla="*/ 218509 h 415741"/>
                <a:gd name="connsiteX140" fmla="*/ 10078 w 251964"/>
                <a:gd name="connsiteY140" fmla="*/ 218509 h 415741"/>
                <a:gd name="connsiteX141" fmla="*/ 8819 w 251964"/>
                <a:gd name="connsiteY141" fmla="*/ 212210 h 415741"/>
                <a:gd name="connsiteX142" fmla="*/ 5039 w 251964"/>
                <a:gd name="connsiteY142" fmla="*/ 194573 h 415741"/>
                <a:gd name="connsiteX143" fmla="*/ 5039 w 251964"/>
                <a:gd name="connsiteY143" fmla="*/ 193313 h 415741"/>
                <a:gd name="connsiteX144" fmla="*/ 2520 w 251964"/>
                <a:gd name="connsiteY144" fmla="*/ 174416 h 415741"/>
                <a:gd name="connsiteX145" fmla="*/ 0 w 251964"/>
                <a:gd name="connsiteY145" fmla="*/ 135361 h 415741"/>
                <a:gd name="connsiteX146" fmla="*/ 0 w 251964"/>
                <a:gd name="connsiteY146" fmla="*/ 100086 h 415741"/>
                <a:gd name="connsiteX147" fmla="*/ 0 w 251964"/>
                <a:gd name="connsiteY147" fmla="*/ 96307 h 415741"/>
                <a:gd name="connsiteX148" fmla="*/ 1260 w 251964"/>
                <a:gd name="connsiteY148" fmla="*/ 78669 h 415741"/>
                <a:gd name="connsiteX149" fmla="*/ 3779 w 251964"/>
                <a:gd name="connsiteY149" fmla="*/ 59772 h 415741"/>
                <a:gd name="connsiteX150" fmla="*/ 3779 w 251964"/>
                <a:gd name="connsiteY150" fmla="*/ 55992 h 415741"/>
                <a:gd name="connsiteX151" fmla="*/ 3779 w 251964"/>
                <a:gd name="connsiteY151" fmla="*/ 52213 h 415741"/>
                <a:gd name="connsiteX152" fmla="*/ 5039 w 251964"/>
                <a:gd name="connsiteY152" fmla="*/ 52213 h 415741"/>
                <a:gd name="connsiteX153" fmla="*/ 7559 w 251964"/>
                <a:gd name="connsiteY153" fmla="*/ 52213 h 415741"/>
                <a:gd name="connsiteX154" fmla="*/ 18897 w 251964"/>
                <a:gd name="connsiteY154" fmla="*/ 52213 h 415741"/>
                <a:gd name="connsiteX155" fmla="*/ 20157 w 251964"/>
                <a:gd name="connsiteY155" fmla="*/ 52213 h 415741"/>
                <a:gd name="connsiteX156" fmla="*/ 25196 w 251964"/>
                <a:gd name="connsiteY156" fmla="*/ 53473 h 415741"/>
                <a:gd name="connsiteX157" fmla="*/ 35275 w 251964"/>
                <a:gd name="connsiteY157" fmla="*/ 54732 h 415741"/>
                <a:gd name="connsiteX158" fmla="*/ 47873 w 251964"/>
                <a:gd name="connsiteY158" fmla="*/ 54732 h 415741"/>
                <a:gd name="connsiteX159" fmla="*/ 47873 w 251964"/>
                <a:gd name="connsiteY159" fmla="*/ 54732 h 415741"/>
                <a:gd name="connsiteX160" fmla="*/ 69290 w 251964"/>
                <a:gd name="connsiteY160" fmla="*/ 53473 h 415741"/>
                <a:gd name="connsiteX161" fmla="*/ 90707 w 251964"/>
                <a:gd name="connsiteY161" fmla="*/ 48433 h 415741"/>
                <a:gd name="connsiteX162" fmla="*/ 108345 w 251964"/>
                <a:gd name="connsiteY162" fmla="*/ 43394 h 415741"/>
                <a:gd name="connsiteX163" fmla="*/ 110864 w 251964"/>
                <a:gd name="connsiteY163" fmla="*/ 42134 h 415741"/>
                <a:gd name="connsiteX164" fmla="*/ 110864 w 251964"/>
                <a:gd name="connsiteY164" fmla="*/ 42134 h 415741"/>
                <a:gd name="connsiteX165" fmla="*/ 110864 w 251964"/>
                <a:gd name="connsiteY165" fmla="*/ 42134 h 415741"/>
                <a:gd name="connsiteX166" fmla="*/ 110864 w 251964"/>
                <a:gd name="connsiteY166" fmla="*/ 42134 h 415741"/>
                <a:gd name="connsiteX167" fmla="*/ 110864 w 251964"/>
                <a:gd name="connsiteY167" fmla="*/ 42134 h 415741"/>
                <a:gd name="connsiteX168" fmla="*/ 110864 w 251964"/>
                <a:gd name="connsiteY168" fmla="*/ 42134 h 415741"/>
                <a:gd name="connsiteX169" fmla="*/ 110864 w 251964"/>
                <a:gd name="connsiteY169" fmla="*/ 42134 h 415741"/>
                <a:gd name="connsiteX170" fmla="*/ 112124 w 251964"/>
                <a:gd name="connsiteY170" fmla="*/ 42134 h 415741"/>
                <a:gd name="connsiteX171" fmla="*/ 112124 w 251964"/>
                <a:gd name="connsiteY171" fmla="*/ 42134 h 415741"/>
                <a:gd name="connsiteX172" fmla="*/ 113384 w 251964"/>
                <a:gd name="connsiteY172" fmla="*/ 42134 h 415741"/>
                <a:gd name="connsiteX173" fmla="*/ 113384 w 251964"/>
                <a:gd name="connsiteY173" fmla="*/ 42134 h 415741"/>
                <a:gd name="connsiteX174" fmla="*/ 131022 w 251964"/>
                <a:gd name="connsiteY174" fmla="*/ 33315 h 415741"/>
                <a:gd name="connsiteX175" fmla="*/ 149919 w 251964"/>
                <a:gd name="connsiteY175" fmla="*/ 21977 h 415741"/>
                <a:gd name="connsiteX176" fmla="*/ 158738 w 251964"/>
                <a:gd name="connsiteY176" fmla="*/ 14418 h 415741"/>
                <a:gd name="connsiteX177" fmla="*/ 166297 w 251964"/>
                <a:gd name="connsiteY177" fmla="*/ 6859 h 415741"/>
                <a:gd name="connsiteX178" fmla="*/ 170076 w 251964"/>
                <a:gd name="connsiteY178" fmla="*/ 1820 h 415741"/>
                <a:gd name="connsiteX179" fmla="*/ 171336 w 251964"/>
                <a:gd name="connsiteY179" fmla="*/ 560 h 415741"/>
                <a:gd name="connsiteX180" fmla="*/ 171336 w 251964"/>
                <a:gd name="connsiteY180" fmla="*/ 560 h 415741"/>
                <a:gd name="connsiteX181" fmla="*/ 171336 w 251964"/>
                <a:gd name="connsiteY181" fmla="*/ 560 h 415741"/>
                <a:gd name="connsiteX182" fmla="*/ 172596 w 251964"/>
                <a:gd name="connsiteY182" fmla="*/ 560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51964" h="415741">
                  <a:moveTo>
                    <a:pt x="172596" y="560"/>
                  </a:moveTo>
                  <a:cubicBezTo>
                    <a:pt x="173855" y="4339"/>
                    <a:pt x="175115" y="8119"/>
                    <a:pt x="177635" y="11898"/>
                  </a:cubicBezTo>
                  <a:lnTo>
                    <a:pt x="177635" y="13158"/>
                  </a:lnTo>
                  <a:cubicBezTo>
                    <a:pt x="177635" y="14418"/>
                    <a:pt x="178895" y="15678"/>
                    <a:pt x="180155" y="16938"/>
                  </a:cubicBezTo>
                  <a:lnTo>
                    <a:pt x="180155" y="16938"/>
                  </a:lnTo>
                  <a:cubicBezTo>
                    <a:pt x="181414" y="18198"/>
                    <a:pt x="181414" y="19457"/>
                    <a:pt x="182674" y="20717"/>
                  </a:cubicBezTo>
                  <a:cubicBezTo>
                    <a:pt x="185194" y="25756"/>
                    <a:pt x="190233" y="28276"/>
                    <a:pt x="194013" y="30796"/>
                  </a:cubicBezTo>
                  <a:cubicBezTo>
                    <a:pt x="196533" y="32055"/>
                    <a:pt x="197792" y="34575"/>
                    <a:pt x="200312" y="35835"/>
                  </a:cubicBezTo>
                  <a:cubicBezTo>
                    <a:pt x="204092" y="38355"/>
                    <a:pt x="207871" y="40874"/>
                    <a:pt x="211650" y="43394"/>
                  </a:cubicBezTo>
                  <a:cubicBezTo>
                    <a:pt x="216690" y="45914"/>
                    <a:pt x="221729" y="48433"/>
                    <a:pt x="226768" y="49693"/>
                  </a:cubicBezTo>
                  <a:cubicBezTo>
                    <a:pt x="229288" y="50953"/>
                    <a:pt x="231807" y="50953"/>
                    <a:pt x="234327" y="52213"/>
                  </a:cubicBezTo>
                  <a:cubicBezTo>
                    <a:pt x="235587" y="52213"/>
                    <a:pt x="236847" y="53473"/>
                    <a:pt x="238107" y="53473"/>
                  </a:cubicBezTo>
                  <a:lnTo>
                    <a:pt x="238107" y="53473"/>
                  </a:lnTo>
                  <a:cubicBezTo>
                    <a:pt x="241886" y="54732"/>
                    <a:pt x="245666" y="57252"/>
                    <a:pt x="248185" y="58512"/>
                  </a:cubicBezTo>
                  <a:cubicBezTo>
                    <a:pt x="250705" y="59772"/>
                    <a:pt x="253225" y="59772"/>
                    <a:pt x="255744" y="61031"/>
                  </a:cubicBezTo>
                  <a:cubicBezTo>
                    <a:pt x="25574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7004" y="61031"/>
                  </a:lnTo>
                  <a:cubicBezTo>
                    <a:pt x="25700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8264" y="61031"/>
                  </a:lnTo>
                  <a:cubicBezTo>
                    <a:pt x="258264" y="61031"/>
                    <a:pt x="259524" y="61031"/>
                    <a:pt x="259524" y="62291"/>
                  </a:cubicBezTo>
                  <a:cubicBezTo>
                    <a:pt x="259524" y="63551"/>
                    <a:pt x="259524" y="66071"/>
                    <a:pt x="259524" y="67331"/>
                  </a:cubicBezTo>
                  <a:cubicBezTo>
                    <a:pt x="259524" y="71110"/>
                    <a:pt x="258264" y="74890"/>
                    <a:pt x="258264" y="79929"/>
                  </a:cubicBezTo>
                  <a:cubicBezTo>
                    <a:pt x="258264" y="82448"/>
                    <a:pt x="258264" y="83708"/>
                    <a:pt x="257004" y="86228"/>
                  </a:cubicBezTo>
                  <a:lnTo>
                    <a:pt x="257004" y="86228"/>
                  </a:lnTo>
                  <a:cubicBezTo>
                    <a:pt x="257004" y="88748"/>
                    <a:pt x="257004" y="90007"/>
                    <a:pt x="255744" y="92527"/>
                  </a:cubicBezTo>
                  <a:cubicBezTo>
                    <a:pt x="255744" y="96307"/>
                    <a:pt x="254484" y="101346"/>
                    <a:pt x="254484" y="105125"/>
                  </a:cubicBezTo>
                  <a:cubicBezTo>
                    <a:pt x="254484" y="107645"/>
                    <a:pt x="254484" y="108905"/>
                    <a:pt x="254484" y="111424"/>
                  </a:cubicBezTo>
                  <a:cubicBezTo>
                    <a:pt x="254484" y="115204"/>
                    <a:pt x="254484" y="118983"/>
                    <a:pt x="254484" y="122763"/>
                  </a:cubicBezTo>
                  <a:cubicBezTo>
                    <a:pt x="253225" y="124023"/>
                    <a:pt x="250705" y="125282"/>
                    <a:pt x="249445" y="126542"/>
                  </a:cubicBezTo>
                  <a:cubicBezTo>
                    <a:pt x="244406" y="130322"/>
                    <a:pt x="239366" y="135361"/>
                    <a:pt x="235587" y="139140"/>
                  </a:cubicBezTo>
                  <a:cubicBezTo>
                    <a:pt x="230548" y="144180"/>
                    <a:pt x="230548" y="151739"/>
                    <a:pt x="235587" y="156778"/>
                  </a:cubicBezTo>
                  <a:cubicBezTo>
                    <a:pt x="239366" y="160558"/>
                    <a:pt x="245666" y="161817"/>
                    <a:pt x="250705" y="159298"/>
                  </a:cubicBezTo>
                  <a:lnTo>
                    <a:pt x="250705" y="159298"/>
                  </a:lnTo>
                  <a:cubicBezTo>
                    <a:pt x="250705" y="160558"/>
                    <a:pt x="250705" y="161817"/>
                    <a:pt x="250705" y="163077"/>
                  </a:cubicBezTo>
                  <a:lnTo>
                    <a:pt x="250705" y="164337"/>
                  </a:lnTo>
                  <a:lnTo>
                    <a:pt x="250705" y="165597"/>
                  </a:lnTo>
                  <a:cubicBezTo>
                    <a:pt x="250705" y="166857"/>
                    <a:pt x="250705" y="169376"/>
                    <a:pt x="250705" y="170636"/>
                  </a:cubicBezTo>
                  <a:cubicBezTo>
                    <a:pt x="250705" y="173156"/>
                    <a:pt x="249445" y="175675"/>
                    <a:pt x="249445" y="178195"/>
                  </a:cubicBezTo>
                  <a:cubicBezTo>
                    <a:pt x="248185" y="179455"/>
                    <a:pt x="246925" y="180715"/>
                    <a:pt x="245666" y="181975"/>
                  </a:cubicBezTo>
                  <a:lnTo>
                    <a:pt x="243146" y="184494"/>
                  </a:lnTo>
                  <a:cubicBezTo>
                    <a:pt x="240626" y="187014"/>
                    <a:pt x="238107" y="188274"/>
                    <a:pt x="236847" y="190793"/>
                  </a:cubicBezTo>
                  <a:cubicBezTo>
                    <a:pt x="235587" y="192053"/>
                    <a:pt x="234327" y="193313"/>
                    <a:pt x="233067" y="194573"/>
                  </a:cubicBezTo>
                  <a:cubicBezTo>
                    <a:pt x="231807" y="195832"/>
                    <a:pt x="229288" y="198352"/>
                    <a:pt x="228028" y="199612"/>
                  </a:cubicBezTo>
                  <a:cubicBezTo>
                    <a:pt x="226768" y="200872"/>
                    <a:pt x="226768" y="203392"/>
                    <a:pt x="226768" y="204651"/>
                  </a:cubicBezTo>
                  <a:lnTo>
                    <a:pt x="226768" y="205911"/>
                  </a:lnTo>
                  <a:lnTo>
                    <a:pt x="226768" y="207171"/>
                  </a:lnTo>
                  <a:cubicBezTo>
                    <a:pt x="226768" y="208431"/>
                    <a:pt x="228028" y="210951"/>
                    <a:pt x="229288" y="212210"/>
                  </a:cubicBezTo>
                  <a:cubicBezTo>
                    <a:pt x="230548" y="213470"/>
                    <a:pt x="233067" y="214730"/>
                    <a:pt x="235587" y="214730"/>
                  </a:cubicBezTo>
                  <a:cubicBezTo>
                    <a:pt x="235587" y="214730"/>
                    <a:pt x="235587" y="214730"/>
                    <a:pt x="235587" y="214730"/>
                  </a:cubicBezTo>
                  <a:cubicBezTo>
                    <a:pt x="236847" y="214730"/>
                    <a:pt x="239366" y="214730"/>
                    <a:pt x="240626" y="213470"/>
                  </a:cubicBezTo>
                  <a:cubicBezTo>
                    <a:pt x="241886" y="213470"/>
                    <a:pt x="241886" y="212210"/>
                    <a:pt x="241886" y="212210"/>
                  </a:cubicBezTo>
                  <a:cubicBezTo>
                    <a:pt x="241886" y="213470"/>
                    <a:pt x="240626" y="215990"/>
                    <a:pt x="240626" y="217250"/>
                  </a:cubicBezTo>
                  <a:cubicBezTo>
                    <a:pt x="239366" y="221029"/>
                    <a:pt x="239366" y="224808"/>
                    <a:pt x="236847" y="229848"/>
                  </a:cubicBezTo>
                  <a:cubicBezTo>
                    <a:pt x="235587" y="232367"/>
                    <a:pt x="234327" y="236147"/>
                    <a:pt x="233067" y="239926"/>
                  </a:cubicBezTo>
                  <a:cubicBezTo>
                    <a:pt x="231807" y="241186"/>
                    <a:pt x="231807" y="243706"/>
                    <a:pt x="230548" y="244966"/>
                  </a:cubicBezTo>
                  <a:lnTo>
                    <a:pt x="230548" y="246225"/>
                  </a:lnTo>
                  <a:lnTo>
                    <a:pt x="230548" y="247485"/>
                  </a:lnTo>
                  <a:cubicBezTo>
                    <a:pt x="229288" y="248745"/>
                    <a:pt x="229288" y="251265"/>
                    <a:pt x="228028" y="252525"/>
                  </a:cubicBezTo>
                  <a:lnTo>
                    <a:pt x="226768" y="253784"/>
                  </a:lnTo>
                  <a:cubicBezTo>
                    <a:pt x="225508" y="255044"/>
                    <a:pt x="224248" y="257564"/>
                    <a:pt x="222989" y="258824"/>
                  </a:cubicBezTo>
                  <a:cubicBezTo>
                    <a:pt x="221729" y="261343"/>
                    <a:pt x="220469" y="262603"/>
                    <a:pt x="220469" y="265123"/>
                  </a:cubicBezTo>
                  <a:lnTo>
                    <a:pt x="220469" y="265123"/>
                  </a:lnTo>
                  <a:lnTo>
                    <a:pt x="220469" y="266383"/>
                  </a:lnTo>
                  <a:lnTo>
                    <a:pt x="220469" y="266383"/>
                  </a:lnTo>
                  <a:cubicBezTo>
                    <a:pt x="220469" y="267643"/>
                    <a:pt x="219209" y="267643"/>
                    <a:pt x="219209" y="268902"/>
                  </a:cubicBezTo>
                  <a:lnTo>
                    <a:pt x="219209" y="268902"/>
                  </a:lnTo>
                  <a:cubicBezTo>
                    <a:pt x="219209" y="270162"/>
                    <a:pt x="217949" y="271422"/>
                    <a:pt x="217949" y="271422"/>
                  </a:cubicBezTo>
                  <a:lnTo>
                    <a:pt x="217949" y="271422"/>
                  </a:lnTo>
                  <a:lnTo>
                    <a:pt x="217949" y="271422"/>
                  </a:lnTo>
                  <a:cubicBezTo>
                    <a:pt x="217949" y="272682"/>
                    <a:pt x="216690" y="272682"/>
                    <a:pt x="216690" y="273942"/>
                  </a:cubicBezTo>
                  <a:cubicBezTo>
                    <a:pt x="216690" y="273942"/>
                    <a:pt x="216690" y="275201"/>
                    <a:pt x="216690" y="275201"/>
                  </a:cubicBezTo>
                  <a:lnTo>
                    <a:pt x="216690" y="276461"/>
                  </a:lnTo>
                  <a:cubicBezTo>
                    <a:pt x="216690" y="277721"/>
                    <a:pt x="216690" y="278981"/>
                    <a:pt x="217949" y="280241"/>
                  </a:cubicBezTo>
                  <a:cubicBezTo>
                    <a:pt x="217949" y="284020"/>
                    <a:pt x="219209" y="286540"/>
                    <a:pt x="219209" y="290319"/>
                  </a:cubicBezTo>
                  <a:lnTo>
                    <a:pt x="219209" y="290319"/>
                  </a:lnTo>
                  <a:cubicBezTo>
                    <a:pt x="219209" y="292839"/>
                    <a:pt x="220469" y="296618"/>
                    <a:pt x="220469" y="300398"/>
                  </a:cubicBezTo>
                  <a:cubicBezTo>
                    <a:pt x="220469" y="304177"/>
                    <a:pt x="221729" y="306697"/>
                    <a:pt x="221729" y="310476"/>
                  </a:cubicBezTo>
                  <a:cubicBezTo>
                    <a:pt x="221729" y="314256"/>
                    <a:pt x="222989" y="318036"/>
                    <a:pt x="224248" y="321815"/>
                  </a:cubicBezTo>
                  <a:cubicBezTo>
                    <a:pt x="225508" y="328114"/>
                    <a:pt x="228028" y="333153"/>
                    <a:pt x="230548" y="338193"/>
                  </a:cubicBezTo>
                  <a:cubicBezTo>
                    <a:pt x="231807" y="340712"/>
                    <a:pt x="233067" y="344492"/>
                    <a:pt x="234327" y="347011"/>
                  </a:cubicBezTo>
                  <a:cubicBezTo>
                    <a:pt x="234327" y="347011"/>
                    <a:pt x="234327" y="347011"/>
                    <a:pt x="234327" y="347011"/>
                  </a:cubicBezTo>
                  <a:cubicBezTo>
                    <a:pt x="235587" y="349531"/>
                    <a:pt x="236847" y="352051"/>
                    <a:pt x="236847" y="353310"/>
                  </a:cubicBezTo>
                  <a:cubicBezTo>
                    <a:pt x="236847" y="353310"/>
                    <a:pt x="236847" y="354570"/>
                    <a:pt x="238107" y="354570"/>
                  </a:cubicBezTo>
                  <a:lnTo>
                    <a:pt x="238107" y="354570"/>
                  </a:lnTo>
                  <a:cubicBezTo>
                    <a:pt x="239366" y="355830"/>
                    <a:pt x="239366" y="358350"/>
                    <a:pt x="240626" y="359610"/>
                  </a:cubicBezTo>
                  <a:cubicBezTo>
                    <a:pt x="240626" y="360869"/>
                    <a:pt x="241886" y="362129"/>
                    <a:pt x="241886" y="364649"/>
                  </a:cubicBezTo>
                  <a:cubicBezTo>
                    <a:pt x="241886" y="364649"/>
                    <a:pt x="241886" y="364649"/>
                    <a:pt x="241886" y="365909"/>
                  </a:cubicBezTo>
                  <a:lnTo>
                    <a:pt x="241886" y="365909"/>
                  </a:lnTo>
                  <a:lnTo>
                    <a:pt x="241886" y="365909"/>
                  </a:lnTo>
                  <a:cubicBezTo>
                    <a:pt x="241886" y="367169"/>
                    <a:pt x="241886" y="368428"/>
                    <a:pt x="241886" y="369688"/>
                  </a:cubicBezTo>
                  <a:cubicBezTo>
                    <a:pt x="241886" y="370948"/>
                    <a:pt x="241886" y="372208"/>
                    <a:pt x="241886" y="373468"/>
                  </a:cubicBezTo>
                  <a:lnTo>
                    <a:pt x="241886" y="374728"/>
                  </a:lnTo>
                  <a:cubicBezTo>
                    <a:pt x="241886" y="375987"/>
                    <a:pt x="241886" y="377247"/>
                    <a:pt x="240626" y="378507"/>
                  </a:cubicBezTo>
                  <a:cubicBezTo>
                    <a:pt x="239366" y="381027"/>
                    <a:pt x="238107" y="384806"/>
                    <a:pt x="236847" y="387326"/>
                  </a:cubicBezTo>
                  <a:cubicBezTo>
                    <a:pt x="235587" y="389845"/>
                    <a:pt x="234327" y="391105"/>
                    <a:pt x="231807" y="393625"/>
                  </a:cubicBezTo>
                  <a:cubicBezTo>
                    <a:pt x="228028" y="397404"/>
                    <a:pt x="224248" y="402444"/>
                    <a:pt x="219209" y="406223"/>
                  </a:cubicBezTo>
                  <a:cubicBezTo>
                    <a:pt x="216690" y="407483"/>
                    <a:pt x="214170" y="410002"/>
                    <a:pt x="210391" y="411262"/>
                  </a:cubicBezTo>
                  <a:lnTo>
                    <a:pt x="209131" y="412522"/>
                  </a:lnTo>
                  <a:cubicBezTo>
                    <a:pt x="207871" y="413782"/>
                    <a:pt x="205351" y="415042"/>
                    <a:pt x="202832" y="416302"/>
                  </a:cubicBezTo>
                  <a:cubicBezTo>
                    <a:pt x="197792" y="418821"/>
                    <a:pt x="191493" y="420081"/>
                    <a:pt x="185194" y="421341"/>
                  </a:cubicBezTo>
                  <a:cubicBezTo>
                    <a:pt x="181414" y="421341"/>
                    <a:pt x="178895" y="421341"/>
                    <a:pt x="175115" y="421341"/>
                  </a:cubicBezTo>
                  <a:cubicBezTo>
                    <a:pt x="172596" y="421341"/>
                    <a:pt x="168816" y="421341"/>
                    <a:pt x="166297" y="421341"/>
                  </a:cubicBezTo>
                  <a:cubicBezTo>
                    <a:pt x="166297" y="421341"/>
                    <a:pt x="165037" y="421341"/>
                    <a:pt x="165037" y="421341"/>
                  </a:cubicBezTo>
                  <a:cubicBezTo>
                    <a:pt x="162517" y="421341"/>
                    <a:pt x="159998" y="421341"/>
                    <a:pt x="157478" y="420081"/>
                  </a:cubicBezTo>
                  <a:cubicBezTo>
                    <a:pt x="154958" y="420081"/>
                    <a:pt x="152439" y="418821"/>
                    <a:pt x="149919" y="417561"/>
                  </a:cubicBezTo>
                  <a:cubicBezTo>
                    <a:pt x="146140" y="416302"/>
                    <a:pt x="142360" y="413782"/>
                    <a:pt x="137321" y="411262"/>
                  </a:cubicBezTo>
                  <a:cubicBezTo>
                    <a:pt x="134801" y="410002"/>
                    <a:pt x="132281" y="408743"/>
                    <a:pt x="131022" y="406223"/>
                  </a:cubicBezTo>
                  <a:cubicBezTo>
                    <a:pt x="128502" y="404963"/>
                    <a:pt x="127242" y="402444"/>
                    <a:pt x="125982" y="399924"/>
                  </a:cubicBezTo>
                  <a:cubicBezTo>
                    <a:pt x="124722" y="397404"/>
                    <a:pt x="123463" y="394885"/>
                    <a:pt x="123463" y="393625"/>
                  </a:cubicBezTo>
                  <a:cubicBezTo>
                    <a:pt x="122203" y="391105"/>
                    <a:pt x="122203" y="388585"/>
                    <a:pt x="120943" y="386066"/>
                  </a:cubicBezTo>
                  <a:cubicBezTo>
                    <a:pt x="120943" y="383546"/>
                    <a:pt x="119683" y="381027"/>
                    <a:pt x="119683" y="378507"/>
                  </a:cubicBezTo>
                  <a:lnTo>
                    <a:pt x="119683" y="378507"/>
                  </a:ln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22203" y="377247"/>
                    <a:pt x="124722" y="375987"/>
                    <a:pt x="125982" y="373468"/>
                  </a:cubicBezTo>
                  <a:cubicBezTo>
                    <a:pt x="127242" y="372208"/>
                    <a:pt x="128502" y="369688"/>
                    <a:pt x="129762" y="368428"/>
                  </a:cubicBezTo>
                  <a:cubicBezTo>
                    <a:pt x="131022" y="365909"/>
                    <a:pt x="131022" y="362129"/>
                    <a:pt x="131022" y="358350"/>
                  </a:cubicBezTo>
                  <a:cubicBezTo>
                    <a:pt x="129762" y="357090"/>
                    <a:pt x="129762" y="354570"/>
                    <a:pt x="128502" y="353310"/>
                  </a:cubicBezTo>
                  <a:cubicBezTo>
                    <a:pt x="129762" y="348271"/>
                    <a:pt x="131022" y="343232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3541" y="331893"/>
                    <a:pt x="133541" y="325594"/>
                    <a:pt x="134801" y="318036"/>
                  </a:cubicBezTo>
                  <a:cubicBezTo>
                    <a:pt x="134801" y="316776"/>
                    <a:pt x="134801" y="315516"/>
                    <a:pt x="134801" y="312996"/>
                  </a:cubicBezTo>
                  <a:cubicBezTo>
                    <a:pt x="133541" y="312996"/>
                    <a:pt x="132281" y="312996"/>
                    <a:pt x="131022" y="312996"/>
                  </a:cubicBezTo>
                  <a:cubicBezTo>
                    <a:pt x="129762" y="312996"/>
                    <a:pt x="127242" y="312996"/>
                    <a:pt x="125982" y="312996"/>
                  </a:cubicBezTo>
                  <a:cubicBezTo>
                    <a:pt x="120943" y="312996"/>
                    <a:pt x="114644" y="311736"/>
                    <a:pt x="110864" y="310476"/>
                  </a:cubicBezTo>
                  <a:cubicBezTo>
                    <a:pt x="109605" y="310476"/>
                    <a:pt x="108345" y="310476"/>
                    <a:pt x="107085" y="309217"/>
                  </a:cubicBezTo>
                  <a:lnTo>
                    <a:pt x="107085" y="309217"/>
                  </a:lnTo>
                  <a:cubicBezTo>
                    <a:pt x="103306" y="307957"/>
                    <a:pt x="98266" y="307957"/>
                    <a:pt x="93227" y="306697"/>
                  </a:cubicBezTo>
                  <a:cubicBezTo>
                    <a:pt x="86928" y="305437"/>
                    <a:pt x="80629" y="302917"/>
                    <a:pt x="74329" y="300398"/>
                  </a:cubicBezTo>
                  <a:cubicBezTo>
                    <a:pt x="66770" y="296618"/>
                    <a:pt x="61731" y="294099"/>
                    <a:pt x="56692" y="291579"/>
                  </a:cubicBezTo>
                  <a:cubicBezTo>
                    <a:pt x="54172" y="290319"/>
                    <a:pt x="51653" y="287800"/>
                    <a:pt x="49133" y="286540"/>
                  </a:cubicBezTo>
                  <a:cubicBezTo>
                    <a:pt x="46614" y="284020"/>
                    <a:pt x="44094" y="282760"/>
                    <a:pt x="41574" y="280241"/>
                  </a:cubicBezTo>
                  <a:cubicBezTo>
                    <a:pt x="37795" y="276461"/>
                    <a:pt x="34015" y="271422"/>
                    <a:pt x="30236" y="265123"/>
                  </a:cubicBezTo>
                  <a:cubicBezTo>
                    <a:pt x="26456" y="258824"/>
                    <a:pt x="23937" y="253784"/>
                    <a:pt x="21417" y="248745"/>
                  </a:cubicBezTo>
                  <a:cubicBezTo>
                    <a:pt x="18897" y="242446"/>
                    <a:pt x="16378" y="234887"/>
                    <a:pt x="13858" y="229848"/>
                  </a:cubicBezTo>
                  <a:cubicBezTo>
                    <a:pt x="12598" y="226068"/>
                    <a:pt x="11338" y="223549"/>
                    <a:pt x="10078" y="218509"/>
                  </a:cubicBezTo>
                  <a:cubicBezTo>
                    <a:pt x="10078" y="218509"/>
                    <a:pt x="10078" y="218509"/>
                    <a:pt x="10078" y="218509"/>
                  </a:cubicBezTo>
                  <a:lnTo>
                    <a:pt x="10078" y="218509"/>
                  </a:lnTo>
                  <a:cubicBezTo>
                    <a:pt x="10078" y="215990"/>
                    <a:pt x="8819" y="214730"/>
                    <a:pt x="8819" y="212210"/>
                  </a:cubicBezTo>
                  <a:cubicBezTo>
                    <a:pt x="7559" y="205911"/>
                    <a:pt x="6299" y="200872"/>
                    <a:pt x="5039" y="194573"/>
                  </a:cubicBezTo>
                  <a:lnTo>
                    <a:pt x="5039" y="193313"/>
                  </a:lnTo>
                  <a:cubicBezTo>
                    <a:pt x="3779" y="187014"/>
                    <a:pt x="2520" y="180715"/>
                    <a:pt x="2520" y="174416"/>
                  </a:cubicBezTo>
                  <a:cubicBezTo>
                    <a:pt x="1260" y="163077"/>
                    <a:pt x="0" y="149219"/>
                    <a:pt x="0" y="135361"/>
                  </a:cubicBezTo>
                  <a:cubicBezTo>
                    <a:pt x="0" y="124023"/>
                    <a:pt x="0" y="111424"/>
                    <a:pt x="0" y="100086"/>
                  </a:cubicBezTo>
                  <a:lnTo>
                    <a:pt x="0" y="96307"/>
                  </a:lnTo>
                  <a:cubicBezTo>
                    <a:pt x="0" y="90007"/>
                    <a:pt x="0" y="84968"/>
                    <a:pt x="1260" y="78669"/>
                  </a:cubicBezTo>
                  <a:cubicBezTo>
                    <a:pt x="1260" y="72370"/>
                    <a:pt x="2520" y="66071"/>
                    <a:pt x="3779" y="59772"/>
                  </a:cubicBezTo>
                  <a:lnTo>
                    <a:pt x="3779" y="55992"/>
                  </a:lnTo>
                  <a:cubicBezTo>
                    <a:pt x="3779" y="54732"/>
                    <a:pt x="3779" y="53473"/>
                    <a:pt x="3779" y="52213"/>
                  </a:cubicBezTo>
                  <a:cubicBezTo>
                    <a:pt x="3779" y="52213"/>
                    <a:pt x="3779" y="52213"/>
                    <a:pt x="5039" y="52213"/>
                  </a:cubicBezTo>
                  <a:cubicBezTo>
                    <a:pt x="6299" y="52213"/>
                    <a:pt x="6299" y="52213"/>
                    <a:pt x="7559" y="52213"/>
                  </a:cubicBezTo>
                  <a:cubicBezTo>
                    <a:pt x="11338" y="52213"/>
                    <a:pt x="13858" y="52213"/>
                    <a:pt x="18897" y="52213"/>
                  </a:cubicBezTo>
                  <a:cubicBezTo>
                    <a:pt x="18897" y="52213"/>
                    <a:pt x="20157" y="52213"/>
                    <a:pt x="20157" y="52213"/>
                  </a:cubicBezTo>
                  <a:cubicBezTo>
                    <a:pt x="21417" y="52213"/>
                    <a:pt x="23937" y="52213"/>
                    <a:pt x="25196" y="53473"/>
                  </a:cubicBezTo>
                  <a:cubicBezTo>
                    <a:pt x="27716" y="53473"/>
                    <a:pt x="31496" y="54732"/>
                    <a:pt x="35275" y="54732"/>
                  </a:cubicBezTo>
                  <a:cubicBezTo>
                    <a:pt x="40314" y="54732"/>
                    <a:pt x="44094" y="54732"/>
                    <a:pt x="47873" y="54732"/>
                  </a:cubicBezTo>
                  <a:lnTo>
                    <a:pt x="47873" y="54732"/>
                  </a:lnTo>
                  <a:cubicBezTo>
                    <a:pt x="54172" y="54732"/>
                    <a:pt x="61731" y="53473"/>
                    <a:pt x="69290" y="53473"/>
                  </a:cubicBezTo>
                  <a:cubicBezTo>
                    <a:pt x="76849" y="52213"/>
                    <a:pt x="83148" y="50953"/>
                    <a:pt x="90707" y="48433"/>
                  </a:cubicBezTo>
                  <a:cubicBezTo>
                    <a:pt x="97007" y="47173"/>
                    <a:pt x="103306" y="44654"/>
                    <a:pt x="108345" y="43394"/>
                  </a:cubicBezTo>
                  <a:cubicBezTo>
                    <a:pt x="109605" y="43394"/>
                    <a:pt x="109605" y="42134"/>
                    <a:pt x="110864" y="42134"/>
                  </a:cubicBez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2124" y="42134"/>
                  </a:lnTo>
                  <a:lnTo>
                    <a:pt x="112124" y="42134"/>
                  </a:lnTo>
                  <a:cubicBezTo>
                    <a:pt x="112124" y="42134"/>
                    <a:pt x="112124" y="42134"/>
                    <a:pt x="113384" y="42134"/>
                  </a:cubicBezTo>
                  <a:lnTo>
                    <a:pt x="113384" y="42134"/>
                  </a:lnTo>
                  <a:cubicBezTo>
                    <a:pt x="119683" y="39614"/>
                    <a:pt x="125982" y="35835"/>
                    <a:pt x="131022" y="33315"/>
                  </a:cubicBezTo>
                  <a:cubicBezTo>
                    <a:pt x="137321" y="29536"/>
                    <a:pt x="143620" y="27016"/>
                    <a:pt x="149919" y="21977"/>
                  </a:cubicBezTo>
                  <a:cubicBezTo>
                    <a:pt x="152439" y="19457"/>
                    <a:pt x="156218" y="16938"/>
                    <a:pt x="158738" y="14418"/>
                  </a:cubicBezTo>
                  <a:cubicBezTo>
                    <a:pt x="161257" y="11898"/>
                    <a:pt x="163777" y="9379"/>
                    <a:pt x="166297" y="6859"/>
                  </a:cubicBezTo>
                  <a:cubicBezTo>
                    <a:pt x="167556" y="4339"/>
                    <a:pt x="168816" y="3080"/>
                    <a:pt x="170076" y="1820"/>
                  </a:cubicBezTo>
                  <a:lnTo>
                    <a:pt x="171336" y="560"/>
                  </a:lnTo>
                  <a:lnTo>
                    <a:pt x="171336" y="560"/>
                  </a:lnTo>
                  <a:lnTo>
                    <a:pt x="171336" y="560"/>
                  </a:lnTo>
                  <a:cubicBezTo>
                    <a:pt x="172596" y="-700"/>
                    <a:pt x="172596" y="560"/>
                    <a:pt x="172596" y="5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/>
            <p:cNvSpPr/>
            <p:nvPr/>
          </p:nvSpPr>
          <p:spPr>
            <a:xfrm>
              <a:off x="9912018" y="3439219"/>
              <a:ext cx="8580" cy="34321"/>
            </a:xfrm>
            <a:custGeom>
              <a:avLst/>
              <a:gdLst>
                <a:gd name="connsiteX0" fmla="*/ 3779 w 12598"/>
                <a:gd name="connsiteY0" fmla="*/ 0 h 50392"/>
                <a:gd name="connsiteX1" fmla="*/ 3779 w 12598"/>
                <a:gd name="connsiteY1" fmla="*/ 0 h 50392"/>
                <a:gd name="connsiteX2" fmla="*/ 3779 w 12598"/>
                <a:gd name="connsiteY2" fmla="*/ 0 h 50392"/>
                <a:gd name="connsiteX3" fmla="*/ 3779 w 12598"/>
                <a:gd name="connsiteY3" fmla="*/ 0 h 50392"/>
                <a:gd name="connsiteX4" fmla="*/ 3779 w 12598"/>
                <a:gd name="connsiteY4" fmla="*/ 0 h 50392"/>
                <a:gd name="connsiteX5" fmla="*/ 5039 w 12598"/>
                <a:gd name="connsiteY5" fmla="*/ 0 h 50392"/>
                <a:gd name="connsiteX6" fmla="*/ 10078 w 12598"/>
                <a:gd name="connsiteY6" fmla="*/ 1260 h 50392"/>
                <a:gd name="connsiteX7" fmla="*/ 12598 w 12598"/>
                <a:gd name="connsiteY7" fmla="*/ 2520 h 50392"/>
                <a:gd name="connsiteX8" fmla="*/ 12598 w 12598"/>
                <a:gd name="connsiteY8" fmla="*/ 6299 h 50392"/>
                <a:gd name="connsiteX9" fmla="*/ 11338 w 12598"/>
                <a:gd name="connsiteY9" fmla="*/ 13858 h 50392"/>
                <a:gd name="connsiteX10" fmla="*/ 10078 w 12598"/>
                <a:gd name="connsiteY10" fmla="*/ 23937 h 50392"/>
                <a:gd name="connsiteX11" fmla="*/ 10078 w 12598"/>
                <a:gd name="connsiteY11" fmla="*/ 23937 h 50392"/>
                <a:gd name="connsiteX12" fmla="*/ 10078 w 12598"/>
                <a:gd name="connsiteY12" fmla="*/ 23937 h 50392"/>
                <a:gd name="connsiteX13" fmla="*/ 10078 w 12598"/>
                <a:gd name="connsiteY13" fmla="*/ 23937 h 50392"/>
                <a:gd name="connsiteX14" fmla="*/ 10078 w 12598"/>
                <a:gd name="connsiteY14" fmla="*/ 23937 h 50392"/>
                <a:gd name="connsiteX15" fmla="*/ 10078 w 12598"/>
                <a:gd name="connsiteY15" fmla="*/ 23937 h 50392"/>
                <a:gd name="connsiteX16" fmla="*/ 10078 w 12598"/>
                <a:gd name="connsiteY16" fmla="*/ 23937 h 50392"/>
                <a:gd name="connsiteX17" fmla="*/ 8819 w 12598"/>
                <a:gd name="connsiteY17" fmla="*/ 41574 h 50392"/>
                <a:gd name="connsiteX18" fmla="*/ 7559 w 12598"/>
                <a:gd name="connsiteY18" fmla="*/ 55432 h 50392"/>
                <a:gd name="connsiteX19" fmla="*/ 7559 w 12598"/>
                <a:gd name="connsiteY19" fmla="*/ 55432 h 50392"/>
                <a:gd name="connsiteX20" fmla="*/ 0 w 12598"/>
                <a:gd name="connsiteY20" fmla="*/ 60472 h 50392"/>
                <a:gd name="connsiteX21" fmla="*/ 0 w 12598"/>
                <a:gd name="connsiteY21" fmla="*/ 56692 h 50392"/>
                <a:gd name="connsiteX22" fmla="*/ 0 w 12598"/>
                <a:gd name="connsiteY22" fmla="*/ 50393 h 50392"/>
                <a:gd name="connsiteX23" fmla="*/ 0 w 12598"/>
                <a:gd name="connsiteY23" fmla="*/ 47873 h 50392"/>
                <a:gd name="connsiteX24" fmla="*/ 1260 w 12598"/>
                <a:gd name="connsiteY24" fmla="*/ 32755 h 50392"/>
                <a:gd name="connsiteX25" fmla="*/ 1260 w 12598"/>
                <a:gd name="connsiteY25" fmla="*/ 28976 h 50392"/>
                <a:gd name="connsiteX26" fmla="*/ 1260 w 12598"/>
                <a:gd name="connsiteY26" fmla="*/ 25196 h 50392"/>
                <a:gd name="connsiteX27" fmla="*/ 1260 w 12598"/>
                <a:gd name="connsiteY27" fmla="*/ 18897 h 50392"/>
                <a:gd name="connsiteX28" fmla="*/ 1260 w 12598"/>
                <a:gd name="connsiteY28" fmla="*/ 17637 h 50392"/>
                <a:gd name="connsiteX29" fmla="*/ 1260 w 12598"/>
                <a:gd name="connsiteY29" fmla="*/ 8819 h 50392"/>
                <a:gd name="connsiteX30" fmla="*/ 1260 w 12598"/>
                <a:gd name="connsiteY30" fmla="*/ 2520 h 50392"/>
                <a:gd name="connsiteX31" fmla="*/ 3779 w 12598"/>
                <a:gd name="connsiteY31" fmla="*/ 0 h 50392"/>
                <a:gd name="connsiteX32" fmla="*/ 3779 w 12598"/>
                <a:gd name="connsiteY32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598" h="50392">
                  <a:moveTo>
                    <a:pt x="3779" y="0"/>
                  </a:moveTo>
                  <a:lnTo>
                    <a:pt x="3779" y="0"/>
                  </a:lnTo>
                  <a:lnTo>
                    <a:pt x="3779" y="0"/>
                  </a:lnTo>
                  <a:cubicBezTo>
                    <a:pt x="3779" y="0"/>
                    <a:pt x="3779" y="0"/>
                    <a:pt x="3779" y="0"/>
                  </a:cubicBezTo>
                  <a:lnTo>
                    <a:pt x="3779" y="0"/>
                  </a:lnTo>
                  <a:lnTo>
                    <a:pt x="5039" y="0"/>
                  </a:lnTo>
                  <a:cubicBezTo>
                    <a:pt x="6299" y="0"/>
                    <a:pt x="7559" y="1260"/>
                    <a:pt x="10078" y="1260"/>
                  </a:cubicBezTo>
                  <a:cubicBezTo>
                    <a:pt x="11338" y="1260"/>
                    <a:pt x="12598" y="1260"/>
                    <a:pt x="12598" y="2520"/>
                  </a:cubicBezTo>
                  <a:cubicBezTo>
                    <a:pt x="12598" y="3780"/>
                    <a:pt x="12598" y="5039"/>
                    <a:pt x="12598" y="6299"/>
                  </a:cubicBezTo>
                  <a:cubicBezTo>
                    <a:pt x="12598" y="8819"/>
                    <a:pt x="12598" y="11338"/>
                    <a:pt x="11338" y="13858"/>
                  </a:cubicBezTo>
                  <a:cubicBezTo>
                    <a:pt x="11338" y="17637"/>
                    <a:pt x="11338" y="20157"/>
                    <a:pt x="10078" y="23937"/>
                  </a:cubicBez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cubicBezTo>
                    <a:pt x="10078" y="30236"/>
                    <a:pt x="8819" y="36535"/>
                    <a:pt x="8819" y="41574"/>
                  </a:cubicBezTo>
                  <a:cubicBezTo>
                    <a:pt x="8819" y="46613"/>
                    <a:pt x="7559" y="51653"/>
                    <a:pt x="7559" y="55432"/>
                  </a:cubicBezTo>
                  <a:cubicBezTo>
                    <a:pt x="7559" y="55432"/>
                    <a:pt x="7559" y="55432"/>
                    <a:pt x="7559" y="55432"/>
                  </a:cubicBezTo>
                  <a:cubicBezTo>
                    <a:pt x="5039" y="56692"/>
                    <a:pt x="2519" y="59212"/>
                    <a:pt x="0" y="60472"/>
                  </a:cubicBezTo>
                  <a:cubicBezTo>
                    <a:pt x="0" y="59212"/>
                    <a:pt x="0" y="57952"/>
                    <a:pt x="0" y="56692"/>
                  </a:cubicBezTo>
                  <a:cubicBezTo>
                    <a:pt x="0" y="54172"/>
                    <a:pt x="0" y="52913"/>
                    <a:pt x="0" y="50393"/>
                  </a:cubicBezTo>
                  <a:lnTo>
                    <a:pt x="0" y="47873"/>
                  </a:lnTo>
                  <a:cubicBezTo>
                    <a:pt x="0" y="41574"/>
                    <a:pt x="0" y="36535"/>
                    <a:pt x="1260" y="32755"/>
                  </a:cubicBezTo>
                  <a:lnTo>
                    <a:pt x="1260" y="28976"/>
                  </a:lnTo>
                  <a:cubicBezTo>
                    <a:pt x="1260" y="27716"/>
                    <a:pt x="1260" y="26456"/>
                    <a:pt x="1260" y="25196"/>
                  </a:cubicBezTo>
                  <a:cubicBezTo>
                    <a:pt x="1260" y="22677"/>
                    <a:pt x="1260" y="21417"/>
                    <a:pt x="1260" y="18897"/>
                  </a:cubicBezTo>
                  <a:lnTo>
                    <a:pt x="1260" y="17637"/>
                  </a:lnTo>
                  <a:cubicBezTo>
                    <a:pt x="1260" y="15118"/>
                    <a:pt x="1260" y="12598"/>
                    <a:pt x="1260" y="8819"/>
                  </a:cubicBezTo>
                  <a:cubicBezTo>
                    <a:pt x="1260" y="6299"/>
                    <a:pt x="1260" y="5039"/>
                    <a:pt x="1260" y="2520"/>
                  </a:cubicBezTo>
                  <a:cubicBezTo>
                    <a:pt x="3779" y="3780"/>
                    <a:pt x="3779" y="1260"/>
                    <a:pt x="3779" y="0"/>
                  </a:cubicBezTo>
                  <a:lnTo>
                    <a:pt x="3779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/>
            <p:cNvSpPr/>
            <p:nvPr/>
          </p:nvSpPr>
          <p:spPr>
            <a:xfrm>
              <a:off x="9896573" y="3438361"/>
              <a:ext cx="17160" cy="85803"/>
            </a:xfrm>
            <a:custGeom>
              <a:avLst/>
              <a:gdLst>
                <a:gd name="connsiteX0" fmla="*/ 25196 w 25196"/>
                <a:gd name="connsiteY0" fmla="*/ 1260 h 125982"/>
                <a:gd name="connsiteX1" fmla="*/ 20157 w 25196"/>
                <a:gd name="connsiteY1" fmla="*/ 0 h 125982"/>
                <a:gd name="connsiteX2" fmla="*/ 17638 w 25196"/>
                <a:gd name="connsiteY2" fmla="*/ 3780 h 125982"/>
                <a:gd name="connsiteX3" fmla="*/ 17638 w 25196"/>
                <a:gd name="connsiteY3" fmla="*/ 6299 h 125982"/>
                <a:gd name="connsiteX4" fmla="*/ 15118 w 25196"/>
                <a:gd name="connsiteY4" fmla="*/ 27716 h 125982"/>
                <a:gd name="connsiteX5" fmla="*/ 12598 w 25196"/>
                <a:gd name="connsiteY5" fmla="*/ 49133 h 125982"/>
                <a:gd name="connsiteX6" fmla="*/ 10079 w 25196"/>
                <a:gd name="connsiteY6" fmla="*/ 69290 h 125982"/>
                <a:gd name="connsiteX7" fmla="*/ 8819 w 25196"/>
                <a:gd name="connsiteY7" fmla="*/ 79369 h 125982"/>
                <a:gd name="connsiteX8" fmla="*/ 7559 w 25196"/>
                <a:gd name="connsiteY8" fmla="*/ 89448 h 125982"/>
                <a:gd name="connsiteX9" fmla="*/ 7559 w 25196"/>
                <a:gd name="connsiteY9" fmla="*/ 91967 h 125982"/>
                <a:gd name="connsiteX10" fmla="*/ 6299 w 25196"/>
                <a:gd name="connsiteY10" fmla="*/ 95747 h 125982"/>
                <a:gd name="connsiteX11" fmla="*/ 6299 w 25196"/>
                <a:gd name="connsiteY11" fmla="*/ 95747 h 125982"/>
                <a:gd name="connsiteX12" fmla="*/ 6299 w 25196"/>
                <a:gd name="connsiteY12" fmla="*/ 95747 h 125982"/>
                <a:gd name="connsiteX13" fmla="*/ 6299 w 25196"/>
                <a:gd name="connsiteY13" fmla="*/ 95747 h 125982"/>
                <a:gd name="connsiteX14" fmla="*/ 6299 w 25196"/>
                <a:gd name="connsiteY14" fmla="*/ 95747 h 125982"/>
                <a:gd name="connsiteX15" fmla="*/ 3780 w 25196"/>
                <a:gd name="connsiteY15" fmla="*/ 109605 h 125982"/>
                <a:gd name="connsiteX16" fmla="*/ 3780 w 25196"/>
                <a:gd name="connsiteY16" fmla="*/ 108345 h 125982"/>
                <a:gd name="connsiteX17" fmla="*/ 3780 w 25196"/>
                <a:gd name="connsiteY17" fmla="*/ 110864 h 125982"/>
                <a:gd name="connsiteX18" fmla="*/ 3780 w 25196"/>
                <a:gd name="connsiteY18" fmla="*/ 109605 h 125982"/>
                <a:gd name="connsiteX19" fmla="*/ 3780 w 25196"/>
                <a:gd name="connsiteY19" fmla="*/ 110864 h 125982"/>
                <a:gd name="connsiteX20" fmla="*/ 2520 w 25196"/>
                <a:gd name="connsiteY20" fmla="*/ 117164 h 125982"/>
                <a:gd name="connsiteX21" fmla="*/ 1260 w 25196"/>
                <a:gd name="connsiteY21" fmla="*/ 123463 h 125982"/>
                <a:gd name="connsiteX22" fmla="*/ 1260 w 25196"/>
                <a:gd name="connsiteY22" fmla="*/ 125982 h 125982"/>
                <a:gd name="connsiteX23" fmla="*/ 1260 w 25196"/>
                <a:gd name="connsiteY23" fmla="*/ 125982 h 125982"/>
                <a:gd name="connsiteX24" fmla="*/ 0 w 25196"/>
                <a:gd name="connsiteY24" fmla="*/ 132281 h 125982"/>
                <a:gd name="connsiteX25" fmla="*/ 3780 w 25196"/>
                <a:gd name="connsiteY25" fmla="*/ 128502 h 125982"/>
                <a:gd name="connsiteX26" fmla="*/ 8819 w 25196"/>
                <a:gd name="connsiteY26" fmla="*/ 123463 h 125982"/>
                <a:gd name="connsiteX27" fmla="*/ 10079 w 25196"/>
                <a:gd name="connsiteY27" fmla="*/ 117164 h 125982"/>
                <a:gd name="connsiteX28" fmla="*/ 12598 w 25196"/>
                <a:gd name="connsiteY28" fmla="*/ 107085 h 125982"/>
                <a:gd name="connsiteX29" fmla="*/ 15118 w 25196"/>
                <a:gd name="connsiteY29" fmla="*/ 86928 h 125982"/>
                <a:gd name="connsiteX30" fmla="*/ 21417 w 25196"/>
                <a:gd name="connsiteY30" fmla="*/ 45354 h 125982"/>
                <a:gd name="connsiteX31" fmla="*/ 22677 w 25196"/>
                <a:gd name="connsiteY31" fmla="*/ 35275 h 125982"/>
                <a:gd name="connsiteX32" fmla="*/ 23937 w 25196"/>
                <a:gd name="connsiteY32" fmla="*/ 23937 h 125982"/>
                <a:gd name="connsiteX33" fmla="*/ 25196 w 25196"/>
                <a:gd name="connsiteY33" fmla="*/ 12598 h 125982"/>
                <a:gd name="connsiteX34" fmla="*/ 26456 w 25196"/>
                <a:gd name="connsiteY34" fmla="*/ 1260 h 125982"/>
                <a:gd name="connsiteX35" fmla="*/ 25196 w 25196"/>
                <a:gd name="connsiteY35" fmla="*/ 1260 h 125982"/>
                <a:gd name="connsiteX36" fmla="*/ 25196 w 25196"/>
                <a:gd name="connsiteY36" fmla="*/ 1260 h 125982"/>
                <a:gd name="connsiteX37" fmla="*/ 3780 w 25196"/>
                <a:gd name="connsiteY37" fmla="*/ 117164 h 125982"/>
                <a:gd name="connsiteX38" fmla="*/ 3780 w 25196"/>
                <a:gd name="connsiteY38" fmla="*/ 117164 h 125982"/>
                <a:gd name="connsiteX39" fmla="*/ 3780 w 25196"/>
                <a:gd name="connsiteY39" fmla="*/ 117164 h 125982"/>
                <a:gd name="connsiteX40" fmla="*/ 2520 w 25196"/>
                <a:gd name="connsiteY40" fmla="*/ 127242 h 125982"/>
                <a:gd name="connsiteX41" fmla="*/ 2520 w 25196"/>
                <a:gd name="connsiteY41" fmla="*/ 127242 h 125982"/>
                <a:gd name="connsiteX42" fmla="*/ 2520 w 25196"/>
                <a:gd name="connsiteY42" fmla="*/ 127242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96" h="125982">
                  <a:moveTo>
                    <a:pt x="25196" y="1260"/>
                  </a:moveTo>
                  <a:cubicBezTo>
                    <a:pt x="23937" y="1260"/>
                    <a:pt x="21417" y="0"/>
                    <a:pt x="20157" y="0"/>
                  </a:cubicBezTo>
                  <a:cubicBezTo>
                    <a:pt x="18897" y="1260"/>
                    <a:pt x="18897" y="2520"/>
                    <a:pt x="17638" y="3780"/>
                  </a:cubicBezTo>
                  <a:cubicBezTo>
                    <a:pt x="17638" y="5039"/>
                    <a:pt x="17638" y="5039"/>
                    <a:pt x="17638" y="6299"/>
                  </a:cubicBezTo>
                  <a:cubicBezTo>
                    <a:pt x="17638" y="13858"/>
                    <a:pt x="16378" y="20157"/>
                    <a:pt x="15118" y="27716"/>
                  </a:cubicBezTo>
                  <a:cubicBezTo>
                    <a:pt x="13858" y="35275"/>
                    <a:pt x="13858" y="41574"/>
                    <a:pt x="12598" y="49133"/>
                  </a:cubicBezTo>
                  <a:cubicBezTo>
                    <a:pt x="11339" y="55432"/>
                    <a:pt x="11339" y="62991"/>
                    <a:pt x="10079" y="69290"/>
                  </a:cubicBezTo>
                  <a:cubicBezTo>
                    <a:pt x="10079" y="73070"/>
                    <a:pt x="8819" y="75589"/>
                    <a:pt x="8819" y="79369"/>
                  </a:cubicBezTo>
                  <a:cubicBezTo>
                    <a:pt x="8819" y="83148"/>
                    <a:pt x="7559" y="86928"/>
                    <a:pt x="7559" y="89448"/>
                  </a:cubicBezTo>
                  <a:lnTo>
                    <a:pt x="7559" y="91967"/>
                  </a:lnTo>
                  <a:cubicBezTo>
                    <a:pt x="7559" y="93227"/>
                    <a:pt x="7559" y="9448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5040" y="100786"/>
                    <a:pt x="5040" y="104565"/>
                    <a:pt x="3780" y="109605"/>
                  </a:cubicBezTo>
                  <a:cubicBezTo>
                    <a:pt x="3780" y="109605"/>
                    <a:pt x="3780" y="108345"/>
                    <a:pt x="3780" y="108345"/>
                  </a:cubicBezTo>
                  <a:cubicBezTo>
                    <a:pt x="3780" y="109605"/>
                    <a:pt x="3780" y="109605"/>
                    <a:pt x="3780" y="110864"/>
                  </a:cubicBezTo>
                  <a:lnTo>
                    <a:pt x="3780" y="109605"/>
                  </a:lnTo>
                  <a:cubicBezTo>
                    <a:pt x="3780" y="109605"/>
                    <a:pt x="3780" y="110864"/>
                    <a:pt x="3780" y="110864"/>
                  </a:cubicBezTo>
                  <a:cubicBezTo>
                    <a:pt x="3780" y="113384"/>
                    <a:pt x="2520" y="114644"/>
                    <a:pt x="2520" y="117164"/>
                  </a:cubicBezTo>
                  <a:cubicBezTo>
                    <a:pt x="2520" y="119683"/>
                    <a:pt x="1260" y="120943"/>
                    <a:pt x="1260" y="123463"/>
                  </a:cubicBezTo>
                  <a:cubicBezTo>
                    <a:pt x="1260" y="124723"/>
                    <a:pt x="1260" y="124723"/>
                    <a:pt x="1260" y="125982"/>
                  </a:cubicBezTo>
                  <a:lnTo>
                    <a:pt x="1260" y="125982"/>
                  </a:lnTo>
                  <a:cubicBezTo>
                    <a:pt x="1260" y="128502"/>
                    <a:pt x="0" y="129762"/>
                    <a:pt x="0" y="132281"/>
                  </a:cubicBezTo>
                  <a:cubicBezTo>
                    <a:pt x="1260" y="131022"/>
                    <a:pt x="2520" y="129762"/>
                    <a:pt x="3780" y="128502"/>
                  </a:cubicBezTo>
                  <a:cubicBezTo>
                    <a:pt x="5040" y="127242"/>
                    <a:pt x="7559" y="125982"/>
                    <a:pt x="8819" y="123463"/>
                  </a:cubicBezTo>
                  <a:cubicBezTo>
                    <a:pt x="8819" y="120943"/>
                    <a:pt x="10079" y="118424"/>
                    <a:pt x="10079" y="117164"/>
                  </a:cubicBezTo>
                  <a:cubicBezTo>
                    <a:pt x="11339" y="113384"/>
                    <a:pt x="11339" y="109605"/>
                    <a:pt x="12598" y="107085"/>
                  </a:cubicBezTo>
                  <a:cubicBezTo>
                    <a:pt x="13858" y="100786"/>
                    <a:pt x="15118" y="93227"/>
                    <a:pt x="15118" y="86928"/>
                  </a:cubicBezTo>
                  <a:cubicBezTo>
                    <a:pt x="17638" y="73070"/>
                    <a:pt x="18897" y="59212"/>
                    <a:pt x="21417" y="45354"/>
                  </a:cubicBezTo>
                  <a:cubicBezTo>
                    <a:pt x="21417" y="41574"/>
                    <a:pt x="22677" y="37795"/>
                    <a:pt x="22677" y="35275"/>
                  </a:cubicBezTo>
                  <a:cubicBezTo>
                    <a:pt x="22677" y="31496"/>
                    <a:pt x="23937" y="27716"/>
                    <a:pt x="23937" y="23937"/>
                  </a:cubicBezTo>
                  <a:cubicBezTo>
                    <a:pt x="23937" y="20157"/>
                    <a:pt x="25196" y="16378"/>
                    <a:pt x="25196" y="12598"/>
                  </a:cubicBezTo>
                  <a:cubicBezTo>
                    <a:pt x="25196" y="8819"/>
                    <a:pt x="26456" y="5039"/>
                    <a:pt x="26456" y="1260"/>
                  </a:cubicBezTo>
                  <a:cubicBezTo>
                    <a:pt x="26456" y="2520"/>
                    <a:pt x="26456" y="1260"/>
                    <a:pt x="25196" y="1260"/>
                  </a:cubicBezTo>
                  <a:cubicBezTo>
                    <a:pt x="25196" y="1260"/>
                    <a:pt x="25196" y="1260"/>
                    <a:pt x="25196" y="1260"/>
                  </a:cubicBezTo>
                  <a:moveTo>
                    <a:pt x="3780" y="117164"/>
                  </a:moveTo>
                  <a:cubicBezTo>
                    <a:pt x="3780" y="118424"/>
                    <a:pt x="3780" y="118424"/>
                    <a:pt x="3780" y="117164"/>
                  </a:cubicBezTo>
                  <a:cubicBezTo>
                    <a:pt x="3780" y="118424"/>
                    <a:pt x="3780" y="118424"/>
                    <a:pt x="3780" y="117164"/>
                  </a:cubicBezTo>
                  <a:moveTo>
                    <a:pt x="2520" y="127242"/>
                  </a:moveTo>
                  <a:cubicBezTo>
                    <a:pt x="2520" y="127242"/>
                    <a:pt x="2520" y="127242"/>
                    <a:pt x="2520" y="127242"/>
                  </a:cubicBezTo>
                  <a:cubicBezTo>
                    <a:pt x="2520" y="127242"/>
                    <a:pt x="2520" y="127242"/>
                    <a:pt x="2520" y="127242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/>
            <p:cNvSpPr/>
            <p:nvPr/>
          </p:nvSpPr>
          <p:spPr>
            <a:xfrm>
              <a:off x="9900005" y="3439740"/>
              <a:ext cx="8580" cy="85803"/>
            </a:xfrm>
            <a:custGeom>
              <a:avLst/>
              <a:gdLst>
                <a:gd name="connsiteX0" fmla="*/ 18897 w 12598"/>
                <a:gd name="connsiteY0" fmla="*/ 3014 h 125982"/>
                <a:gd name="connsiteX1" fmla="*/ 18897 w 12598"/>
                <a:gd name="connsiteY1" fmla="*/ 10573 h 125982"/>
                <a:gd name="connsiteX2" fmla="*/ 18897 w 12598"/>
                <a:gd name="connsiteY2" fmla="*/ 18132 h 125982"/>
                <a:gd name="connsiteX3" fmla="*/ 18897 w 12598"/>
                <a:gd name="connsiteY3" fmla="*/ 23171 h 125982"/>
                <a:gd name="connsiteX4" fmla="*/ 18897 w 12598"/>
                <a:gd name="connsiteY4" fmla="*/ 21911 h 125982"/>
                <a:gd name="connsiteX5" fmla="*/ 20157 w 12598"/>
                <a:gd name="connsiteY5" fmla="*/ 29470 h 125982"/>
                <a:gd name="connsiteX6" fmla="*/ 21417 w 12598"/>
                <a:gd name="connsiteY6" fmla="*/ 38289 h 125982"/>
                <a:gd name="connsiteX7" fmla="*/ 21417 w 12598"/>
                <a:gd name="connsiteY7" fmla="*/ 43328 h 125982"/>
                <a:gd name="connsiteX8" fmla="*/ 21417 w 12598"/>
                <a:gd name="connsiteY8" fmla="*/ 48368 h 125982"/>
                <a:gd name="connsiteX9" fmla="*/ 21417 w 12598"/>
                <a:gd name="connsiteY9" fmla="*/ 57186 h 125982"/>
                <a:gd name="connsiteX10" fmla="*/ 21417 w 12598"/>
                <a:gd name="connsiteY10" fmla="*/ 66005 h 125982"/>
                <a:gd name="connsiteX11" fmla="*/ 21417 w 12598"/>
                <a:gd name="connsiteY11" fmla="*/ 69784 h 125982"/>
                <a:gd name="connsiteX12" fmla="*/ 21417 w 12598"/>
                <a:gd name="connsiteY12" fmla="*/ 69784 h 125982"/>
                <a:gd name="connsiteX13" fmla="*/ 21417 w 12598"/>
                <a:gd name="connsiteY13" fmla="*/ 74824 h 125982"/>
                <a:gd name="connsiteX14" fmla="*/ 21417 w 12598"/>
                <a:gd name="connsiteY14" fmla="*/ 79863 h 125982"/>
                <a:gd name="connsiteX15" fmla="*/ 21417 w 12598"/>
                <a:gd name="connsiteY15" fmla="*/ 81123 h 125982"/>
                <a:gd name="connsiteX16" fmla="*/ 21417 w 12598"/>
                <a:gd name="connsiteY16" fmla="*/ 84903 h 125982"/>
                <a:gd name="connsiteX17" fmla="*/ 21417 w 12598"/>
                <a:gd name="connsiteY17" fmla="*/ 87422 h 125982"/>
                <a:gd name="connsiteX18" fmla="*/ 20157 w 12598"/>
                <a:gd name="connsiteY18" fmla="*/ 93721 h 125982"/>
                <a:gd name="connsiteX19" fmla="*/ 18897 w 12598"/>
                <a:gd name="connsiteY19" fmla="*/ 102540 h 125982"/>
                <a:gd name="connsiteX20" fmla="*/ 17637 w 12598"/>
                <a:gd name="connsiteY20" fmla="*/ 110099 h 125982"/>
                <a:gd name="connsiteX21" fmla="*/ 17637 w 12598"/>
                <a:gd name="connsiteY21" fmla="*/ 112619 h 125982"/>
                <a:gd name="connsiteX22" fmla="*/ 16378 w 12598"/>
                <a:gd name="connsiteY22" fmla="*/ 113878 h 125982"/>
                <a:gd name="connsiteX23" fmla="*/ 7559 w 12598"/>
                <a:gd name="connsiteY23" fmla="*/ 121437 h 125982"/>
                <a:gd name="connsiteX24" fmla="*/ 5039 w 12598"/>
                <a:gd name="connsiteY24" fmla="*/ 123957 h 125982"/>
                <a:gd name="connsiteX25" fmla="*/ 0 w 12598"/>
                <a:gd name="connsiteY25" fmla="*/ 127736 h 125982"/>
                <a:gd name="connsiteX26" fmla="*/ 1260 w 12598"/>
                <a:gd name="connsiteY26" fmla="*/ 121437 h 125982"/>
                <a:gd name="connsiteX27" fmla="*/ 3779 w 12598"/>
                <a:gd name="connsiteY27" fmla="*/ 106319 h 125982"/>
                <a:gd name="connsiteX28" fmla="*/ 5039 w 12598"/>
                <a:gd name="connsiteY28" fmla="*/ 97501 h 125982"/>
                <a:gd name="connsiteX29" fmla="*/ 6299 w 12598"/>
                <a:gd name="connsiteY29" fmla="*/ 88682 h 125982"/>
                <a:gd name="connsiteX30" fmla="*/ 7559 w 12598"/>
                <a:gd name="connsiteY30" fmla="*/ 79863 h 125982"/>
                <a:gd name="connsiteX31" fmla="*/ 8819 w 12598"/>
                <a:gd name="connsiteY31" fmla="*/ 71044 h 125982"/>
                <a:gd name="connsiteX32" fmla="*/ 10078 w 12598"/>
                <a:gd name="connsiteY32" fmla="*/ 53407 h 125982"/>
                <a:gd name="connsiteX33" fmla="*/ 10078 w 12598"/>
                <a:gd name="connsiteY33" fmla="*/ 44588 h 125982"/>
                <a:gd name="connsiteX34" fmla="*/ 10078 w 12598"/>
                <a:gd name="connsiteY34" fmla="*/ 34510 h 125982"/>
                <a:gd name="connsiteX35" fmla="*/ 10078 w 12598"/>
                <a:gd name="connsiteY35" fmla="*/ 29470 h 125982"/>
                <a:gd name="connsiteX36" fmla="*/ 10078 w 12598"/>
                <a:gd name="connsiteY36" fmla="*/ 24431 h 125982"/>
                <a:gd name="connsiteX37" fmla="*/ 8819 w 12598"/>
                <a:gd name="connsiteY37" fmla="*/ 15612 h 125982"/>
                <a:gd name="connsiteX38" fmla="*/ 8819 w 12598"/>
                <a:gd name="connsiteY38" fmla="*/ 8053 h 125982"/>
                <a:gd name="connsiteX39" fmla="*/ 8819 w 12598"/>
                <a:gd name="connsiteY39" fmla="*/ 4274 h 125982"/>
                <a:gd name="connsiteX40" fmla="*/ 12598 w 12598"/>
                <a:gd name="connsiteY40" fmla="*/ 494 h 125982"/>
                <a:gd name="connsiteX41" fmla="*/ 13858 w 12598"/>
                <a:gd name="connsiteY41" fmla="*/ 494 h 125982"/>
                <a:gd name="connsiteX42" fmla="*/ 18897 w 12598"/>
                <a:gd name="connsiteY42" fmla="*/ 301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2598" h="125982">
                  <a:moveTo>
                    <a:pt x="18897" y="3014"/>
                  </a:moveTo>
                  <a:cubicBezTo>
                    <a:pt x="18897" y="5534"/>
                    <a:pt x="18897" y="8053"/>
                    <a:pt x="18897" y="10573"/>
                  </a:cubicBezTo>
                  <a:cubicBezTo>
                    <a:pt x="18897" y="13092"/>
                    <a:pt x="18897" y="15612"/>
                    <a:pt x="18897" y="18132"/>
                  </a:cubicBezTo>
                  <a:cubicBezTo>
                    <a:pt x="18897" y="19392"/>
                    <a:pt x="18897" y="21911"/>
                    <a:pt x="18897" y="23171"/>
                  </a:cubicBezTo>
                  <a:cubicBezTo>
                    <a:pt x="18897" y="23171"/>
                    <a:pt x="18897" y="21911"/>
                    <a:pt x="18897" y="21911"/>
                  </a:cubicBezTo>
                  <a:cubicBezTo>
                    <a:pt x="18897" y="24431"/>
                    <a:pt x="18897" y="26951"/>
                    <a:pt x="20157" y="29470"/>
                  </a:cubicBezTo>
                  <a:cubicBezTo>
                    <a:pt x="20157" y="31990"/>
                    <a:pt x="21417" y="35769"/>
                    <a:pt x="21417" y="38289"/>
                  </a:cubicBezTo>
                  <a:cubicBezTo>
                    <a:pt x="21417" y="39549"/>
                    <a:pt x="21417" y="42068"/>
                    <a:pt x="21417" y="43328"/>
                  </a:cubicBezTo>
                  <a:cubicBezTo>
                    <a:pt x="21417" y="44588"/>
                    <a:pt x="21417" y="45848"/>
                    <a:pt x="21417" y="48368"/>
                  </a:cubicBezTo>
                  <a:cubicBezTo>
                    <a:pt x="21417" y="50887"/>
                    <a:pt x="21417" y="53407"/>
                    <a:pt x="21417" y="57186"/>
                  </a:cubicBezTo>
                  <a:cubicBezTo>
                    <a:pt x="21417" y="59706"/>
                    <a:pt x="21417" y="63485"/>
                    <a:pt x="21417" y="66005"/>
                  </a:cubicBezTo>
                  <a:cubicBezTo>
                    <a:pt x="21417" y="67265"/>
                    <a:pt x="21417" y="68525"/>
                    <a:pt x="21417" y="69784"/>
                  </a:cubicBezTo>
                  <a:cubicBezTo>
                    <a:pt x="21417" y="69784"/>
                    <a:pt x="21417" y="69784"/>
                    <a:pt x="21417" y="69784"/>
                  </a:cubicBezTo>
                  <a:cubicBezTo>
                    <a:pt x="21417" y="71044"/>
                    <a:pt x="21417" y="73564"/>
                    <a:pt x="21417" y="74824"/>
                  </a:cubicBezTo>
                  <a:cubicBezTo>
                    <a:pt x="21417" y="76084"/>
                    <a:pt x="21417" y="77343"/>
                    <a:pt x="21417" y="79863"/>
                  </a:cubicBezTo>
                  <a:lnTo>
                    <a:pt x="21417" y="81123"/>
                  </a:lnTo>
                  <a:cubicBezTo>
                    <a:pt x="21417" y="82383"/>
                    <a:pt x="21417" y="83643"/>
                    <a:pt x="21417" y="84903"/>
                  </a:cubicBezTo>
                  <a:cubicBezTo>
                    <a:pt x="21417" y="86162"/>
                    <a:pt x="21417" y="86162"/>
                    <a:pt x="21417" y="87422"/>
                  </a:cubicBezTo>
                  <a:cubicBezTo>
                    <a:pt x="21417" y="89942"/>
                    <a:pt x="21417" y="91202"/>
                    <a:pt x="20157" y="93721"/>
                  </a:cubicBezTo>
                  <a:cubicBezTo>
                    <a:pt x="20157" y="96241"/>
                    <a:pt x="18897" y="98760"/>
                    <a:pt x="18897" y="102540"/>
                  </a:cubicBezTo>
                  <a:cubicBezTo>
                    <a:pt x="18897" y="105060"/>
                    <a:pt x="18897" y="107579"/>
                    <a:pt x="17637" y="110099"/>
                  </a:cubicBezTo>
                  <a:lnTo>
                    <a:pt x="17637" y="112619"/>
                  </a:lnTo>
                  <a:cubicBezTo>
                    <a:pt x="17637" y="112619"/>
                    <a:pt x="16378" y="113878"/>
                    <a:pt x="16378" y="113878"/>
                  </a:cubicBezTo>
                  <a:cubicBezTo>
                    <a:pt x="13858" y="116398"/>
                    <a:pt x="11338" y="118918"/>
                    <a:pt x="7559" y="121437"/>
                  </a:cubicBezTo>
                  <a:lnTo>
                    <a:pt x="5039" y="123957"/>
                  </a:lnTo>
                  <a:cubicBezTo>
                    <a:pt x="3779" y="125217"/>
                    <a:pt x="1260" y="126477"/>
                    <a:pt x="0" y="127736"/>
                  </a:cubicBezTo>
                  <a:cubicBezTo>
                    <a:pt x="0" y="125217"/>
                    <a:pt x="1260" y="123957"/>
                    <a:pt x="1260" y="121437"/>
                  </a:cubicBezTo>
                  <a:cubicBezTo>
                    <a:pt x="2519" y="116398"/>
                    <a:pt x="2519" y="111359"/>
                    <a:pt x="3779" y="106319"/>
                  </a:cubicBezTo>
                  <a:cubicBezTo>
                    <a:pt x="3779" y="103800"/>
                    <a:pt x="5039" y="101280"/>
                    <a:pt x="5039" y="97501"/>
                  </a:cubicBezTo>
                  <a:cubicBezTo>
                    <a:pt x="5039" y="94981"/>
                    <a:pt x="6299" y="91202"/>
                    <a:pt x="6299" y="88682"/>
                  </a:cubicBezTo>
                  <a:cubicBezTo>
                    <a:pt x="6299" y="86162"/>
                    <a:pt x="7559" y="82383"/>
                    <a:pt x="7559" y="79863"/>
                  </a:cubicBezTo>
                  <a:cubicBezTo>
                    <a:pt x="7559" y="77343"/>
                    <a:pt x="7559" y="73564"/>
                    <a:pt x="8819" y="71044"/>
                  </a:cubicBezTo>
                  <a:cubicBezTo>
                    <a:pt x="8819" y="64745"/>
                    <a:pt x="10078" y="59706"/>
                    <a:pt x="10078" y="53407"/>
                  </a:cubicBezTo>
                  <a:cubicBezTo>
                    <a:pt x="10078" y="50887"/>
                    <a:pt x="10078" y="47108"/>
                    <a:pt x="10078" y="44588"/>
                  </a:cubicBezTo>
                  <a:cubicBezTo>
                    <a:pt x="10078" y="40809"/>
                    <a:pt x="10078" y="38289"/>
                    <a:pt x="10078" y="34510"/>
                  </a:cubicBezTo>
                  <a:cubicBezTo>
                    <a:pt x="10078" y="33250"/>
                    <a:pt x="10078" y="30730"/>
                    <a:pt x="10078" y="29470"/>
                  </a:cubicBezTo>
                  <a:cubicBezTo>
                    <a:pt x="10078" y="28210"/>
                    <a:pt x="10078" y="25691"/>
                    <a:pt x="10078" y="24431"/>
                  </a:cubicBezTo>
                  <a:cubicBezTo>
                    <a:pt x="10078" y="21911"/>
                    <a:pt x="8819" y="18132"/>
                    <a:pt x="8819" y="15612"/>
                  </a:cubicBezTo>
                  <a:cubicBezTo>
                    <a:pt x="8819" y="13092"/>
                    <a:pt x="8819" y="10573"/>
                    <a:pt x="8819" y="8053"/>
                  </a:cubicBezTo>
                  <a:cubicBezTo>
                    <a:pt x="8819" y="6793"/>
                    <a:pt x="8819" y="5534"/>
                    <a:pt x="8819" y="4274"/>
                  </a:cubicBezTo>
                  <a:cubicBezTo>
                    <a:pt x="8819" y="1754"/>
                    <a:pt x="10078" y="494"/>
                    <a:pt x="12598" y="494"/>
                  </a:cubicBezTo>
                  <a:cubicBezTo>
                    <a:pt x="12598" y="494"/>
                    <a:pt x="13858" y="494"/>
                    <a:pt x="13858" y="494"/>
                  </a:cubicBezTo>
                  <a:cubicBezTo>
                    <a:pt x="16378" y="-766"/>
                    <a:pt x="18897" y="494"/>
                    <a:pt x="18897" y="301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/>
            <p:cNvSpPr/>
            <p:nvPr/>
          </p:nvSpPr>
          <p:spPr>
            <a:xfrm>
              <a:off x="9873406" y="3539609"/>
              <a:ext cx="34321" cy="42902"/>
            </a:xfrm>
            <a:custGeom>
              <a:avLst/>
              <a:gdLst>
                <a:gd name="connsiteX0" fmla="*/ 49133 w 50392"/>
                <a:gd name="connsiteY0" fmla="*/ 10079 h 62991"/>
                <a:gd name="connsiteX1" fmla="*/ 46613 w 50392"/>
                <a:gd name="connsiteY1" fmla="*/ 17637 h 62991"/>
                <a:gd name="connsiteX2" fmla="*/ 44094 w 50392"/>
                <a:gd name="connsiteY2" fmla="*/ 25196 h 62991"/>
                <a:gd name="connsiteX3" fmla="*/ 31496 w 50392"/>
                <a:gd name="connsiteY3" fmla="*/ 49133 h 62991"/>
                <a:gd name="connsiteX4" fmla="*/ 25196 w 50392"/>
                <a:gd name="connsiteY4" fmla="*/ 59212 h 62991"/>
                <a:gd name="connsiteX5" fmla="*/ 15118 w 50392"/>
                <a:gd name="connsiteY5" fmla="*/ 71810 h 62991"/>
                <a:gd name="connsiteX6" fmla="*/ 8819 w 50392"/>
                <a:gd name="connsiteY6" fmla="*/ 74330 h 62991"/>
                <a:gd name="connsiteX7" fmla="*/ 2519 w 50392"/>
                <a:gd name="connsiteY7" fmla="*/ 71810 h 62991"/>
                <a:gd name="connsiteX8" fmla="*/ 0 w 50392"/>
                <a:gd name="connsiteY8" fmla="*/ 65511 h 62991"/>
                <a:gd name="connsiteX9" fmla="*/ 2519 w 50392"/>
                <a:gd name="connsiteY9" fmla="*/ 59212 h 62991"/>
                <a:gd name="connsiteX10" fmla="*/ 7559 w 50392"/>
                <a:gd name="connsiteY10" fmla="*/ 54172 h 62991"/>
                <a:gd name="connsiteX11" fmla="*/ 13858 w 50392"/>
                <a:gd name="connsiteY11" fmla="*/ 46613 h 62991"/>
                <a:gd name="connsiteX12" fmla="*/ 20157 w 50392"/>
                <a:gd name="connsiteY12" fmla="*/ 37795 h 62991"/>
                <a:gd name="connsiteX13" fmla="*/ 25196 w 50392"/>
                <a:gd name="connsiteY13" fmla="*/ 27716 h 62991"/>
                <a:gd name="connsiteX14" fmla="*/ 28976 w 50392"/>
                <a:gd name="connsiteY14" fmla="*/ 20157 h 62991"/>
                <a:gd name="connsiteX15" fmla="*/ 31496 w 50392"/>
                <a:gd name="connsiteY15" fmla="*/ 13858 h 62991"/>
                <a:gd name="connsiteX16" fmla="*/ 34015 w 50392"/>
                <a:gd name="connsiteY16" fmla="*/ 6299 h 62991"/>
                <a:gd name="connsiteX17" fmla="*/ 34015 w 50392"/>
                <a:gd name="connsiteY17" fmla="*/ 6299 h 62991"/>
                <a:gd name="connsiteX18" fmla="*/ 37795 w 50392"/>
                <a:gd name="connsiteY18" fmla="*/ 7559 h 62991"/>
                <a:gd name="connsiteX19" fmla="*/ 37795 w 50392"/>
                <a:gd name="connsiteY19" fmla="*/ 7559 h 62991"/>
                <a:gd name="connsiteX20" fmla="*/ 42834 w 50392"/>
                <a:gd name="connsiteY20" fmla="*/ 6299 h 62991"/>
                <a:gd name="connsiteX21" fmla="*/ 47873 w 50392"/>
                <a:gd name="connsiteY21" fmla="*/ 2520 h 62991"/>
                <a:gd name="connsiteX22" fmla="*/ 50393 w 50392"/>
                <a:gd name="connsiteY22" fmla="*/ 0 h 62991"/>
                <a:gd name="connsiteX23" fmla="*/ 49133 w 50392"/>
                <a:gd name="connsiteY23" fmla="*/ 1007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49133" y="10079"/>
                  </a:moveTo>
                  <a:cubicBezTo>
                    <a:pt x="47873" y="12598"/>
                    <a:pt x="47873" y="15118"/>
                    <a:pt x="46613" y="17637"/>
                  </a:cubicBezTo>
                  <a:cubicBezTo>
                    <a:pt x="45354" y="20157"/>
                    <a:pt x="45354" y="22677"/>
                    <a:pt x="44094" y="25196"/>
                  </a:cubicBezTo>
                  <a:cubicBezTo>
                    <a:pt x="40314" y="32755"/>
                    <a:pt x="36535" y="41574"/>
                    <a:pt x="31496" y="49133"/>
                  </a:cubicBezTo>
                  <a:cubicBezTo>
                    <a:pt x="28976" y="52913"/>
                    <a:pt x="26456" y="55432"/>
                    <a:pt x="25196" y="59212"/>
                  </a:cubicBezTo>
                  <a:cubicBezTo>
                    <a:pt x="22677" y="62991"/>
                    <a:pt x="18897" y="68030"/>
                    <a:pt x="15118" y="71810"/>
                  </a:cubicBezTo>
                  <a:cubicBezTo>
                    <a:pt x="13858" y="73070"/>
                    <a:pt x="11338" y="74330"/>
                    <a:pt x="8819" y="74330"/>
                  </a:cubicBezTo>
                  <a:cubicBezTo>
                    <a:pt x="6299" y="74330"/>
                    <a:pt x="3779" y="73070"/>
                    <a:pt x="2519" y="71810"/>
                  </a:cubicBezTo>
                  <a:cubicBezTo>
                    <a:pt x="1260" y="70550"/>
                    <a:pt x="0" y="68030"/>
                    <a:pt x="0" y="65511"/>
                  </a:cubicBezTo>
                  <a:cubicBezTo>
                    <a:pt x="0" y="62991"/>
                    <a:pt x="1260" y="61731"/>
                    <a:pt x="2519" y="59212"/>
                  </a:cubicBezTo>
                  <a:cubicBezTo>
                    <a:pt x="3779" y="57952"/>
                    <a:pt x="6299" y="55432"/>
                    <a:pt x="7559" y="54172"/>
                  </a:cubicBezTo>
                  <a:cubicBezTo>
                    <a:pt x="10078" y="51653"/>
                    <a:pt x="11338" y="49133"/>
                    <a:pt x="13858" y="46613"/>
                  </a:cubicBezTo>
                  <a:cubicBezTo>
                    <a:pt x="16378" y="44094"/>
                    <a:pt x="17637" y="40314"/>
                    <a:pt x="20157" y="37795"/>
                  </a:cubicBezTo>
                  <a:cubicBezTo>
                    <a:pt x="21417" y="35275"/>
                    <a:pt x="23937" y="31496"/>
                    <a:pt x="25196" y="27716"/>
                  </a:cubicBezTo>
                  <a:cubicBezTo>
                    <a:pt x="26456" y="25196"/>
                    <a:pt x="27716" y="22677"/>
                    <a:pt x="28976" y="20157"/>
                  </a:cubicBezTo>
                  <a:cubicBezTo>
                    <a:pt x="30236" y="17637"/>
                    <a:pt x="30236" y="16378"/>
                    <a:pt x="31496" y="13858"/>
                  </a:cubicBezTo>
                  <a:cubicBezTo>
                    <a:pt x="32755" y="11338"/>
                    <a:pt x="32755" y="8819"/>
                    <a:pt x="34015" y="6299"/>
                  </a:cubicBezTo>
                  <a:cubicBezTo>
                    <a:pt x="34015" y="6299"/>
                    <a:pt x="34015" y="6299"/>
                    <a:pt x="34015" y="6299"/>
                  </a:cubicBezTo>
                  <a:cubicBezTo>
                    <a:pt x="35275" y="7559"/>
                    <a:pt x="36535" y="7559"/>
                    <a:pt x="37795" y="7559"/>
                  </a:cubicBezTo>
                  <a:cubicBezTo>
                    <a:pt x="37795" y="7559"/>
                    <a:pt x="37795" y="7559"/>
                    <a:pt x="37795" y="7559"/>
                  </a:cubicBezTo>
                  <a:cubicBezTo>
                    <a:pt x="39055" y="7559"/>
                    <a:pt x="41574" y="7559"/>
                    <a:pt x="42834" y="6299"/>
                  </a:cubicBezTo>
                  <a:cubicBezTo>
                    <a:pt x="45354" y="5039"/>
                    <a:pt x="46613" y="3780"/>
                    <a:pt x="47873" y="2520"/>
                  </a:cubicBezTo>
                  <a:cubicBezTo>
                    <a:pt x="49133" y="1260"/>
                    <a:pt x="50393" y="1260"/>
                    <a:pt x="50393" y="0"/>
                  </a:cubicBezTo>
                  <a:cubicBezTo>
                    <a:pt x="51653" y="1260"/>
                    <a:pt x="50393" y="6299"/>
                    <a:pt x="49133" y="10079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/>
            <p:cNvSpPr/>
            <p:nvPr/>
          </p:nvSpPr>
          <p:spPr>
            <a:xfrm>
              <a:off x="9890567" y="3449682"/>
              <a:ext cx="17160" cy="60063"/>
            </a:xfrm>
            <a:custGeom>
              <a:avLst/>
              <a:gdLst>
                <a:gd name="connsiteX0" fmla="*/ 32755 w 25196"/>
                <a:gd name="connsiteY0" fmla="*/ 4794 h 88187"/>
                <a:gd name="connsiteX1" fmla="*/ 31496 w 25196"/>
                <a:gd name="connsiteY1" fmla="*/ 26211 h 88187"/>
                <a:gd name="connsiteX2" fmla="*/ 30236 w 25196"/>
                <a:gd name="connsiteY2" fmla="*/ 48887 h 88187"/>
                <a:gd name="connsiteX3" fmla="*/ 26456 w 25196"/>
                <a:gd name="connsiteY3" fmla="*/ 71564 h 88187"/>
                <a:gd name="connsiteX4" fmla="*/ 23937 w 25196"/>
                <a:gd name="connsiteY4" fmla="*/ 82903 h 88187"/>
                <a:gd name="connsiteX5" fmla="*/ 21417 w 25196"/>
                <a:gd name="connsiteY5" fmla="*/ 91722 h 88187"/>
                <a:gd name="connsiteX6" fmla="*/ 21417 w 25196"/>
                <a:gd name="connsiteY6" fmla="*/ 92981 h 88187"/>
                <a:gd name="connsiteX7" fmla="*/ 20157 w 25196"/>
                <a:gd name="connsiteY7" fmla="*/ 96761 h 88187"/>
                <a:gd name="connsiteX8" fmla="*/ 17637 w 25196"/>
                <a:gd name="connsiteY8" fmla="*/ 99280 h 88187"/>
                <a:gd name="connsiteX9" fmla="*/ 12598 w 25196"/>
                <a:gd name="connsiteY9" fmla="*/ 100540 h 88187"/>
                <a:gd name="connsiteX10" fmla="*/ 10078 w 25196"/>
                <a:gd name="connsiteY10" fmla="*/ 100540 h 88187"/>
                <a:gd name="connsiteX11" fmla="*/ 8819 w 25196"/>
                <a:gd name="connsiteY11" fmla="*/ 100540 h 88187"/>
                <a:gd name="connsiteX12" fmla="*/ 7559 w 25196"/>
                <a:gd name="connsiteY12" fmla="*/ 100540 h 88187"/>
                <a:gd name="connsiteX13" fmla="*/ 0 w 25196"/>
                <a:gd name="connsiteY13" fmla="*/ 92981 h 88187"/>
                <a:gd name="connsiteX14" fmla="*/ 1260 w 25196"/>
                <a:gd name="connsiteY14" fmla="*/ 79123 h 88187"/>
                <a:gd name="connsiteX15" fmla="*/ 1260 w 25196"/>
                <a:gd name="connsiteY15" fmla="*/ 72824 h 88187"/>
                <a:gd name="connsiteX16" fmla="*/ 2519 w 25196"/>
                <a:gd name="connsiteY16" fmla="*/ 62746 h 88187"/>
                <a:gd name="connsiteX17" fmla="*/ 2519 w 25196"/>
                <a:gd name="connsiteY17" fmla="*/ 62746 h 88187"/>
                <a:gd name="connsiteX18" fmla="*/ 2519 w 25196"/>
                <a:gd name="connsiteY18" fmla="*/ 62746 h 88187"/>
                <a:gd name="connsiteX19" fmla="*/ 2519 w 25196"/>
                <a:gd name="connsiteY19" fmla="*/ 62746 h 88187"/>
                <a:gd name="connsiteX20" fmla="*/ 2519 w 25196"/>
                <a:gd name="connsiteY20" fmla="*/ 60226 h 88187"/>
                <a:gd name="connsiteX21" fmla="*/ 5039 w 25196"/>
                <a:gd name="connsiteY21" fmla="*/ 56446 h 88187"/>
                <a:gd name="connsiteX22" fmla="*/ 10078 w 25196"/>
                <a:gd name="connsiteY22" fmla="*/ 53927 h 88187"/>
                <a:gd name="connsiteX23" fmla="*/ 11338 w 25196"/>
                <a:gd name="connsiteY23" fmla="*/ 47628 h 88187"/>
                <a:gd name="connsiteX24" fmla="*/ 13858 w 25196"/>
                <a:gd name="connsiteY24" fmla="*/ 43848 h 88187"/>
                <a:gd name="connsiteX25" fmla="*/ 18897 w 25196"/>
                <a:gd name="connsiteY25" fmla="*/ 42588 h 88187"/>
                <a:gd name="connsiteX26" fmla="*/ 20157 w 25196"/>
                <a:gd name="connsiteY26" fmla="*/ 42588 h 88187"/>
                <a:gd name="connsiteX27" fmla="*/ 21417 w 25196"/>
                <a:gd name="connsiteY27" fmla="*/ 31250 h 88187"/>
                <a:gd name="connsiteX28" fmla="*/ 22677 w 25196"/>
                <a:gd name="connsiteY28" fmla="*/ 6054 h 88187"/>
                <a:gd name="connsiteX29" fmla="*/ 28976 w 25196"/>
                <a:gd name="connsiteY29" fmla="*/ 1014 h 88187"/>
                <a:gd name="connsiteX30" fmla="*/ 28976 w 25196"/>
                <a:gd name="connsiteY30" fmla="*/ 1014 h 88187"/>
                <a:gd name="connsiteX31" fmla="*/ 32755 w 25196"/>
                <a:gd name="connsiteY31" fmla="*/ 4794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96" h="88187">
                  <a:moveTo>
                    <a:pt x="32755" y="4794"/>
                  </a:moveTo>
                  <a:cubicBezTo>
                    <a:pt x="32755" y="12353"/>
                    <a:pt x="32755" y="18652"/>
                    <a:pt x="31496" y="26211"/>
                  </a:cubicBezTo>
                  <a:cubicBezTo>
                    <a:pt x="31496" y="33770"/>
                    <a:pt x="30236" y="41329"/>
                    <a:pt x="30236" y="48887"/>
                  </a:cubicBezTo>
                  <a:cubicBezTo>
                    <a:pt x="28976" y="56446"/>
                    <a:pt x="27716" y="64005"/>
                    <a:pt x="26456" y="71564"/>
                  </a:cubicBezTo>
                  <a:cubicBezTo>
                    <a:pt x="26456" y="75344"/>
                    <a:pt x="25196" y="79123"/>
                    <a:pt x="23937" y="82903"/>
                  </a:cubicBezTo>
                  <a:cubicBezTo>
                    <a:pt x="22677" y="85422"/>
                    <a:pt x="22677" y="89202"/>
                    <a:pt x="21417" y="91722"/>
                  </a:cubicBezTo>
                  <a:cubicBezTo>
                    <a:pt x="21417" y="91722"/>
                    <a:pt x="21417" y="92981"/>
                    <a:pt x="21417" y="92981"/>
                  </a:cubicBezTo>
                  <a:cubicBezTo>
                    <a:pt x="21417" y="94241"/>
                    <a:pt x="21417" y="95501"/>
                    <a:pt x="20157" y="96761"/>
                  </a:cubicBezTo>
                  <a:cubicBezTo>
                    <a:pt x="18897" y="98021"/>
                    <a:pt x="18897" y="99280"/>
                    <a:pt x="17637" y="99280"/>
                  </a:cubicBezTo>
                  <a:cubicBezTo>
                    <a:pt x="16378" y="100540"/>
                    <a:pt x="13858" y="100540"/>
                    <a:pt x="12598" y="100540"/>
                  </a:cubicBezTo>
                  <a:cubicBezTo>
                    <a:pt x="11338" y="100540"/>
                    <a:pt x="11338" y="100540"/>
                    <a:pt x="10078" y="100540"/>
                  </a:cubicBezTo>
                  <a:cubicBezTo>
                    <a:pt x="10078" y="100540"/>
                    <a:pt x="10078" y="100540"/>
                    <a:pt x="8819" y="100540"/>
                  </a:cubicBezTo>
                  <a:cubicBezTo>
                    <a:pt x="8819" y="100540"/>
                    <a:pt x="7559" y="100540"/>
                    <a:pt x="7559" y="100540"/>
                  </a:cubicBezTo>
                  <a:cubicBezTo>
                    <a:pt x="2519" y="100540"/>
                    <a:pt x="0" y="96761"/>
                    <a:pt x="0" y="92981"/>
                  </a:cubicBezTo>
                  <a:cubicBezTo>
                    <a:pt x="0" y="87942"/>
                    <a:pt x="0" y="82903"/>
                    <a:pt x="1260" y="79123"/>
                  </a:cubicBezTo>
                  <a:cubicBezTo>
                    <a:pt x="1260" y="76604"/>
                    <a:pt x="1260" y="74084"/>
                    <a:pt x="1260" y="72824"/>
                  </a:cubicBezTo>
                  <a:cubicBezTo>
                    <a:pt x="1260" y="69045"/>
                    <a:pt x="1260" y="66525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lnTo>
                    <a:pt x="2519" y="62746"/>
                  </a:lnTo>
                  <a:cubicBezTo>
                    <a:pt x="2519" y="61486"/>
                    <a:pt x="2519" y="61486"/>
                    <a:pt x="2519" y="60226"/>
                  </a:cubicBezTo>
                  <a:cubicBezTo>
                    <a:pt x="2519" y="58966"/>
                    <a:pt x="3779" y="57706"/>
                    <a:pt x="5039" y="56446"/>
                  </a:cubicBezTo>
                  <a:cubicBezTo>
                    <a:pt x="6299" y="55187"/>
                    <a:pt x="7559" y="55187"/>
                    <a:pt x="10078" y="53927"/>
                  </a:cubicBezTo>
                  <a:cubicBezTo>
                    <a:pt x="10078" y="51407"/>
                    <a:pt x="10078" y="50147"/>
                    <a:pt x="11338" y="47628"/>
                  </a:cubicBezTo>
                  <a:cubicBezTo>
                    <a:pt x="11338" y="46368"/>
                    <a:pt x="12598" y="45108"/>
                    <a:pt x="13858" y="43848"/>
                  </a:cubicBezTo>
                  <a:cubicBezTo>
                    <a:pt x="15118" y="42588"/>
                    <a:pt x="16378" y="42588"/>
                    <a:pt x="18897" y="42588"/>
                  </a:cubicBezTo>
                  <a:cubicBezTo>
                    <a:pt x="18897" y="42588"/>
                    <a:pt x="18897" y="42588"/>
                    <a:pt x="20157" y="42588"/>
                  </a:cubicBezTo>
                  <a:cubicBezTo>
                    <a:pt x="20157" y="38809"/>
                    <a:pt x="21417" y="35029"/>
                    <a:pt x="21417" y="31250"/>
                  </a:cubicBezTo>
                  <a:cubicBezTo>
                    <a:pt x="21417" y="22431"/>
                    <a:pt x="22677" y="14872"/>
                    <a:pt x="22677" y="6054"/>
                  </a:cubicBezTo>
                  <a:cubicBezTo>
                    <a:pt x="22677" y="2274"/>
                    <a:pt x="25196" y="-246"/>
                    <a:pt x="28976" y="1014"/>
                  </a:cubicBezTo>
                  <a:cubicBezTo>
                    <a:pt x="28976" y="1014"/>
                    <a:pt x="28976" y="1014"/>
                    <a:pt x="28976" y="1014"/>
                  </a:cubicBezTo>
                  <a:cubicBezTo>
                    <a:pt x="30236" y="-1505"/>
                    <a:pt x="32755" y="1014"/>
                    <a:pt x="32755" y="479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/>
            <p:cNvSpPr/>
            <p:nvPr/>
          </p:nvSpPr>
          <p:spPr>
            <a:xfrm>
              <a:off x="9890339" y="3438361"/>
              <a:ext cx="25741" cy="102964"/>
            </a:xfrm>
            <a:custGeom>
              <a:avLst/>
              <a:gdLst>
                <a:gd name="connsiteX0" fmla="*/ 34350 w 37794"/>
                <a:gd name="connsiteY0" fmla="*/ 1260 h 151178"/>
                <a:gd name="connsiteX1" fmla="*/ 35610 w 37794"/>
                <a:gd name="connsiteY1" fmla="*/ 1260 h 151178"/>
                <a:gd name="connsiteX2" fmla="*/ 35610 w 37794"/>
                <a:gd name="connsiteY2" fmla="*/ 1260 h 151178"/>
                <a:gd name="connsiteX3" fmla="*/ 35610 w 37794"/>
                <a:gd name="connsiteY3" fmla="*/ 1260 h 151178"/>
                <a:gd name="connsiteX4" fmla="*/ 35610 w 37794"/>
                <a:gd name="connsiteY4" fmla="*/ 1260 h 151178"/>
                <a:gd name="connsiteX5" fmla="*/ 35610 w 37794"/>
                <a:gd name="connsiteY5" fmla="*/ 1260 h 151178"/>
                <a:gd name="connsiteX6" fmla="*/ 36870 w 37794"/>
                <a:gd name="connsiteY6" fmla="*/ 1260 h 151178"/>
                <a:gd name="connsiteX7" fmla="*/ 41909 w 37794"/>
                <a:gd name="connsiteY7" fmla="*/ 2520 h 151178"/>
                <a:gd name="connsiteX8" fmla="*/ 44429 w 37794"/>
                <a:gd name="connsiteY8" fmla="*/ 3780 h 151178"/>
                <a:gd name="connsiteX9" fmla="*/ 44429 w 37794"/>
                <a:gd name="connsiteY9" fmla="*/ 7559 h 151178"/>
                <a:gd name="connsiteX10" fmla="*/ 43169 w 37794"/>
                <a:gd name="connsiteY10" fmla="*/ 15118 h 151178"/>
                <a:gd name="connsiteX11" fmla="*/ 41909 w 37794"/>
                <a:gd name="connsiteY11" fmla="*/ 25196 h 151178"/>
                <a:gd name="connsiteX12" fmla="*/ 41909 w 37794"/>
                <a:gd name="connsiteY12" fmla="*/ 25196 h 151178"/>
                <a:gd name="connsiteX13" fmla="*/ 41909 w 37794"/>
                <a:gd name="connsiteY13" fmla="*/ 25196 h 151178"/>
                <a:gd name="connsiteX14" fmla="*/ 41909 w 37794"/>
                <a:gd name="connsiteY14" fmla="*/ 25196 h 151178"/>
                <a:gd name="connsiteX15" fmla="*/ 41909 w 37794"/>
                <a:gd name="connsiteY15" fmla="*/ 25196 h 151178"/>
                <a:gd name="connsiteX16" fmla="*/ 41909 w 37794"/>
                <a:gd name="connsiteY16" fmla="*/ 25196 h 151178"/>
                <a:gd name="connsiteX17" fmla="*/ 41909 w 37794"/>
                <a:gd name="connsiteY17" fmla="*/ 25196 h 151178"/>
                <a:gd name="connsiteX18" fmla="*/ 40649 w 37794"/>
                <a:gd name="connsiteY18" fmla="*/ 42834 h 151178"/>
                <a:gd name="connsiteX19" fmla="*/ 39390 w 37794"/>
                <a:gd name="connsiteY19" fmla="*/ 56692 h 151178"/>
                <a:gd name="connsiteX20" fmla="*/ 38130 w 37794"/>
                <a:gd name="connsiteY20" fmla="*/ 61731 h 151178"/>
                <a:gd name="connsiteX21" fmla="*/ 36870 w 37794"/>
                <a:gd name="connsiteY21" fmla="*/ 69290 h 151178"/>
                <a:gd name="connsiteX22" fmla="*/ 36870 w 37794"/>
                <a:gd name="connsiteY22" fmla="*/ 69290 h 151178"/>
                <a:gd name="connsiteX23" fmla="*/ 36870 w 37794"/>
                <a:gd name="connsiteY23" fmla="*/ 69290 h 151178"/>
                <a:gd name="connsiteX24" fmla="*/ 34350 w 37794"/>
                <a:gd name="connsiteY24" fmla="*/ 78109 h 151178"/>
                <a:gd name="connsiteX25" fmla="*/ 29311 w 37794"/>
                <a:gd name="connsiteY25" fmla="*/ 97006 h 151178"/>
                <a:gd name="connsiteX26" fmla="*/ 24272 w 37794"/>
                <a:gd name="connsiteY26" fmla="*/ 113384 h 151178"/>
                <a:gd name="connsiteX27" fmla="*/ 21752 w 37794"/>
                <a:gd name="connsiteY27" fmla="*/ 120943 h 151178"/>
                <a:gd name="connsiteX28" fmla="*/ 20492 w 37794"/>
                <a:gd name="connsiteY28" fmla="*/ 122203 h 151178"/>
                <a:gd name="connsiteX29" fmla="*/ 14193 w 37794"/>
                <a:gd name="connsiteY29" fmla="*/ 128502 h 151178"/>
                <a:gd name="connsiteX30" fmla="*/ 10414 w 37794"/>
                <a:gd name="connsiteY30" fmla="*/ 132281 h 151178"/>
                <a:gd name="connsiteX31" fmla="*/ 5374 w 37794"/>
                <a:gd name="connsiteY31" fmla="*/ 137321 h 151178"/>
                <a:gd name="connsiteX32" fmla="*/ 4114 w 37794"/>
                <a:gd name="connsiteY32" fmla="*/ 142360 h 151178"/>
                <a:gd name="connsiteX33" fmla="*/ 4114 w 37794"/>
                <a:gd name="connsiteY33" fmla="*/ 143620 h 151178"/>
                <a:gd name="connsiteX34" fmla="*/ 4114 w 37794"/>
                <a:gd name="connsiteY34" fmla="*/ 144880 h 151178"/>
                <a:gd name="connsiteX35" fmla="*/ 6634 w 37794"/>
                <a:gd name="connsiteY35" fmla="*/ 149919 h 151178"/>
                <a:gd name="connsiteX36" fmla="*/ 10414 w 37794"/>
                <a:gd name="connsiteY36" fmla="*/ 152439 h 151178"/>
                <a:gd name="connsiteX37" fmla="*/ 10414 w 37794"/>
                <a:gd name="connsiteY37" fmla="*/ 153698 h 151178"/>
                <a:gd name="connsiteX38" fmla="*/ 7894 w 37794"/>
                <a:gd name="connsiteY38" fmla="*/ 157478 h 151178"/>
                <a:gd name="connsiteX39" fmla="*/ 4114 w 37794"/>
                <a:gd name="connsiteY39" fmla="*/ 157478 h 151178"/>
                <a:gd name="connsiteX40" fmla="*/ 335 w 37794"/>
                <a:gd name="connsiteY40" fmla="*/ 151179 h 151178"/>
                <a:gd name="connsiteX41" fmla="*/ 11673 w 37794"/>
                <a:gd name="connsiteY41" fmla="*/ 115904 h 151178"/>
                <a:gd name="connsiteX42" fmla="*/ 17973 w 37794"/>
                <a:gd name="connsiteY42" fmla="*/ 99526 h 151178"/>
                <a:gd name="connsiteX43" fmla="*/ 23012 w 37794"/>
                <a:gd name="connsiteY43" fmla="*/ 81889 h 151178"/>
                <a:gd name="connsiteX44" fmla="*/ 26791 w 37794"/>
                <a:gd name="connsiteY44" fmla="*/ 68031 h 151178"/>
                <a:gd name="connsiteX45" fmla="*/ 29311 w 37794"/>
                <a:gd name="connsiteY45" fmla="*/ 55432 h 151178"/>
                <a:gd name="connsiteX46" fmla="*/ 31831 w 37794"/>
                <a:gd name="connsiteY46" fmla="*/ 37795 h 151178"/>
                <a:gd name="connsiteX47" fmla="*/ 33091 w 37794"/>
                <a:gd name="connsiteY47" fmla="*/ 28976 h 151178"/>
                <a:gd name="connsiteX48" fmla="*/ 33091 w 37794"/>
                <a:gd name="connsiteY48" fmla="*/ 20157 h 151178"/>
                <a:gd name="connsiteX49" fmla="*/ 34350 w 37794"/>
                <a:gd name="connsiteY49" fmla="*/ 1260 h 151178"/>
                <a:gd name="connsiteX50" fmla="*/ 34350 w 37794"/>
                <a:gd name="connsiteY50" fmla="*/ 0 h 151178"/>
                <a:gd name="connsiteX51" fmla="*/ 34350 w 37794"/>
                <a:gd name="connsiteY51" fmla="*/ 126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7794" h="151178">
                  <a:moveTo>
                    <a:pt x="34350" y="1260"/>
                  </a:moveTo>
                  <a:cubicBezTo>
                    <a:pt x="3435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5610" y="1260"/>
                  </a:lnTo>
                  <a:cubicBezTo>
                    <a:pt x="3561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6870" y="1260"/>
                  </a:lnTo>
                  <a:cubicBezTo>
                    <a:pt x="38130" y="1260"/>
                    <a:pt x="39390" y="2520"/>
                    <a:pt x="41909" y="2520"/>
                  </a:cubicBezTo>
                  <a:cubicBezTo>
                    <a:pt x="43169" y="2520"/>
                    <a:pt x="44429" y="2520"/>
                    <a:pt x="44429" y="3780"/>
                  </a:cubicBezTo>
                  <a:cubicBezTo>
                    <a:pt x="44429" y="5039"/>
                    <a:pt x="44429" y="6299"/>
                    <a:pt x="44429" y="7559"/>
                  </a:cubicBezTo>
                  <a:cubicBezTo>
                    <a:pt x="44429" y="10079"/>
                    <a:pt x="44429" y="12598"/>
                    <a:pt x="43169" y="15118"/>
                  </a:cubicBezTo>
                  <a:cubicBezTo>
                    <a:pt x="43169" y="18897"/>
                    <a:pt x="43169" y="21417"/>
                    <a:pt x="41909" y="25196"/>
                  </a:cubicBez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cubicBezTo>
                    <a:pt x="41909" y="31496"/>
                    <a:pt x="40649" y="37795"/>
                    <a:pt x="40649" y="42834"/>
                  </a:cubicBezTo>
                  <a:cubicBezTo>
                    <a:pt x="40649" y="47873"/>
                    <a:pt x="39390" y="52913"/>
                    <a:pt x="39390" y="56692"/>
                  </a:cubicBezTo>
                  <a:cubicBezTo>
                    <a:pt x="39390" y="57952"/>
                    <a:pt x="39390" y="60472"/>
                    <a:pt x="38130" y="61731"/>
                  </a:cubicBezTo>
                  <a:cubicBezTo>
                    <a:pt x="38130" y="64251"/>
                    <a:pt x="36870" y="66771"/>
                    <a:pt x="36870" y="69290"/>
                  </a:cubicBezTo>
                  <a:lnTo>
                    <a:pt x="36870" y="69290"/>
                  </a:lnTo>
                  <a:cubicBezTo>
                    <a:pt x="36870" y="69290"/>
                    <a:pt x="36870" y="69290"/>
                    <a:pt x="36870" y="69290"/>
                  </a:cubicBezTo>
                  <a:cubicBezTo>
                    <a:pt x="35610" y="71810"/>
                    <a:pt x="35610" y="75589"/>
                    <a:pt x="34350" y="78109"/>
                  </a:cubicBezTo>
                  <a:cubicBezTo>
                    <a:pt x="33091" y="84408"/>
                    <a:pt x="31831" y="90707"/>
                    <a:pt x="29311" y="97006"/>
                  </a:cubicBezTo>
                  <a:cubicBezTo>
                    <a:pt x="28051" y="102046"/>
                    <a:pt x="25532" y="108345"/>
                    <a:pt x="24272" y="113384"/>
                  </a:cubicBezTo>
                  <a:cubicBezTo>
                    <a:pt x="23012" y="115904"/>
                    <a:pt x="21752" y="118424"/>
                    <a:pt x="21752" y="120943"/>
                  </a:cubicBezTo>
                  <a:lnTo>
                    <a:pt x="20492" y="122203"/>
                  </a:lnTo>
                  <a:cubicBezTo>
                    <a:pt x="17973" y="124723"/>
                    <a:pt x="15453" y="125982"/>
                    <a:pt x="14193" y="128502"/>
                  </a:cubicBezTo>
                  <a:cubicBezTo>
                    <a:pt x="12933" y="129762"/>
                    <a:pt x="11673" y="131022"/>
                    <a:pt x="10414" y="132281"/>
                  </a:cubicBezTo>
                  <a:cubicBezTo>
                    <a:pt x="9154" y="133541"/>
                    <a:pt x="6634" y="136061"/>
                    <a:pt x="5374" y="137321"/>
                  </a:cubicBezTo>
                  <a:cubicBezTo>
                    <a:pt x="4114" y="138581"/>
                    <a:pt x="4114" y="141100"/>
                    <a:pt x="4114" y="142360"/>
                  </a:cubicBezTo>
                  <a:lnTo>
                    <a:pt x="4114" y="143620"/>
                  </a:lnTo>
                  <a:lnTo>
                    <a:pt x="4114" y="144880"/>
                  </a:lnTo>
                  <a:cubicBezTo>
                    <a:pt x="4114" y="146140"/>
                    <a:pt x="5374" y="148659"/>
                    <a:pt x="6634" y="149919"/>
                  </a:cubicBezTo>
                  <a:cubicBezTo>
                    <a:pt x="7894" y="151179"/>
                    <a:pt x="9154" y="152439"/>
                    <a:pt x="10414" y="152439"/>
                  </a:cubicBezTo>
                  <a:cubicBezTo>
                    <a:pt x="10414" y="152439"/>
                    <a:pt x="10414" y="153698"/>
                    <a:pt x="10414" y="153698"/>
                  </a:cubicBezTo>
                  <a:cubicBezTo>
                    <a:pt x="10414" y="154958"/>
                    <a:pt x="9154" y="156218"/>
                    <a:pt x="7894" y="157478"/>
                  </a:cubicBezTo>
                  <a:cubicBezTo>
                    <a:pt x="6634" y="158738"/>
                    <a:pt x="5374" y="158738"/>
                    <a:pt x="4114" y="157478"/>
                  </a:cubicBezTo>
                  <a:cubicBezTo>
                    <a:pt x="1595" y="156218"/>
                    <a:pt x="-925" y="153698"/>
                    <a:pt x="335" y="151179"/>
                  </a:cubicBezTo>
                  <a:cubicBezTo>
                    <a:pt x="4114" y="139840"/>
                    <a:pt x="7894" y="127242"/>
                    <a:pt x="11673" y="115904"/>
                  </a:cubicBezTo>
                  <a:cubicBezTo>
                    <a:pt x="14193" y="110864"/>
                    <a:pt x="15453" y="104565"/>
                    <a:pt x="17973" y="99526"/>
                  </a:cubicBezTo>
                  <a:cubicBezTo>
                    <a:pt x="19232" y="93227"/>
                    <a:pt x="21752" y="88188"/>
                    <a:pt x="23012" y="81889"/>
                  </a:cubicBezTo>
                  <a:cubicBezTo>
                    <a:pt x="24272" y="76849"/>
                    <a:pt x="25532" y="71810"/>
                    <a:pt x="26791" y="68031"/>
                  </a:cubicBezTo>
                  <a:cubicBezTo>
                    <a:pt x="28051" y="64251"/>
                    <a:pt x="29311" y="59212"/>
                    <a:pt x="29311" y="55432"/>
                  </a:cubicBezTo>
                  <a:cubicBezTo>
                    <a:pt x="30571" y="49133"/>
                    <a:pt x="30571" y="44094"/>
                    <a:pt x="31831" y="37795"/>
                  </a:cubicBezTo>
                  <a:cubicBezTo>
                    <a:pt x="31831" y="35275"/>
                    <a:pt x="31831" y="31496"/>
                    <a:pt x="33091" y="28976"/>
                  </a:cubicBezTo>
                  <a:cubicBezTo>
                    <a:pt x="33091" y="26456"/>
                    <a:pt x="33091" y="22677"/>
                    <a:pt x="33091" y="20157"/>
                  </a:cubicBezTo>
                  <a:cubicBezTo>
                    <a:pt x="33091" y="13858"/>
                    <a:pt x="34350" y="7559"/>
                    <a:pt x="34350" y="1260"/>
                  </a:cubicBezTo>
                  <a:cubicBezTo>
                    <a:pt x="34350" y="1260"/>
                    <a:pt x="34350" y="1260"/>
                    <a:pt x="34350" y="0"/>
                  </a:cubicBezTo>
                  <a:cubicBezTo>
                    <a:pt x="33091" y="0"/>
                    <a:pt x="33091" y="0"/>
                    <a:pt x="34350" y="12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/>
            <p:cNvSpPr/>
            <p:nvPr/>
          </p:nvSpPr>
          <p:spPr>
            <a:xfrm>
              <a:off x="9896573" y="3456379"/>
              <a:ext cx="17160" cy="85803"/>
            </a:xfrm>
            <a:custGeom>
              <a:avLst/>
              <a:gdLst>
                <a:gd name="connsiteX0" fmla="*/ 34015 w 25196"/>
                <a:gd name="connsiteY0" fmla="*/ 0 h 125982"/>
                <a:gd name="connsiteX1" fmla="*/ 34015 w 25196"/>
                <a:gd name="connsiteY1" fmla="*/ 0 h 125982"/>
                <a:gd name="connsiteX2" fmla="*/ 34015 w 25196"/>
                <a:gd name="connsiteY2" fmla="*/ 2520 h 125982"/>
                <a:gd name="connsiteX3" fmla="*/ 34015 w 25196"/>
                <a:gd name="connsiteY3" fmla="*/ 5039 h 125982"/>
                <a:gd name="connsiteX4" fmla="*/ 34015 w 25196"/>
                <a:gd name="connsiteY4" fmla="*/ 15118 h 125982"/>
                <a:gd name="connsiteX5" fmla="*/ 34015 w 25196"/>
                <a:gd name="connsiteY5" fmla="*/ 21417 h 125982"/>
                <a:gd name="connsiteX6" fmla="*/ 32755 w 25196"/>
                <a:gd name="connsiteY6" fmla="*/ 34015 h 125982"/>
                <a:gd name="connsiteX7" fmla="*/ 32755 w 25196"/>
                <a:gd name="connsiteY7" fmla="*/ 39054 h 125982"/>
                <a:gd name="connsiteX8" fmla="*/ 30236 w 25196"/>
                <a:gd name="connsiteY8" fmla="*/ 60472 h 125982"/>
                <a:gd name="connsiteX9" fmla="*/ 30236 w 25196"/>
                <a:gd name="connsiteY9" fmla="*/ 60472 h 125982"/>
                <a:gd name="connsiteX10" fmla="*/ 28976 w 25196"/>
                <a:gd name="connsiteY10" fmla="*/ 75589 h 125982"/>
                <a:gd name="connsiteX11" fmla="*/ 27716 w 25196"/>
                <a:gd name="connsiteY11" fmla="*/ 88188 h 125982"/>
                <a:gd name="connsiteX12" fmla="*/ 27716 w 25196"/>
                <a:gd name="connsiteY12" fmla="*/ 88188 h 125982"/>
                <a:gd name="connsiteX13" fmla="*/ 27716 w 25196"/>
                <a:gd name="connsiteY13" fmla="*/ 93227 h 125982"/>
                <a:gd name="connsiteX14" fmla="*/ 23937 w 25196"/>
                <a:gd name="connsiteY14" fmla="*/ 113384 h 125982"/>
                <a:gd name="connsiteX15" fmla="*/ 23937 w 25196"/>
                <a:gd name="connsiteY15" fmla="*/ 114644 h 125982"/>
                <a:gd name="connsiteX16" fmla="*/ 23937 w 25196"/>
                <a:gd name="connsiteY16" fmla="*/ 115904 h 125982"/>
                <a:gd name="connsiteX17" fmla="*/ 23937 w 25196"/>
                <a:gd name="connsiteY17" fmla="*/ 115904 h 125982"/>
                <a:gd name="connsiteX18" fmla="*/ 23937 w 25196"/>
                <a:gd name="connsiteY18" fmla="*/ 115904 h 125982"/>
                <a:gd name="connsiteX19" fmla="*/ 23937 w 25196"/>
                <a:gd name="connsiteY19" fmla="*/ 115904 h 125982"/>
                <a:gd name="connsiteX20" fmla="*/ 23937 w 25196"/>
                <a:gd name="connsiteY20" fmla="*/ 115904 h 125982"/>
                <a:gd name="connsiteX21" fmla="*/ 23937 w 25196"/>
                <a:gd name="connsiteY21" fmla="*/ 115904 h 125982"/>
                <a:gd name="connsiteX22" fmla="*/ 23937 w 25196"/>
                <a:gd name="connsiteY22" fmla="*/ 115904 h 125982"/>
                <a:gd name="connsiteX23" fmla="*/ 22677 w 25196"/>
                <a:gd name="connsiteY23" fmla="*/ 117164 h 125982"/>
                <a:gd name="connsiteX24" fmla="*/ 18897 w 25196"/>
                <a:gd name="connsiteY24" fmla="*/ 120943 h 125982"/>
                <a:gd name="connsiteX25" fmla="*/ 13858 w 25196"/>
                <a:gd name="connsiteY25" fmla="*/ 124722 h 125982"/>
                <a:gd name="connsiteX26" fmla="*/ 8819 w 25196"/>
                <a:gd name="connsiteY26" fmla="*/ 125982 h 125982"/>
                <a:gd name="connsiteX27" fmla="*/ 8819 w 25196"/>
                <a:gd name="connsiteY27" fmla="*/ 125982 h 125982"/>
                <a:gd name="connsiteX28" fmla="*/ 2520 w 25196"/>
                <a:gd name="connsiteY28" fmla="*/ 123463 h 125982"/>
                <a:gd name="connsiteX29" fmla="*/ 0 w 25196"/>
                <a:gd name="connsiteY29" fmla="*/ 118423 h 125982"/>
                <a:gd name="connsiteX30" fmla="*/ 0 w 25196"/>
                <a:gd name="connsiteY30" fmla="*/ 117164 h 125982"/>
                <a:gd name="connsiteX31" fmla="*/ 0 w 25196"/>
                <a:gd name="connsiteY31" fmla="*/ 115904 h 125982"/>
                <a:gd name="connsiteX32" fmla="*/ 1260 w 25196"/>
                <a:gd name="connsiteY32" fmla="*/ 110864 h 125982"/>
                <a:gd name="connsiteX33" fmla="*/ 6299 w 25196"/>
                <a:gd name="connsiteY33" fmla="*/ 105825 h 125982"/>
                <a:gd name="connsiteX34" fmla="*/ 10079 w 25196"/>
                <a:gd name="connsiteY34" fmla="*/ 102046 h 125982"/>
                <a:gd name="connsiteX35" fmla="*/ 16378 w 25196"/>
                <a:gd name="connsiteY35" fmla="*/ 95746 h 125982"/>
                <a:gd name="connsiteX36" fmla="*/ 18897 w 25196"/>
                <a:gd name="connsiteY36" fmla="*/ 93227 h 125982"/>
                <a:gd name="connsiteX37" fmla="*/ 27716 w 25196"/>
                <a:gd name="connsiteY37" fmla="*/ 85668 h 125982"/>
                <a:gd name="connsiteX38" fmla="*/ 28976 w 25196"/>
                <a:gd name="connsiteY38" fmla="*/ 84408 h 125982"/>
                <a:gd name="connsiteX39" fmla="*/ 28976 w 25196"/>
                <a:gd name="connsiteY39" fmla="*/ 81889 h 125982"/>
                <a:gd name="connsiteX40" fmla="*/ 30236 w 25196"/>
                <a:gd name="connsiteY40" fmla="*/ 74330 h 125982"/>
                <a:gd name="connsiteX41" fmla="*/ 31496 w 25196"/>
                <a:gd name="connsiteY41" fmla="*/ 65511 h 125982"/>
                <a:gd name="connsiteX42" fmla="*/ 32755 w 25196"/>
                <a:gd name="connsiteY42" fmla="*/ 59212 h 125982"/>
                <a:gd name="connsiteX43" fmla="*/ 32755 w 25196"/>
                <a:gd name="connsiteY43" fmla="*/ 56692 h 125982"/>
                <a:gd name="connsiteX44" fmla="*/ 32755 w 25196"/>
                <a:gd name="connsiteY44" fmla="*/ 52913 h 125982"/>
                <a:gd name="connsiteX45" fmla="*/ 32755 w 25196"/>
                <a:gd name="connsiteY45" fmla="*/ 51653 h 125982"/>
                <a:gd name="connsiteX46" fmla="*/ 32755 w 25196"/>
                <a:gd name="connsiteY46" fmla="*/ 46613 h 125982"/>
                <a:gd name="connsiteX47" fmla="*/ 32755 w 25196"/>
                <a:gd name="connsiteY47" fmla="*/ 41574 h 125982"/>
                <a:gd name="connsiteX48" fmla="*/ 34015 w 25196"/>
                <a:gd name="connsiteY48" fmla="*/ 34015 h 125982"/>
                <a:gd name="connsiteX49" fmla="*/ 35275 w 25196"/>
                <a:gd name="connsiteY49" fmla="*/ 28976 h 125982"/>
                <a:gd name="connsiteX50" fmla="*/ 36535 w 25196"/>
                <a:gd name="connsiteY50" fmla="*/ 15118 h 125982"/>
                <a:gd name="connsiteX51" fmla="*/ 34015 w 25196"/>
                <a:gd name="connsiteY51" fmla="*/ 0 h 125982"/>
                <a:gd name="connsiteX52" fmla="*/ 34015 w 25196"/>
                <a:gd name="connsiteY52" fmla="*/ 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5196" h="125982">
                  <a:moveTo>
                    <a:pt x="34015" y="0"/>
                  </a:moveTo>
                  <a:cubicBezTo>
                    <a:pt x="34015" y="0"/>
                    <a:pt x="34015" y="1260"/>
                    <a:pt x="34015" y="0"/>
                  </a:cubicBezTo>
                  <a:cubicBezTo>
                    <a:pt x="34015" y="1260"/>
                    <a:pt x="34015" y="1260"/>
                    <a:pt x="34015" y="2520"/>
                  </a:cubicBezTo>
                  <a:cubicBezTo>
                    <a:pt x="34015" y="3780"/>
                    <a:pt x="34015" y="3780"/>
                    <a:pt x="34015" y="5039"/>
                  </a:cubicBezTo>
                  <a:cubicBezTo>
                    <a:pt x="34015" y="8819"/>
                    <a:pt x="34015" y="11338"/>
                    <a:pt x="34015" y="15118"/>
                  </a:cubicBezTo>
                  <a:cubicBezTo>
                    <a:pt x="34015" y="17637"/>
                    <a:pt x="34015" y="20157"/>
                    <a:pt x="34015" y="21417"/>
                  </a:cubicBezTo>
                  <a:cubicBezTo>
                    <a:pt x="34015" y="25196"/>
                    <a:pt x="34015" y="30236"/>
                    <a:pt x="32755" y="34015"/>
                  </a:cubicBezTo>
                  <a:cubicBezTo>
                    <a:pt x="32755" y="35275"/>
                    <a:pt x="32755" y="37795"/>
                    <a:pt x="32755" y="39054"/>
                  </a:cubicBezTo>
                  <a:cubicBezTo>
                    <a:pt x="32755" y="46613"/>
                    <a:pt x="31496" y="52913"/>
                    <a:pt x="30236" y="60472"/>
                  </a:cubicBezTo>
                  <a:lnTo>
                    <a:pt x="30236" y="60472"/>
                  </a:lnTo>
                  <a:cubicBezTo>
                    <a:pt x="30236" y="65511"/>
                    <a:pt x="28976" y="70550"/>
                    <a:pt x="28976" y="75589"/>
                  </a:cubicBezTo>
                  <a:cubicBezTo>
                    <a:pt x="28976" y="79369"/>
                    <a:pt x="27716" y="84408"/>
                    <a:pt x="27716" y="88188"/>
                  </a:cubicBezTo>
                  <a:lnTo>
                    <a:pt x="27716" y="88188"/>
                  </a:lnTo>
                  <a:cubicBezTo>
                    <a:pt x="27716" y="89447"/>
                    <a:pt x="27716" y="90707"/>
                    <a:pt x="27716" y="93227"/>
                  </a:cubicBezTo>
                  <a:cubicBezTo>
                    <a:pt x="26456" y="100786"/>
                    <a:pt x="25196" y="107085"/>
                    <a:pt x="23937" y="113384"/>
                  </a:cubicBezTo>
                  <a:cubicBezTo>
                    <a:pt x="23937" y="113384"/>
                    <a:pt x="23937" y="114644"/>
                    <a:pt x="23937" y="114644"/>
                  </a:cubicBezTo>
                  <a:cubicBezTo>
                    <a:pt x="23937" y="114644"/>
                    <a:pt x="23937" y="115904"/>
                    <a:pt x="23937" y="115904"/>
                  </a:cubicBezTo>
                  <a:cubicBezTo>
                    <a:pt x="23937" y="115904"/>
                    <a:pt x="23937" y="115904"/>
                    <a:pt x="23937" y="115904"/>
                  </a:cubicBez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cubicBezTo>
                    <a:pt x="23937" y="115904"/>
                    <a:pt x="23937" y="115904"/>
                    <a:pt x="23937" y="115904"/>
                  </a:cubicBezTo>
                  <a:cubicBezTo>
                    <a:pt x="23937" y="115904"/>
                    <a:pt x="22677" y="117164"/>
                    <a:pt x="22677" y="117164"/>
                  </a:cubicBezTo>
                  <a:cubicBezTo>
                    <a:pt x="21417" y="118423"/>
                    <a:pt x="20157" y="119683"/>
                    <a:pt x="18897" y="120943"/>
                  </a:cubicBezTo>
                  <a:cubicBezTo>
                    <a:pt x="17638" y="122203"/>
                    <a:pt x="15118" y="124722"/>
                    <a:pt x="13858" y="124722"/>
                  </a:cubicBezTo>
                  <a:cubicBezTo>
                    <a:pt x="12598" y="125982"/>
                    <a:pt x="10079" y="125982"/>
                    <a:pt x="8819" y="125982"/>
                  </a:cubicBezTo>
                  <a:cubicBezTo>
                    <a:pt x="8819" y="125982"/>
                    <a:pt x="8819" y="125982"/>
                    <a:pt x="8819" y="125982"/>
                  </a:cubicBezTo>
                  <a:cubicBezTo>
                    <a:pt x="6299" y="125982"/>
                    <a:pt x="3780" y="124722"/>
                    <a:pt x="2520" y="123463"/>
                  </a:cubicBezTo>
                  <a:cubicBezTo>
                    <a:pt x="1260" y="122203"/>
                    <a:pt x="0" y="120943"/>
                    <a:pt x="0" y="118423"/>
                  </a:cubicBezTo>
                  <a:lnTo>
                    <a:pt x="0" y="117164"/>
                  </a:lnTo>
                  <a:lnTo>
                    <a:pt x="0" y="115904"/>
                  </a:lnTo>
                  <a:cubicBezTo>
                    <a:pt x="0" y="114644"/>
                    <a:pt x="0" y="112124"/>
                    <a:pt x="1260" y="110864"/>
                  </a:cubicBezTo>
                  <a:cubicBezTo>
                    <a:pt x="2520" y="108345"/>
                    <a:pt x="3780" y="107085"/>
                    <a:pt x="6299" y="105825"/>
                  </a:cubicBezTo>
                  <a:cubicBezTo>
                    <a:pt x="7559" y="104565"/>
                    <a:pt x="8819" y="103305"/>
                    <a:pt x="10079" y="102046"/>
                  </a:cubicBezTo>
                  <a:cubicBezTo>
                    <a:pt x="12598" y="99526"/>
                    <a:pt x="15118" y="98266"/>
                    <a:pt x="16378" y="95746"/>
                  </a:cubicBezTo>
                  <a:lnTo>
                    <a:pt x="18897" y="93227"/>
                  </a:lnTo>
                  <a:cubicBezTo>
                    <a:pt x="21417" y="90707"/>
                    <a:pt x="23937" y="88188"/>
                    <a:pt x="27716" y="85668"/>
                  </a:cubicBezTo>
                  <a:cubicBezTo>
                    <a:pt x="27716" y="85668"/>
                    <a:pt x="28976" y="84408"/>
                    <a:pt x="28976" y="84408"/>
                  </a:cubicBezTo>
                  <a:lnTo>
                    <a:pt x="28976" y="81889"/>
                  </a:lnTo>
                  <a:cubicBezTo>
                    <a:pt x="28976" y="79369"/>
                    <a:pt x="28976" y="76849"/>
                    <a:pt x="30236" y="74330"/>
                  </a:cubicBezTo>
                  <a:cubicBezTo>
                    <a:pt x="30236" y="70550"/>
                    <a:pt x="31496" y="68030"/>
                    <a:pt x="31496" y="65511"/>
                  </a:cubicBezTo>
                  <a:cubicBezTo>
                    <a:pt x="31496" y="62991"/>
                    <a:pt x="31496" y="61731"/>
                    <a:pt x="32755" y="59212"/>
                  </a:cubicBezTo>
                  <a:cubicBezTo>
                    <a:pt x="32755" y="57952"/>
                    <a:pt x="32755" y="57952"/>
                    <a:pt x="32755" y="56692"/>
                  </a:cubicBezTo>
                  <a:cubicBezTo>
                    <a:pt x="32755" y="55432"/>
                    <a:pt x="32755" y="54172"/>
                    <a:pt x="32755" y="52913"/>
                  </a:cubicBezTo>
                  <a:lnTo>
                    <a:pt x="32755" y="51653"/>
                  </a:lnTo>
                  <a:cubicBezTo>
                    <a:pt x="32755" y="50393"/>
                    <a:pt x="32755" y="49133"/>
                    <a:pt x="32755" y="46613"/>
                  </a:cubicBezTo>
                  <a:cubicBezTo>
                    <a:pt x="32755" y="45354"/>
                    <a:pt x="32755" y="42834"/>
                    <a:pt x="32755" y="41574"/>
                  </a:cubicBezTo>
                  <a:cubicBezTo>
                    <a:pt x="32755" y="39054"/>
                    <a:pt x="34015" y="36535"/>
                    <a:pt x="34015" y="34015"/>
                  </a:cubicBezTo>
                  <a:cubicBezTo>
                    <a:pt x="34015" y="32755"/>
                    <a:pt x="35275" y="30236"/>
                    <a:pt x="35275" y="28976"/>
                  </a:cubicBezTo>
                  <a:cubicBezTo>
                    <a:pt x="36535" y="25196"/>
                    <a:pt x="36535" y="20157"/>
                    <a:pt x="36535" y="15118"/>
                  </a:cubicBezTo>
                  <a:cubicBezTo>
                    <a:pt x="32755" y="12598"/>
                    <a:pt x="32755" y="6299"/>
                    <a:pt x="34015" y="0"/>
                  </a:cubicBezTo>
                  <a:lnTo>
                    <a:pt x="34015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/>
            <p:cNvSpPr/>
            <p:nvPr/>
          </p:nvSpPr>
          <p:spPr>
            <a:xfrm>
              <a:off x="9869974" y="3463244"/>
              <a:ext cx="42902" cy="128705"/>
            </a:xfrm>
            <a:custGeom>
              <a:avLst/>
              <a:gdLst>
                <a:gd name="connsiteX0" fmla="*/ 69290 w 62991"/>
                <a:gd name="connsiteY0" fmla="*/ 3779 h 188973"/>
                <a:gd name="connsiteX1" fmla="*/ 65511 w 62991"/>
                <a:gd name="connsiteY1" fmla="*/ 0 h 188973"/>
                <a:gd name="connsiteX2" fmla="*/ 65511 w 62991"/>
                <a:gd name="connsiteY2" fmla="*/ 0 h 188973"/>
                <a:gd name="connsiteX3" fmla="*/ 61731 w 62991"/>
                <a:gd name="connsiteY3" fmla="*/ 2520 h 188973"/>
                <a:gd name="connsiteX4" fmla="*/ 59211 w 62991"/>
                <a:gd name="connsiteY4" fmla="*/ 13858 h 188973"/>
                <a:gd name="connsiteX5" fmla="*/ 57952 w 62991"/>
                <a:gd name="connsiteY5" fmla="*/ 25196 h 188973"/>
                <a:gd name="connsiteX6" fmla="*/ 55432 w 62991"/>
                <a:gd name="connsiteY6" fmla="*/ 41574 h 188973"/>
                <a:gd name="connsiteX7" fmla="*/ 54172 w 62991"/>
                <a:gd name="connsiteY7" fmla="*/ 57952 h 188973"/>
                <a:gd name="connsiteX8" fmla="*/ 51652 w 62991"/>
                <a:gd name="connsiteY8" fmla="*/ 75589 h 188973"/>
                <a:gd name="connsiteX9" fmla="*/ 49133 w 62991"/>
                <a:gd name="connsiteY9" fmla="*/ 91967 h 188973"/>
                <a:gd name="connsiteX10" fmla="*/ 46613 w 62991"/>
                <a:gd name="connsiteY10" fmla="*/ 104565 h 188973"/>
                <a:gd name="connsiteX11" fmla="*/ 45353 w 62991"/>
                <a:gd name="connsiteY11" fmla="*/ 112124 h 188973"/>
                <a:gd name="connsiteX12" fmla="*/ 44094 w 62991"/>
                <a:gd name="connsiteY12" fmla="*/ 117163 h 188973"/>
                <a:gd name="connsiteX13" fmla="*/ 40314 w 62991"/>
                <a:gd name="connsiteY13" fmla="*/ 128502 h 188973"/>
                <a:gd name="connsiteX14" fmla="*/ 35275 w 62991"/>
                <a:gd name="connsiteY14" fmla="*/ 138581 h 188973"/>
                <a:gd name="connsiteX15" fmla="*/ 26456 w 62991"/>
                <a:gd name="connsiteY15" fmla="*/ 153698 h 188973"/>
                <a:gd name="connsiteX16" fmla="*/ 20157 w 62991"/>
                <a:gd name="connsiteY16" fmla="*/ 161257 h 188973"/>
                <a:gd name="connsiteX17" fmla="*/ 15118 w 62991"/>
                <a:gd name="connsiteY17" fmla="*/ 167556 h 188973"/>
                <a:gd name="connsiteX18" fmla="*/ 12598 w 62991"/>
                <a:gd name="connsiteY18" fmla="*/ 171336 h 188973"/>
                <a:gd name="connsiteX19" fmla="*/ 8819 w 62991"/>
                <a:gd name="connsiteY19" fmla="*/ 175115 h 188973"/>
                <a:gd name="connsiteX20" fmla="*/ 3779 w 62991"/>
                <a:gd name="connsiteY20" fmla="*/ 177635 h 188973"/>
                <a:gd name="connsiteX21" fmla="*/ 0 w 62991"/>
                <a:gd name="connsiteY21" fmla="*/ 181414 h 188973"/>
                <a:gd name="connsiteX22" fmla="*/ 0 w 62991"/>
                <a:gd name="connsiteY22" fmla="*/ 186454 h 188973"/>
                <a:gd name="connsiteX23" fmla="*/ 5039 w 62991"/>
                <a:gd name="connsiteY23" fmla="*/ 190233 h 188973"/>
                <a:gd name="connsiteX24" fmla="*/ 11338 w 62991"/>
                <a:gd name="connsiteY24" fmla="*/ 190233 h 188973"/>
                <a:gd name="connsiteX25" fmla="*/ 20157 w 62991"/>
                <a:gd name="connsiteY25" fmla="*/ 185194 h 188973"/>
                <a:gd name="connsiteX26" fmla="*/ 26456 w 62991"/>
                <a:gd name="connsiteY26" fmla="*/ 178895 h 188973"/>
                <a:gd name="connsiteX27" fmla="*/ 30236 w 62991"/>
                <a:gd name="connsiteY27" fmla="*/ 172596 h 188973"/>
                <a:gd name="connsiteX28" fmla="*/ 35275 w 62991"/>
                <a:gd name="connsiteY28" fmla="*/ 166297 h 188973"/>
                <a:gd name="connsiteX29" fmla="*/ 42834 w 62991"/>
                <a:gd name="connsiteY29" fmla="*/ 153698 h 188973"/>
                <a:gd name="connsiteX30" fmla="*/ 46613 w 62991"/>
                <a:gd name="connsiteY30" fmla="*/ 146139 h 188973"/>
                <a:gd name="connsiteX31" fmla="*/ 49133 w 62991"/>
                <a:gd name="connsiteY31" fmla="*/ 138581 h 188973"/>
                <a:gd name="connsiteX32" fmla="*/ 54172 w 62991"/>
                <a:gd name="connsiteY32" fmla="*/ 122203 h 188973"/>
                <a:gd name="connsiteX33" fmla="*/ 55432 w 62991"/>
                <a:gd name="connsiteY33" fmla="*/ 113384 h 188973"/>
                <a:gd name="connsiteX34" fmla="*/ 56692 w 62991"/>
                <a:gd name="connsiteY34" fmla="*/ 104565 h 188973"/>
                <a:gd name="connsiteX35" fmla="*/ 59211 w 62991"/>
                <a:gd name="connsiteY35" fmla="*/ 85668 h 188973"/>
                <a:gd name="connsiteX36" fmla="*/ 60471 w 62991"/>
                <a:gd name="connsiteY36" fmla="*/ 76849 h 188973"/>
                <a:gd name="connsiteX37" fmla="*/ 61731 w 62991"/>
                <a:gd name="connsiteY37" fmla="*/ 68030 h 188973"/>
                <a:gd name="connsiteX38" fmla="*/ 62991 w 62991"/>
                <a:gd name="connsiteY38" fmla="*/ 51653 h 188973"/>
                <a:gd name="connsiteX39" fmla="*/ 64251 w 62991"/>
                <a:gd name="connsiteY39" fmla="*/ 44094 h 188973"/>
                <a:gd name="connsiteX40" fmla="*/ 65511 w 62991"/>
                <a:gd name="connsiteY40" fmla="*/ 35275 h 188973"/>
                <a:gd name="connsiteX41" fmla="*/ 66770 w 62991"/>
                <a:gd name="connsiteY41" fmla="*/ 18897 h 188973"/>
                <a:gd name="connsiteX42" fmla="*/ 66770 w 62991"/>
                <a:gd name="connsiteY42" fmla="*/ 11338 h 188973"/>
                <a:gd name="connsiteX43" fmla="*/ 66770 w 62991"/>
                <a:gd name="connsiteY43" fmla="*/ 7559 h 188973"/>
                <a:gd name="connsiteX44" fmla="*/ 69290 w 62991"/>
                <a:gd name="connsiteY44" fmla="*/ 3779 h 188973"/>
                <a:gd name="connsiteX45" fmla="*/ 49133 w 62991"/>
                <a:gd name="connsiteY45" fmla="*/ 91967 h 188973"/>
                <a:gd name="connsiteX46" fmla="*/ 49133 w 62991"/>
                <a:gd name="connsiteY46" fmla="*/ 91967 h 188973"/>
                <a:gd name="connsiteX47" fmla="*/ 49133 w 62991"/>
                <a:gd name="connsiteY47" fmla="*/ 91967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91" h="188973">
                  <a:moveTo>
                    <a:pt x="69290" y="3779"/>
                  </a:moveTo>
                  <a:cubicBezTo>
                    <a:pt x="69290" y="1260"/>
                    <a:pt x="68030" y="0"/>
                    <a:pt x="65511" y="0"/>
                  </a:cubicBezTo>
                  <a:cubicBezTo>
                    <a:pt x="65511" y="0"/>
                    <a:pt x="65511" y="0"/>
                    <a:pt x="65511" y="0"/>
                  </a:cubicBezTo>
                  <a:cubicBezTo>
                    <a:pt x="64251" y="0"/>
                    <a:pt x="62991" y="1260"/>
                    <a:pt x="61731" y="2520"/>
                  </a:cubicBezTo>
                  <a:cubicBezTo>
                    <a:pt x="60471" y="6299"/>
                    <a:pt x="59211" y="10078"/>
                    <a:pt x="59211" y="13858"/>
                  </a:cubicBezTo>
                  <a:cubicBezTo>
                    <a:pt x="59211" y="17637"/>
                    <a:pt x="59211" y="21417"/>
                    <a:pt x="57952" y="25196"/>
                  </a:cubicBezTo>
                  <a:cubicBezTo>
                    <a:pt x="56692" y="30236"/>
                    <a:pt x="56692" y="36535"/>
                    <a:pt x="55432" y="41574"/>
                  </a:cubicBezTo>
                  <a:cubicBezTo>
                    <a:pt x="54172" y="46613"/>
                    <a:pt x="54172" y="52913"/>
                    <a:pt x="54172" y="57952"/>
                  </a:cubicBezTo>
                  <a:cubicBezTo>
                    <a:pt x="52912" y="64251"/>
                    <a:pt x="52912" y="69290"/>
                    <a:pt x="51652" y="75589"/>
                  </a:cubicBezTo>
                  <a:cubicBezTo>
                    <a:pt x="50393" y="80629"/>
                    <a:pt x="50393" y="85668"/>
                    <a:pt x="49133" y="91967"/>
                  </a:cubicBezTo>
                  <a:cubicBezTo>
                    <a:pt x="47873" y="95746"/>
                    <a:pt x="47873" y="99526"/>
                    <a:pt x="46613" y="104565"/>
                  </a:cubicBezTo>
                  <a:cubicBezTo>
                    <a:pt x="46613" y="107085"/>
                    <a:pt x="45353" y="109605"/>
                    <a:pt x="45353" y="112124"/>
                  </a:cubicBezTo>
                  <a:cubicBezTo>
                    <a:pt x="45353" y="113384"/>
                    <a:pt x="44094" y="115904"/>
                    <a:pt x="44094" y="117163"/>
                  </a:cubicBezTo>
                  <a:cubicBezTo>
                    <a:pt x="42834" y="120943"/>
                    <a:pt x="41574" y="124722"/>
                    <a:pt x="40314" y="128502"/>
                  </a:cubicBezTo>
                  <a:cubicBezTo>
                    <a:pt x="39054" y="132281"/>
                    <a:pt x="37795" y="134801"/>
                    <a:pt x="35275" y="138581"/>
                  </a:cubicBezTo>
                  <a:cubicBezTo>
                    <a:pt x="32755" y="143620"/>
                    <a:pt x="28976" y="148659"/>
                    <a:pt x="26456" y="153698"/>
                  </a:cubicBezTo>
                  <a:cubicBezTo>
                    <a:pt x="25196" y="156218"/>
                    <a:pt x="22677" y="158738"/>
                    <a:pt x="20157" y="161257"/>
                  </a:cubicBezTo>
                  <a:cubicBezTo>
                    <a:pt x="18897" y="163777"/>
                    <a:pt x="17637" y="165037"/>
                    <a:pt x="15118" y="167556"/>
                  </a:cubicBezTo>
                  <a:cubicBezTo>
                    <a:pt x="13858" y="168816"/>
                    <a:pt x="12598" y="170076"/>
                    <a:pt x="12598" y="171336"/>
                  </a:cubicBezTo>
                  <a:cubicBezTo>
                    <a:pt x="11338" y="172596"/>
                    <a:pt x="10078" y="173855"/>
                    <a:pt x="8819" y="175115"/>
                  </a:cubicBezTo>
                  <a:cubicBezTo>
                    <a:pt x="7559" y="176375"/>
                    <a:pt x="5039" y="177635"/>
                    <a:pt x="3779" y="177635"/>
                  </a:cubicBezTo>
                  <a:cubicBezTo>
                    <a:pt x="2519" y="178895"/>
                    <a:pt x="1260" y="180155"/>
                    <a:pt x="0" y="181414"/>
                  </a:cubicBezTo>
                  <a:cubicBezTo>
                    <a:pt x="0" y="182674"/>
                    <a:pt x="0" y="185194"/>
                    <a:pt x="0" y="186454"/>
                  </a:cubicBezTo>
                  <a:cubicBezTo>
                    <a:pt x="1260" y="187714"/>
                    <a:pt x="2519" y="188974"/>
                    <a:pt x="5039" y="190233"/>
                  </a:cubicBezTo>
                  <a:cubicBezTo>
                    <a:pt x="7559" y="190233"/>
                    <a:pt x="8819" y="190233"/>
                    <a:pt x="11338" y="190233"/>
                  </a:cubicBezTo>
                  <a:cubicBezTo>
                    <a:pt x="13858" y="188974"/>
                    <a:pt x="17637" y="187714"/>
                    <a:pt x="20157" y="185194"/>
                  </a:cubicBezTo>
                  <a:cubicBezTo>
                    <a:pt x="22677" y="182674"/>
                    <a:pt x="25196" y="181414"/>
                    <a:pt x="26456" y="178895"/>
                  </a:cubicBezTo>
                  <a:cubicBezTo>
                    <a:pt x="27716" y="176375"/>
                    <a:pt x="28976" y="175115"/>
                    <a:pt x="30236" y="172596"/>
                  </a:cubicBezTo>
                  <a:cubicBezTo>
                    <a:pt x="31496" y="170076"/>
                    <a:pt x="32755" y="168816"/>
                    <a:pt x="35275" y="166297"/>
                  </a:cubicBezTo>
                  <a:cubicBezTo>
                    <a:pt x="37795" y="162517"/>
                    <a:pt x="40314" y="157478"/>
                    <a:pt x="42834" y="153698"/>
                  </a:cubicBezTo>
                  <a:cubicBezTo>
                    <a:pt x="44094" y="151179"/>
                    <a:pt x="45353" y="148659"/>
                    <a:pt x="46613" y="146139"/>
                  </a:cubicBezTo>
                  <a:cubicBezTo>
                    <a:pt x="47873" y="143620"/>
                    <a:pt x="49133" y="141100"/>
                    <a:pt x="49133" y="138581"/>
                  </a:cubicBezTo>
                  <a:cubicBezTo>
                    <a:pt x="51652" y="133541"/>
                    <a:pt x="52912" y="128502"/>
                    <a:pt x="54172" y="122203"/>
                  </a:cubicBezTo>
                  <a:cubicBezTo>
                    <a:pt x="54172" y="119683"/>
                    <a:pt x="55432" y="117163"/>
                    <a:pt x="55432" y="113384"/>
                  </a:cubicBezTo>
                  <a:cubicBezTo>
                    <a:pt x="55432" y="110864"/>
                    <a:pt x="56692" y="107085"/>
                    <a:pt x="56692" y="104565"/>
                  </a:cubicBezTo>
                  <a:cubicBezTo>
                    <a:pt x="57952" y="98266"/>
                    <a:pt x="59211" y="91967"/>
                    <a:pt x="59211" y="85668"/>
                  </a:cubicBezTo>
                  <a:cubicBezTo>
                    <a:pt x="59211" y="83148"/>
                    <a:pt x="60471" y="80629"/>
                    <a:pt x="60471" y="76849"/>
                  </a:cubicBezTo>
                  <a:cubicBezTo>
                    <a:pt x="60471" y="74330"/>
                    <a:pt x="61731" y="71810"/>
                    <a:pt x="61731" y="68030"/>
                  </a:cubicBezTo>
                  <a:cubicBezTo>
                    <a:pt x="61731" y="62991"/>
                    <a:pt x="62991" y="56692"/>
                    <a:pt x="62991" y="51653"/>
                  </a:cubicBezTo>
                  <a:cubicBezTo>
                    <a:pt x="62991" y="49133"/>
                    <a:pt x="62991" y="46613"/>
                    <a:pt x="64251" y="44094"/>
                  </a:cubicBezTo>
                  <a:cubicBezTo>
                    <a:pt x="64251" y="41574"/>
                    <a:pt x="65511" y="39054"/>
                    <a:pt x="65511" y="35275"/>
                  </a:cubicBezTo>
                  <a:cubicBezTo>
                    <a:pt x="65511" y="30236"/>
                    <a:pt x="66770" y="25196"/>
                    <a:pt x="66770" y="18897"/>
                  </a:cubicBezTo>
                  <a:cubicBezTo>
                    <a:pt x="66770" y="16378"/>
                    <a:pt x="66770" y="13858"/>
                    <a:pt x="66770" y="11338"/>
                  </a:cubicBezTo>
                  <a:cubicBezTo>
                    <a:pt x="66770" y="10078"/>
                    <a:pt x="66770" y="8819"/>
                    <a:pt x="66770" y="7559"/>
                  </a:cubicBezTo>
                  <a:cubicBezTo>
                    <a:pt x="69290" y="6299"/>
                    <a:pt x="69290" y="5039"/>
                    <a:pt x="69290" y="3779"/>
                  </a:cubicBezTo>
                  <a:moveTo>
                    <a:pt x="49133" y="91967"/>
                  </a:moveTo>
                  <a:cubicBezTo>
                    <a:pt x="49133" y="91967"/>
                    <a:pt x="49133" y="91967"/>
                    <a:pt x="49133" y="91967"/>
                  </a:cubicBezTo>
                  <a:cubicBezTo>
                    <a:pt x="49133" y="91967"/>
                    <a:pt x="49133" y="91967"/>
                    <a:pt x="49133" y="91967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/>
            <p:cNvSpPr/>
            <p:nvPr/>
          </p:nvSpPr>
          <p:spPr>
            <a:xfrm>
              <a:off x="9897431" y="3472897"/>
              <a:ext cx="17160" cy="68643"/>
            </a:xfrm>
            <a:custGeom>
              <a:avLst/>
              <a:gdLst>
                <a:gd name="connsiteX0" fmla="*/ 25196 w 25196"/>
                <a:gd name="connsiteY0" fmla="*/ 945 h 100785"/>
                <a:gd name="connsiteX1" fmla="*/ 26456 w 25196"/>
                <a:gd name="connsiteY1" fmla="*/ 4724 h 100785"/>
                <a:gd name="connsiteX2" fmla="*/ 25196 w 25196"/>
                <a:gd name="connsiteY2" fmla="*/ 13543 h 100785"/>
                <a:gd name="connsiteX3" fmla="*/ 25196 w 25196"/>
                <a:gd name="connsiteY3" fmla="*/ 23622 h 100785"/>
                <a:gd name="connsiteX4" fmla="*/ 23937 w 25196"/>
                <a:gd name="connsiteY4" fmla="*/ 42519 h 100785"/>
                <a:gd name="connsiteX5" fmla="*/ 22677 w 25196"/>
                <a:gd name="connsiteY5" fmla="*/ 51338 h 100785"/>
                <a:gd name="connsiteX6" fmla="*/ 22677 w 25196"/>
                <a:gd name="connsiteY6" fmla="*/ 60157 h 100785"/>
                <a:gd name="connsiteX7" fmla="*/ 21417 w 25196"/>
                <a:gd name="connsiteY7" fmla="*/ 70235 h 100785"/>
                <a:gd name="connsiteX8" fmla="*/ 18897 w 25196"/>
                <a:gd name="connsiteY8" fmla="*/ 79054 h 100785"/>
                <a:gd name="connsiteX9" fmla="*/ 16378 w 25196"/>
                <a:gd name="connsiteY9" fmla="*/ 92912 h 100785"/>
                <a:gd name="connsiteX10" fmla="*/ 13858 w 25196"/>
                <a:gd name="connsiteY10" fmla="*/ 100471 h 100785"/>
                <a:gd name="connsiteX11" fmla="*/ 11338 w 25196"/>
                <a:gd name="connsiteY11" fmla="*/ 108030 h 100785"/>
                <a:gd name="connsiteX12" fmla="*/ 8819 w 25196"/>
                <a:gd name="connsiteY12" fmla="*/ 111809 h 100785"/>
                <a:gd name="connsiteX13" fmla="*/ 3780 w 25196"/>
                <a:gd name="connsiteY13" fmla="*/ 111809 h 100785"/>
                <a:gd name="connsiteX14" fmla="*/ 0 w 25196"/>
                <a:gd name="connsiteY14" fmla="*/ 109290 h 100785"/>
                <a:gd name="connsiteX15" fmla="*/ 0 w 25196"/>
                <a:gd name="connsiteY15" fmla="*/ 108030 h 100785"/>
                <a:gd name="connsiteX16" fmla="*/ 0 w 25196"/>
                <a:gd name="connsiteY16" fmla="*/ 105510 h 100785"/>
                <a:gd name="connsiteX17" fmla="*/ 0 w 25196"/>
                <a:gd name="connsiteY17" fmla="*/ 104250 h 100785"/>
                <a:gd name="connsiteX18" fmla="*/ 0 w 25196"/>
                <a:gd name="connsiteY18" fmla="*/ 104250 h 100785"/>
                <a:gd name="connsiteX19" fmla="*/ 3780 w 25196"/>
                <a:gd name="connsiteY19" fmla="*/ 85353 h 100785"/>
                <a:gd name="connsiteX20" fmla="*/ 6299 w 25196"/>
                <a:gd name="connsiteY20" fmla="*/ 75274 h 100785"/>
                <a:gd name="connsiteX21" fmla="*/ 8819 w 25196"/>
                <a:gd name="connsiteY21" fmla="*/ 66456 h 100785"/>
                <a:gd name="connsiteX22" fmla="*/ 10079 w 25196"/>
                <a:gd name="connsiteY22" fmla="*/ 55117 h 100785"/>
                <a:gd name="connsiteX23" fmla="*/ 12598 w 25196"/>
                <a:gd name="connsiteY23" fmla="*/ 39999 h 100785"/>
                <a:gd name="connsiteX24" fmla="*/ 15118 w 25196"/>
                <a:gd name="connsiteY24" fmla="*/ 23622 h 100785"/>
                <a:gd name="connsiteX25" fmla="*/ 16378 w 25196"/>
                <a:gd name="connsiteY25" fmla="*/ 14803 h 100785"/>
                <a:gd name="connsiteX26" fmla="*/ 17637 w 25196"/>
                <a:gd name="connsiteY26" fmla="*/ 5984 h 100785"/>
                <a:gd name="connsiteX27" fmla="*/ 18897 w 25196"/>
                <a:gd name="connsiteY27" fmla="*/ 2205 h 100785"/>
                <a:gd name="connsiteX28" fmla="*/ 22677 w 25196"/>
                <a:gd name="connsiteY28" fmla="*/ 945 h 100785"/>
                <a:gd name="connsiteX29" fmla="*/ 22677 w 25196"/>
                <a:gd name="connsiteY29" fmla="*/ 945 h 100785"/>
                <a:gd name="connsiteX30" fmla="*/ 25196 w 25196"/>
                <a:gd name="connsiteY30" fmla="*/ 94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196" h="100785">
                  <a:moveTo>
                    <a:pt x="25196" y="945"/>
                  </a:moveTo>
                  <a:cubicBezTo>
                    <a:pt x="26456" y="2205"/>
                    <a:pt x="26456" y="3465"/>
                    <a:pt x="26456" y="4724"/>
                  </a:cubicBezTo>
                  <a:cubicBezTo>
                    <a:pt x="26456" y="7244"/>
                    <a:pt x="25196" y="11024"/>
                    <a:pt x="25196" y="13543"/>
                  </a:cubicBezTo>
                  <a:cubicBezTo>
                    <a:pt x="25196" y="17323"/>
                    <a:pt x="25196" y="19842"/>
                    <a:pt x="25196" y="23622"/>
                  </a:cubicBezTo>
                  <a:cubicBezTo>
                    <a:pt x="25196" y="29921"/>
                    <a:pt x="23937" y="36220"/>
                    <a:pt x="23937" y="42519"/>
                  </a:cubicBezTo>
                  <a:cubicBezTo>
                    <a:pt x="23937" y="45039"/>
                    <a:pt x="23937" y="48818"/>
                    <a:pt x="22677" y="51338"/>
                  </a:cubicBezTo>
                  <a:cubicBezTo>
                    <a:pt x="22677" y="53857"/>
                    <a:pt x="22677" y="57637"/>
                    <a:pt x="22677" y="60157"/>
                  </a:cubicBezTo>
                  <a:cubicBezTo>
                    <a:pt x="22677" y="63936"/>
                    <a:pt x="21417" y="66456"/>
                    <a:pt x="21417" y="70235"/>
                  </a:cubicBezTo>
                  <a:cubicBezTo>
                    <a:pt x="21417" y="72755"/>
                    <a:pt x="20157" y="76534"/>
                    <a:pt x="18897" y="79054"/>
                  </a:cubicBezTo>
                  <a:cubicBezTo>
                    <a:pt x="17637" y="84093"/>
                    <a:pt x="17637" y="87873"/>
                    <a:pt x="16378" y="92912"/>
                  </a:cubicBezTo>
                  <a:cubicBezTo>
                    <a:pt x="16378" y="95432"/>
                    <a:pt x="15118" y="97951"/>
                    <a:pt x="13858" y="100471"/>
                  </a:cubicBezTo>
                  <a:cubicBezTo>
                    <a:pt x="12598" y="102991"/>
                    <a:pt x="11338" y="105510"/>
                    <a:pt x="11338" y="108030"/>
                  </a:cubicBezTo>
                  <a:cubicBezTo>
                    <a:pt x="10079" y="109290"/>
                    <a:pt x="10079" y="110550"/>
                    <a:pt x="8819" y="111809"/>
                  </a:cubicBezTo>
                  <a:cubicBezTo>
                    <a:pt x="7559" y="113069"/>
                    <a:pt x="6299" y="113069"/>
                    <a:pt x="3780" y="111809"/>
                  </a:cubicBezTo>
                  <a:cubicBezTo>
                    <a:pt x="2520" y="111809"/>
                    <a:pt x="1260" y="110550"/>
                    <a:pt x="0" y="109290"/>
                  </a:cubicBezTo>
                  <a:cubicBezTo>
                    <a:pt x="0" y="109290"/>
                    <a:pt x="0" y="108030"/>
                    <a:pt x="0" y="108030"/>
                  </a:cubicBezTo>
                  <a:cubicBezTo>
                    <a:pt x="0" y="106770"/>
                    <a:pt x="0" y="105510"/>
                    <a:pt x="0" y="105510"/>
                  </a:cubicBezTo>
                  <a:cubicBezTo>
                    <a:pt x="0" y="105510"/>
                    <a:pt x="0" y="104250"/>
                    <a:pt x="0" y="104250"/>
                  </a:cubicBezTo>
                  <a:cubicBezTo>
                    <a:pt x="0" y="104250"/>
                    <a:pt x="0" y="104250"/>
                    <a:pt x="0" y="104250"/>
                  </a:cubicBezTo>
                  <a:cubicBezTo>
                    <a:pt x="1260" y="97951"/>
                    <a:pt x="2520" y="91652"/>
                    <a:pt x="3780" y="85353"/>
                  </a:cubicBezTo>
                  <a:cubicBezTo>
                    <a:pt x="5039" y="81574"/>
                    <a:pt x="5039" y="79054"/>
                    <a:pt x="6299" y="75274"/>
                  </a:cubicBezTo>
                  <a:cubicBezTo>
                    <a:pt x="7559" y="72755"/>
                    <a:pt x="7559" y="68975"/>
                    <a:pt x="8819" y="66456"/>
                  </a:cubicBezTo>
                  <a:cubicBezTo>
                    <a:pt x="8819" y="62676"/>
                    <a:pt x="10079" y="58897"/>
                    <a:pt x="10079" y="55117"/>
                  </a:cubicBezTo>
                  <a:cubicBezTo>
                    <a:pt x="11338" y="50078"/>
                    <a:pt x="11338" y="45039"/>
                    <a:pt x="12598" y="39999"/>
                  </a:cubicBezTo>
                  <a:cubicBezTo>
                    <a:pt x="13858" y="34960"/>
                    <a:pt x="13858" y="28661"/>
                    <a:pt x="15118" y="23622"/>
                  </a:cubicBezTo>
                  <a:cubicBezTo>
                    <a:pt x="15118" y="21102"/>
                    <a:pt x="15118" y="17323"/>
                    <a:pt x="16378" y="14803"/>
                  </a:cubicBezTo>
                  <a:cubicBezTo>
                    <a:pt x="16378" y="12283"/>
                    <a:pt x="17637" y="8504"/>
                    <a:pt x="17637" y="5984"/>
                  </a:cubicBezTo>
                  <a:cubicBezTo>
                    <a:pt x="17637" y="4724"/>
                    <a:pt x="17637" y="3465"/>
                    <a:pt x="18897" y="2205"/>
                  </a:cubicBezTo>
                  <a:cubicBezTo>
                    <a:pt x="20157" y="945"/>
                    <a:pt x="21417" y="945"/>
                    <a:pt x="22677" y="945"/>
                  </a:cubicBezTo>
                  <a:cubicBezTo>
                    <a:pt x="22677" y="945"/>
                    <a:pt x="22677" y="945"/>
                    <a:pt x="22677" y="945"/>
                  </a:cubicBezTo>
                  <a:cubicBezTo>
                    <a:pt x="22677" y="-315"/>
                    <a:pt x="23937" y="-315"/>
                    <a:pt x="25196" y="945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/>
            <p:cNvSpPr/>
            <p:nvPr/>
          </p:nvSpPr>
          <p:spPr>
            <a:xfrm>
              <a:off x="9874265" y="3439219"/>
              <a:ext cx="42902" cy="145866"/>
            </a:xfrm>
            <a:custGeom>
              <a:avLst/>
              <a:gdLst>
                <a:gd name="connsiteX0" fmla="*/ 59211 w 62991"/>
                <a:gd name="connsiteY0" fmla="*/ 0 h 214169"/>
                <a:gd name="connsiteX1" fmla="*/ 59211 w 62991"/>
                <a:gd name="connsiteY1" fmla="*/ 0 h 214169"/>
                <a:gd name="connsiteX2" fmla="*/ 59211 w 62991"/>
                <a:gd name="connsiteY2" fmla="*/ 0 h 214169"/>
                <a:gd name="connsiteX3" fmla="*/ 59211 w 62991"/>
                <a:gd name="connsiteY3" fmla="*/ 0 h 214169"/>
                <a:gd name="connsiteX4" fmla="*/ 60471 w 62991"/>
                <a:gd name="connsiteY4" fmla="*/ 0 h 214169"/>
                <a:gd name="connsiteX5" fmla="*/ 65511 w 62991"/>
                <a:gd name="connsiteY5" fmla="*/ 1260 h 214169"/>
                <a:gd name="connsiteX6" fmla="*/ 68030 w 62991"/>
                <a:gd name="connsiteY6" fmla="*/ 2520 h 214169"/>
                <a:gd name="connsiteX7" fmla="*/ 68030 w 62991"/>
                <a:gd name="connsiteY7" fmla="*/ 6299 h 214169"/>
                <a:gd name="connsiteX8" fmla="*/ 66770 w 62991"/>
                <a:gd name="connsiteY8" fmla="*/ 13858 h 214169"/>
                <a:gd name="connsiteX9" fmla="*/ 66770 w 62991"/>
                <a:gd name="connsiteY9" fmla="*/ 17637 h 214169"/>
                <a:gd name="connsiteX10" fmla="*/ 66770 w 62991"/>
                <a:gd name="connsiteY10" fmla="*/ 22677 h 214169"/>
                <a:gd name="connsiteX11" fmla="*/ 66770 w 62991"/>
                <a:gd name="connsiteY11" fmla="*/ 23937 h 214169"/>
                <a:gd name="connsiteX12" fmla="*/ 66770 w 62991"/>
                <a:gd name="connsiteY12" fmla="*/ 23937 h 214169"/>
                <a:gd name="connsiteX13" fmla="*/ 66770 w 62991"/>
                <a:gd name="connsiteY13" fmla="*/ 23937 h 214169"/>
                <a:gd name="connsiteX14" fmla="*/ 66770 w 62991"/>
                <a:gd name="connsiteY14" fmla="*/ 23937 h 214169"/>
                <a:gd name="connsiteX15" fmla="*/ 66770 w 62991"/>
                <a:gd name="connsiteY15" fmla="*/ 23937 h 214169"/>
                <a:gd name="connsiteX16" fmla="*/ 66770 w 62991"/>
                <a:gd name="connsiteY16" fmla="*/ 23937 h 214169"/>
                <a:gd name="connsiteX17" fmla="*/ 66770 w 62991"/>
                <a:gd name="connsiteY17" fmla="*/ 23937 h 214169"/>
                <a:gd name="connsiteX18" fmla="*/ 66770 w 62991"/>
                <a:gd name="connsiteY18" fmla="*/ 23937 h 214169"/>
                <a:gd name="connsiteX19" fmla="*/ 66770 w 62991"/>
                <a:gd name="connsiteY19" fmla="*/ 23937 h 214169"/>
                <a:gd name="connsiteX20" fmla="*/ 66770 w 62991"/>
                <a:gd name="connsiteY20" fmla="*/ 25196 h 214169"/>
                <a:gd name="connsiteX21" fmla="*/ 66770 w 62991"/>
                <a:gd name="connsiteY21" fmla="*/ 26456 h 214169"/>
                <a:gd name="connsiteX22" fmla="*/ 66770 w 62991"/>
                <a:gd name="connsiteY22" fmla="*/ 28976 h 214169"/>
                <a:gd name="connsiteX23" fmla="*/ 66770 w 62991"/>
                <a:gd name="connsiteY23" fmla="*/ 39054 h 214169"/>
                <a:gd name="connsiteX24" fmla="*/ 66770 w 62991"/>
                <a:gd name="connsiteY24" fmla="*/ 45354 h 214169"/>
                <a:gd name="connsiteX25" fmla="*/ 65511 w 62991"/>
                <a:gd name="connsiteY25" fmla="*/ 57952 h 214169"/>
                <a:gd name="connsiteX26" fmla="*/ 65511 w 62991"/>
                <a:gd name="connsiteY26" fmla="*/ 62991 h 214169"/>
                <a:gd name="connsiteX27" fmla="*/ 62991 w 62991"/>
                <a:gd name="connsiteY27" fmla="*/ 84408 h 214169"/>
                <a:gd name="connsiteX28" fmla="*/ 62991 w 62991"/>
                <a:gd name="connsiteY28" fmla="*/ 84408 h 214169"/>
                <a:gd name="connsiteX29" fmla="*/ 61731 w 62991"/>
                <a:gd name="connsiteY29" fmla="*/ 99526 h 214169"/>
                <a:gd name="connsiteX30" fmla="*/ 60471 w 62991"/>
                <a:gd name="connsiteY30" fmla="*/ 112124 h 214169"/>
                <a:gd name="connsiteX31" fmla="*/ 60471 w 62991"/>
                <a:gd name="connsiteY31" fmla="*/ 112124 h 214169"/>
                <a:gd name="connsiteX32" fmla="*/ 60471 w 62991"/>
                <a:gd name="connsiteY32" fmla="*/ 117164 h 214169"/>
                <a:gd name="connsiteX33" fmla="*/ 56692 w 62991"/>
                <a:gd name="connsiteY33" fmla="*/ 137321 h 214169"/>
                <a:gd name="connsiteX34" fmla="*/ 56692 w 62991"/>
                <a:gd name="connsiteY34" fmla="*/ 138581 h 214169"/>
                <a:gd name="connsiteX35" fmla="*/ 56692 w 62991"/>
                <a:gd name="connsiteY35" fmla="*/ 139840 h 214169"/>
                <a:gd name="connsiteX36" fmla="*/ 56692 w 62991"/>
                <a:gd name="connsiteY36" fmla="*/ 139840 h 214169"/>
                <a:gd name="connsiteX37" fmla="*/ 56692 w 62991"/>
                <a:gd name="connsiteY37" fmla="*/ 139840 h 214169"/>
                <a:gd name="connsiteX38" fmla="*/ 56692 w 62991"/>
                <a:gd name="connsiteY38" fmla="*/ 139840 h 214169"/>
                <a:gd name="connsiteX39" fmla="*/ 56692 w 62991"/>
                <a:gd name="connsiteY39" fmla="*/ 139840 h 214169"/>
                <a:gd name="connsiteX40" fmla="*/ 56692 w 62991"/>
                <a:gd name="connsiteY40" fmla="*/ 139840 h 214169"/>
                <a:gd name="connsiteX41" fmla="*/ 55432 w 62991"/>
                <a:gd name="connsiteY41" fmla="*/ 144880 h 214169"/>
                <a:gd name="connsiteX42" fmla="*/ 52912 w 62991"/>
                <a:gd name="connsiteY42" fmla="*/ 153698 h 214169"/>
                <a:gd name="connsiteX43" fmla="*/ 46613 w 62991"/>
                <a:gd name="connsiteY43" fmla="*/ 171336 h 214169"/>
                <a:gd name="connsiteX44" fmla="*/ 39054 w 62991"/>
                <a:gd name="connsiteY44" fmla="*/ 188974 h 214169"/>
                <a:gd name="connsiteX45" fmla="*/ 30236 w 62991"/>
                <a:gd name="connsiteY45" fmla="*/ 202831 h 214169"/>
                <a:gd name="connsiteX46" fmla="*/ 22677 w 62991"/>
                <a:gd name="connsiteY46" fmla="*/ 211650 h 214169"/>
                <a:gd name="connsiteX47" fmla="*/ 17637 w 62991"/>
                <a:gd name="connsiteY47" fmla="*/ 215430 h 214169"/>
                <a:gd name="connsiteX48" fmla="*/ 12598 w 62991"/>
                <a:gd name="connsiteY48" fmla="*/ 219209 h 214169"/>
                <a:gd name="connsiteX49" fmla="*/ 7559 w 62991"/>
                <a:gd name="connsiteY49" fmla="*/ 221729 h 214169"/>
                <a:gd name="connsiteX50" fmla="*/ 2519 w 62991"/>
                <a:gd name="connsiteY50" fmla="*/ 219209 h 214169"/>
                <a:gd name="connsiteX51" fmla="*/ 0 w 62991"/>
                <a:gd name="connsiteY51" fmla="*/ 214170 h 214169"/>
                <a:gd name="connsiteX52" fmla="*/ 2519 w 62991"/>
                <a:gd name="connsiteY52" fmla="*/ 209131 h 214169"/>
                <a:gd name="connsiteX53" fmla="*/ 13858 w 62991"/>
                <a:gd name="connsiteY53" fmla="*/ 200312 h 214169"/>
                <a:gd name="connsiteX54" fmla="*/ 17637 w 62991"/>
                <a:gd name="connsiteY54" fmla="*/ 195273 h 214169"/>
                <a:gd name="connsiteX55" fmla="*/ 21417 w 62991"/>
                <a:gd name="connsiteY55" fmla="*/ 188974 h 214169"/>
                <a:gd name="connsiteX56" fmla="*/ 28976 w 62991"/>
                <a:gd name="connsiteY56" fmla="*/ 175115 h 214169"/>
                <a:gd name="connsiteX57" fmla="*/ 30236 w 62991"/>
                <a:gd name="connsiteY57" fmla="*/ 171336 h 214169"/>
                <a:gd name="connsiteX58" fmla="*/ 32755 w 62991"/>
                <a:gd name="connsiteY58" fmla="*/ 165037 h 214169"/>
                <a:gd name="connsiteX59" fmla="*/ 35275 w 62991"/>
                <a:gd name="connsiteY59" fmla="*/ 158738 h 214169"/>
                <a:gd name="connsiteX60" fmla="*/ 37795 w 62991"/>
                <a:gd name="connsiteY60" fmla="*/ 152439 h 214169"/>
                <a:gd name="connsiteX61" fmla="*/ 41574 w 62991"/>
                <a:gd name="connsiteY61" fmla="*/ 138581 h 214169"/>
                <a:gd name="connsiteX62" fmla="*/ 44094 w 62991"/>
                <a:gd name="connsiteY62" fmla="*/ 127242 h 214169"/>
                <a:gd name="connsiteX63" fmla="*/ 46613 w 62991"/>
                <a:gd name="connsiteY63" fmla="*/ 109605 h 214169"/>
                <a:gd name="connsiteX64" fmla="*/ 49133 w 62991"/>
                <a:gd name="connsiteY64" fmla="*/ 90707 h 214169"/>
                <a:gd name="connsiteX65" fmla="*/ 51652 w 62991"/>
                <a:gd name="connsiteY65" fmla="*/ 73070 h 214169"/>
                <a:gd name="connsiteX66" fmla="*/ 52912 w 62991"/>
                <a:gd name="connsiteY66" fmla="*/ 64251 h 214169"/>
                <a:gd name="connsiteX67" fmla="*/ 54172 w 62991"/>
                <a:gd name="connsiteY67" fmla="*/ 54172 h 214169"/>
                <a:gd name="connsiteX68" fmla="*/ 56692 w 62991"/>
                <a:gd name="connsiteY68" fmla="*/ 36535 h 214169"/>
                <a:gd name="connsiteX69" fmla="*/ 57952 w 62991"/>
                <a:gd name="connsiteY69" fmla="*/ 27716 h 214169"/>
                <a:gd name="connsiteX70" fmla="*/ 59211 w 62991"/>
                <a:gd name="connsiteY70" fmla="*/ 20157 h 214169"/>
                <a:gd name="connsiteX71" fmla="*/ 60471 w 62991"/>
                <a:gd name="connsiteY71" fmla="*/ 16378 h 214169"/>
                <a:gd name="connsiteX72" fmla="*/ 61731 w 62991"/>
                <a:gd name="connsiteY72" fmla="*/ 7559 h 214169"/>
                <a:gd name="connsiteX73" fmla="*/ 61731 w 62991"/>
                <a:gd name="connsiteY73" fmla="*/ 7559 h 214169"/>
                <a:gd name="connsiteX74" fmla="*/ 62991 w 62991"/>
                <a:gd name="connsiteY74" fmla="*/ 1260 h 214169"/>
                <a:gd name="connsiteX75" fmla="*/ 59211 w 62991"/>
                <a:gd name="connsiteY75" fmla="*/ 0 h 214169"/>
                <a:gd name="connsiteX76" fmla="*/ 59211 w 62991"/>
                <a:gd name="connsiteY76" fmla="*/ 0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2991" h="214169">
                  <a:moveTo>
                    <a:pt x="59211" y="0"/>
                  </a:moveTo>
                  <a:lnTo>
                    <a:pt x="59211" y="0"/>
                  </a:lnTo>
                  <a:cubicBezTo>
                    <a:pt x="59211" y="0"/>
                    <a:pt x="59211" y="0"/>
                    <a:pt x="59211" y="0"/>
                  </a:cubicBezTo>
                  <a:lnTo>
                    <a:pt x="59211" y="0"/>
                  </a:lnTo>
                  <a:lnTo>
                    <a:pt x="60471" y="0"/>
                  </a:lnTo>
                  <a:cubicBezTo>
                    <a:pt x="61731" y="0"/>
                    <a:pt x="62991" y="1260"/>
                    <a:pt x="65511" y="1260"/>
                  </a:cubicBezTo>
                  <a:cubicBezTo>
                    <a:pt x="66770" y="1260"/>
                    <a:pt x="68030" y="1260"/>
                    <a:pt x="68030" y="2520"/>
                  </a:cubicBezTo>
                  <a:cubicBezTo>
                    <a:pt x="68030" y="3780"/>
                    <a:pt x="68030" y="5039"/>
                    <a:pt x="68030" y="6299"/>
                  </a:cubicBezTo>
                  <a:cubicBezTo>
                    <a:pt x="68030" y="8819"/>
                    <a:pt x="66770" y="11338"/>
                    <a:pt x="66770" y="13858"/>
                  </a:cubicBezTo>
                  <a:cubicBezTo>
                    <a:pt x="66770" y="15118"/>
                    <a:pt x="66770" y="16378"/>
                    <a:pt x="66770" y="17637"/>
                  </a:cubicBezTo>
                  <a:cubicBezTo>
                    <a:pt x="66770" y="18897"/>
                    <a:pt x="66770" y="20157"/>
                    <a:pt x="66770" y="22677"/>
                  </a:cubicBezTo>
                  <a:cubicBezTo>
                    <a:pt x="66770" y="22677"/>
                    <a:pt x="66770" y="23937"/>
                    <a:pt x="66770" y="23937"/>
                  </a:cubicBezTo>
                  <a:cubicBezTo>
                    <a:pt x="66770" y="23937"/>
                    <a:pt x="66770" y="23937"/>
                    <a:pt x="66770" y="23937"/>
                  </a:cubicBez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cubicBezTo>
                    <a:pt x="66770" y="23937"/>
                    <a:pt x="66770" y="25196"/>
                    <a:pt x="66770" y="25196"/>
                  </a:cubicBezTo>
                  <a:cubicBezTo>
                    <a:pt x="66770" y="25196"/>
                    <a:pt x="66770" y="26456"/>
                    <a:pt x="66770" y="26456"/>
                  </a:cubicBezTo>
                  <a:cubicBezTo>
                    <a:pt x="66770" y="27716"/>
                    <a:pt x="66770" y="27716"/>
                    <a:pt x="66770" y="28976"/>
                  </a:cubicBezTo>
                  <a:cubicBezTo>
                    <a:pt x="66770" y="32755"/>
                    <a:pt x="66770" y="35275"/>
                    <a:pt x="66770" y="39054"/>
                  </a:cubicBezTo>
                  <a:cubicBezTo>
                    <a:pt x="66770" y="41574"/>
                    <a:pt x="66770" y="44094"/>
                    <a:pt x="66770" y="45354"/>
                  </a:cubicBezTo>
                  <a:cubicBezTo>
                    <a:pt x="66770" y="49133"/>
                    <a:pt x="66770" y="54172"/>
                    <a:pt x="65511" y="57952"/>
                  </a:cubicBezTo>
                  <a:cubicBezTo>
                    <a:pt x="65511" y="59212"/>
                    <a:pt x="65511" y="61731"/>
                    <a:pt x="65511" y="62991"/>
                  </a:cubicBezTo>
                  <a:cubicBezTo>
                    <a:pt x="65511" y="70550"/>
                    <a:pt x="64251" y="76849"/>
                    <a:pt x="62991" y="84408"/>
                  </a:cubicBezTo>
                  <a:lnTo>
                    <a:pt x="62991" y="84408"/>
                  </a:lnTo>
                  <a:cubicBezTo>
                    <a:pt x="62991" y="89447"/>
                    <a:pt x="61731" y="94487"/>
                    <a:pt x="61731" y="99526"/>
                  </a:cubicBezTo>
                  <a:cubicBezTo>
                    <a:pt x="61731" y="103305"/>
                    <a:pt x="60471" y="108345"/>
                    <a:pt x="60471" y="112124"/>
                  </a:cubicBezTo>
                  <a:lnTo>
                    <a:pt x="60471" y="112124"/>
                  </a:lnTo>
                  <a:cubicBezTo>
                    <a:pt x="60471" y="113384"/>
                    <a:pt x="60471" y="114644"/>
                    <a:pt x="60471" y="117164"/>
                  </a:cubicBezTo>
                  <a:cubicBezTo>
                    <a:pt x="59211" y="124722"/>
                    <a:pt x="57952" y="131022"/>
                    <a:pt x="56692" y="137321"/>
                  </a:cubicBezTo>
                  <a:cubicBezTo>
                    <a:pt x="56692" y="137321"/>
                    <a:pt x="56692" y="138581"/>
                    <a:pt x="56692" y="138581"/>
                  </a:cubicBezTo>
                  <a:cubicBezTo>
                    <a:pt x="56692" y="138581"/>
                    <a:pt x="56692" y="139840"/>
                    <a:pt x="56692" y="139840"/>
                  </a:cubicBezTo>
                  <a:cubicBezTo>
                    <a:pt x="56692" y="139840"/>
                    <a:pt x="56692" y="139840"/>
                    <a:pt x="56692" y="139840"/>
                  </a:cubicBez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cubicBezTo>
                    <a:pt x="56692" y="141100"/>
                    <a:pt x="55432" y="143620"/>
                    <a:pt x="55432" y="144880"/>
                  </a:cubicBezTo>
                  <a:cubicBezTo>
                    <a:pt x="54172" y="147399"/>
                    <a:pt x="54172" y="151179"/>
                    <a:pt x="52912" y="153698"/>
                  </a:cubicBezTo>
                  <a:cubicBezTo>
                    <a:pt x="51652" y="159998"/>
                    <a:pt x="49133" y="165037"/>
                    <a:pt x="46613" y="171336"/>
                  </a:cubicBezTo>
                  <a:cubicBezTo>
                    <a:pt x="44094" y="177635"/>
                    <a:pt x="41574" y="183934"/>
                    <a:pt x="39054" y="188974"/>
                  </a:cubicBezTo>
                  <a:cubicBezTo>
                    <a:pt x="36535" y="194013"/>
                    <a:pt x="34015" y="199052"/>
                    <a:pt x="30236" y="202831"/>
                  </a:cubicBezTo>
                  <a:cubicBezTo>
                    <a:pt x="27716" y="205351"/>
                    <a:pt x="25196" y="209131"/>
                    <a:pt x="22677" y="211650"/>
                  </a:cubicBezTo>
                  <a:cubicBezTo>
                    <a:pt x="21417" y="212910"/>
                    <a:pt x="20157" y="214170"/>
                    <a:pt x="17637" y="215430"/>
                  </a:cubicBezTo>
                  <a:cubicBezTo>
                    <a:pt x="16378" y="216690"/>
                    <a:pt x="13858" y="217949"/>
                    <a:pt x="12598" y="219209"/>
                  </a:cubicBezTo>
                  <a:cubicBezTo>
                    <a:pt x="11338" y="220469"/>
                    <a:pt x="8819" y="221729"/>
                    <a:pt x="7559" y="221729"/>
                  </a:cubicBezTo>
                  <a:cubicBezTo>
                    <a:pt x="5039" y="221729"/>
                    <a:pt x="3779" y="220469"/>
                    <a:pt x="2519" y="219209"/>
                  </a:cubicBezTo>
                  <a:cubicBezTo>
                    <a:pt x="1260" y="217949"/>
                    <a:pt x="0" y="215430"/>
                    <a:pt x="0" y="214170"/>
                  </a:cubicBezTo>
                  <a:cubicBezTo>
                    <a:pt x="0" y="212910"/>
                    <a:pt x="1260" y="210390"/>
                    <a:pt x="2519" y="209131"/>
                  </a:cubicBezTo>
                  <a:cubicBezTo>
                    <a:pt x="6299" y="206611"/>
                    <a:pt x="10078" y="202831"/>
                    <a:pt x="13858" y="200312"/>
                  </a:cubicBezTo>
                  <a:cubicBezTo>
                    <a:pt x="15118" y="199052"/>
                    <a:pt x="16378" y="196532"/>
                    <a:pt x="17637" y="195273"/>
                  </a:cubicBezTo>
                  <a:cubicBezTo>
                    <a:pt x="18897" y="192753"/>
                    <a:pt x="20157" y="190233"/>
                    <a:pt x="21417" y="188974"/>
                  </a:cubicBezTo>
                  <a:cubicBezTo>
                    <a:pt x="23937" y="183934"/>
                    <a:pt x="26456" y="178895"/>
                    <a:pt x="28976" y="175115"/>
                  </a:cubicBezTo>
                  <a:cubicBezTo>
                    <a:pt x="28976" y="173856"/>
                    <a:pt x="30236" y="172596"/>
                    <a:pt x="30236" y="171336"/>
                  </a:cubicBezTo>
                  <a:cubicBezTo>
                    <a:pt x="31496" y="168816"/>
                    <a:pt x="31496" y="167557"/>
                    <a:pt x="32755" y="165037"/>
                  </a:cubicBezTo>
                  <a:cubicBezTo>
                    <a:pt x="34015" y="162517"/>
                    <a:pt x="34015" y="161257"/>
                    <a:pt x="35275" y="158738"/>
                  </a:cubicBezTo>
                  <a:cubicBezTo>
                    <a:pt x="36535" y="156218"/>
                    <a:pt x="36535" y="154958"/>
                    <a:pt x="37795" y="152439"/>
                  </a:cubicBezTo>
                  <a:cubicBezTo>
                    <a:pt x="39054" y="147399"/>
                    <a:pt x="40314" y="143620"/>
                    <a:pt x="41574" y="138581"/>
                  </a:cubicBezTo>
                  <a:cubicBezTo>
                    <a:pt x="42834" y="134801"/>
                    <a:pt x="42834" y="131022"/>
                    <a:pt x="44094" y="127242"/>
                  </a:cubicBezTo>
                  <a:cubicBezTo>
                    <a:pt x="45353" y="122203"/>
                    <a:pt x="45353" y="115904"/>
                    <a:pt x="46613" y="109605"/>
                  </a:cubicBezTo>
                  <a:cubicBezTo>
                    <a:pt x="47873" y="103305"/>
                    <a:pt x="47873" y="97006"/>
                    <a:pt x="49133" y="90707"/>
                  </a:cubicBezTo>
                  <a:cubicBezTo>
                    <a:pt x="50393" y="84408"/>
                    <a:pt x="50393" y="78109"/>
                    <a:pt x="51652" y="73070"/>
                  </a:cubicBezTo>
                  <a:cubicBezTo>
                    <a:pt x="51652" y="70550"/>
                    <a:pt x="52912" y="66771"/>
                    <a:pt x="52912" y="64251"/>
                  </a:cubicBezTo>
                  <a:cubicBezTo>
                    <a:pt x="52912" y="60472"/>
                    <a:pt x="54172" y="57952"/>
                    <a:pt x="54172" y="54172"/>
                  </a:cubicBezTo>
                  <a:cubicBezTo>
                    <a:pt x="55432" y="47873"/>
                    <a:pt x="55432" y="42834"/>
                    <a:pt x="56692" y="36535"/>
                  </a:cubicBezTo>
                  <a:cubicBezTo>
                    <a:pt x="56692" y="34015"/>
                    <a:pt x="57952" y="30236"/>
                    <a:pt x="57952" y="27716"/>
                  </a:cubicBezTo>
                  <a:cubicBezTo>
                    <a:pt x="57952" y="25196"/>
                    <a:pt x="59211" y="22677"/>
                    <a:pt x="59211" y="20157"/>
                  </a:cubicBezTo>
                  <a:cubicBezTo>
                    <a:pt x="59211" y="18897"/>
                    <a:pt x="59211" y="17637"/>
                    <a:pt x="60471" y="16378"/>
                  </a:cubicBezTo>
                  <a:cubicBezTo>
                    <a:pt x="60471" y="13858"/>
                    <a:pt x="61731" y="10079"/>
                    <a:pt x="61731" y="7559"/>
                  </a:cubicBezTo>
                  <a:cubicBezTo>
                    <a:pt x="61731" y="7559"/>
                    <a:pt x="61731" y="7559"/>
                    <a:pt x="61731" y="7559"/>
                  </a:cubicBezTo>
                  <a:cubicBezTo>
                    <a:pt x="61731" y="5039"/>
                    <a:pt x="62991" y="3780"/>
                    <a:pt x="62991" y="1260"/>
                  </a:cubicBezTo>
                  <a:cubicBezTo>
                    <a:pt x="57952" y="2520"/>
                    <a:pt x="59211" y="1260"/>
                    <a:pt x="59211" y="0"/>
                  </a:cubicBezTo>
                  <a:lnTo>
                    <a:pt x="59211" y="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/>
            <p:cNvSpPr/>
            <p:nvPr/>
          </p:nvSpPr>
          <p:spPr>
            <a:xfrm>
              <a:off x="9883703" y="3507004"/>
              <a:ext cx="17160" cy="42902"/>
            </a:xfrm>
            <a:custGeom>
              <a:avLst/>
              <a:gdLst>
                <a:gd name="connsiteX0" fmla="*/ 30236 w 25196"/>
                <a:gd name="connsiteY0" fmla="*/ 1260 h 62991"/>
                <a:gd name="connsiteX1" fmla="*/ 27716 w 25196"/>
                <a:gd name="connsiteY1" fmla="*/ 0 h 62991"/>
                <a:gd name="connsiteX2" fmla="*/ 25196 w 25196"/>
                <a:gd name="connsiteY2" fmla="*/ 0 h 62991"/>
                <a:gd name="connsiteX3" fmla="*/ 22677 w 25196"/>
                <a:gd name="connsiteY3" fmla="*/ 5039 h 62991"/>
                <a:gd name="connsiteX4" fmla="*/ 22677 w 25196"/>
                <a:gd name="connsiteY4" fmla="*/ 7559 h 62991"/>
                <a:gd name="connsiteX5" fmla="*/ 22677 w 25196"/>
                <a:gd name="connsiteY5" fmla="*/ 13858 h 62991"/>
                <a:gd name="connsiteX6" fmla="*/ 22677 w 25196"/>
                <a:gd name="connsiteY6" fmla="*/ 13858 h 62991"/>
                <a:gd name="connsiteX7" fmla="*/ 21417 w 25196"/>
                <a:gd name="connsiteY7" fmla="*/ 18897 h 62991"/>
                <a:gd name="connsiteX8" fmla="*/ 21417 w 25196"/>
                <a:gd name="connsiteY8" fmla="*/ 20157 h 62991"/>
                <a:gd name="connsiteX9" fmla="*/ 15118 w 25196"/>
                <a:gd name="connsiteY9" fmla="*/ 23937 h 62991"/>
                <a:gd name="connsiteX10" fmla="*/ 13858 w 25196"/>
                <a:gd name="connsiteY10" fmla="*/ 25196 h 62991"/>
                <a:gd name="connsiteX11" fmla="*/ 10079 w 25196"/>
                <a:gd name="connsiteY11" fmla="*/ 27716 h 62991"/>
                <a:gd name="connsiteX12" fmla="*/ 7559 w 25196"/>
                <a:gd name="connsiteY12" fmla="*/ 31496 h 62991"/>
                <a:gd name="connsiteX13" fmla="*/ 3780 w 25196"/>
                <a:gd name="connsiteY13" fmla="*/ 42834 h 62991"/>
                <a:gd name="connsiteX14" fmla="*/ 1260 w 25196"/>
                <a:gd name="connsiteY14" fmla="*/ 50393 h 62991"/>
                <a:gd name="connsiteX15" fmla="*/ 0 w 25196"/>
                <a:gd name="connsiteY15" fmla="*/ 52913 h 62991"/>
                <a:gd name="connsiteX16" fmla="*/ 0 w 25196"/>
                <a:gd name="connsiteY16" fmla="*/ 57952 h 62991"/>
                <a:gd name="connsiteX17" fmla="*/ 2520 w 25196"/>
                <a:gd name="connsiteY17" fmla="*/ 61731 h 62991"/>
                <a:gd name="connsiteX18" fmla="*/ 2520 w 25196"/>
                <a:gd name="connsiteY18" fmla="*/ 61731 h 62991"/>
                <a:gd name="connsiteX19" fmla="*/ 6299 w 25196"/>
                <a:gd name="connsiteY19" fmla="*/ 64251 h 62991"/>
                <a:gd name="connsiteX20" fmla="*/ 7559 w 25196"/>
                <a:gd name="connsiteY20" fmla="*/ 64251 h 62991"/>
                <a:gd name="connsiteX21" fmla="*/ 11339 w 25196"/>
                <a:gd name="connsiteY21" fmla="*/ 66771 h 62991"/>
                <a:gd name="connsiteX22" fmla="*/ 16378 w 25196"/>
                <a:gd name="connsiteY22" fmla="*/ 66771 h 62991"/>
                <a:gd name="connsiteX23" fmla="*/ 18897 w 25196"/>
                <a:gd name="connsiteY23" fmla="*/ 65511 h 62991"/>
                <a:gd name="connsiteX24" fmla="*/ 22677 w 25196"/>
                <a:gd name="connsiteY24" fmla="*/ 61731 h 62991"/>
                <a:gd name="connsiteX25" fmla="*/ 23937 w 25196"/>
                <a:gd name="connsiteY25" fmla="*/ 59212 h 62991"/>
                <a:gd name="connsiteX26" fmla="*/ 23937 w 25196"/>
                <a:gd name="connsiteY26" fmla="*/ 57952 h 62991"/>
                <a:gd name="connsiteX27" fmla="*/ 25196 w 25196"/>
                <a:gd name="connsiteY27" fmla="*/ 54172 h 62991"/>
                <a:gd name="connsiteX28" fmla="*/ 26456 w 25196"/>
                <a:gd name="connsiteY28" fmla="*/ 45354 h 62991"/>
                <a:gd name="connsiteX29" fmla="*/ 27716 w 25196"/>
                <a:gd name="connsiteY29" fmla="*/ 36535 h 62991"/>
                <a:gd name="connsiteX30" fmla="*/ 28976 w 25196"/>
                <a:gd name="connsiteY30" fmla="*/ 26456 h 62991"/>
                <a:gd name="connsiteX31" fmla="*/ 28976 w 25196"/>
                <a:gd name="connsiteY31" fmla="*/ 23937 h 62991"/>
                <a:gd name="connsiteX32" fmla="*/ 28976 w 25196"/>
                <a:gd name="connsiteY32" fmla="*/ 21417 h 62991"/>
                <a:gd name="connsiteX33" fmla="*/ 30236 w 25196"/>
                <a:gd name="connsiteY33" fmla="*/ 10079 h 62991"/>
                <a:gd name="connsiteX34" fmla="*/ 30236 w 25196"/>
                <a:gd name="connsiteY34" fmla="*/ 5039 h 62991"/>
                <a:gd name="connsiteX35" fmla="*/ 30236 w 25196"/>
                <a:gd name="connsiteY35" fmla="*/ 2520 h 62991"/>
                <a:gd name="connsiteX36" fmla="*/ 30236 w 25196"/>
                <a:gd name="connsiteY36" fmla="*/ 0 h 62991"/>
                <a:gd name="connsiteX37" fmla="*/ 30236 w 25196"/>
                <a:gd name="connsiteY37" fmla="*/ 1260 h 62991"/>
                <a:gd name="connsiteX38" fmla="*/ 22677 w 25196"/>
                <a:gd name="connsiteY38" fmla="*/ 3780 h 62991"/>
                <a:gd name="connsiteX39" fmla="*/ 22677 w 25196"/>
                <a:gd name="connsiteY39" fmla="*/ 3780 h 62991"/>
                <a:gd name="connsiteX40" fmla="*/ 22677 w 25196"/>
                <a:gd name="connsiteY40" fmla="*/ 378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5196" h="62991">
                  <a:moveTo>
                    <a:pt x="30236" y="1260"/>
                  </a:moveTo>
                  <a:cubicBezTo>
                    <a:pt x="30236" y="0"/>
                    <a:pt x="28976" y="0"/>
                    <a:pt x="27716" y="0"/>
                  </a:cubicBezTo>
                  <a:cubicBezTo>
                    <a:pt x="26456" y="0"/>
                    <a:pt x="26456" y="0"/>
                    <a:pt x="25196" y="0"/>
                  </a:cubicBezTo>
                  <a:cubicBezTo>
                    <a:pt x="22677" y="1260"/>
                    <a:pt x="22677" y="3780"/>
                    <a:pt x="22677" y="5039"/>
                  </a:cubicBezTo>
                  <a:cubicBezTo>
                    <a:pt x="22677" y="6299"/>
                    <a:pt x="22677" y="6299"/>
                    <a:pt x="22677" y="7559"/>
                  </a:cubicBezTo>
                  <a:cubicBezTo>
                    <a:pt x="22677" y="10079"/>
                    <a:pt x="22677" y="11339"/>
                    <a:pt x="22677" y="13858"/>
                  </a:cubicBezTo>
                  <a:cubicBezTo>
                    <a:pt x="22677" y="13858"/>
                    <a:pt x="22677" y="13858"/>
                    <a:pt x="22677" y="13858"/>
                  </a:cubicBezTo>
                  <a:cubicBezTo>
                    <a:pt x="22677" y="15118"/>
                    <a:pt x="22677" y="17638"/>
                    <a:pt x="21417" y="18897"/>
                  </a:cubicBezTo>
                  <a:cubicBezTo>
                    <a:pt x="21417" y="18897"/>
                    <a:pt x="21417" y="20157"/>
                    <a:pt x="21417" y="20157"/>
                  </a:cubicBezTo>
                  <a:cubicBezTo>
                    <a:pt x="18897" y="20157"/>
                    <a:pt x="16378" y="21417"/>
                    <a:pt x="15118" y="23937"/>
                  </a:cubicBezTo>
                  <a:cubicBezTo>
                    <a:pt x="15118" y="23937"/>
                    <a:pt x="15118" y="25196"/>
                    <a:pt x="13858" y="25196"/>
                  </a:cubicBezTo>
                  <a:cubicBezTo>
                    <a:pt x="12598" y="25196"/>
                    <a:pt x="11339" y="26456"/>
                    <a:pt x="10079" y="27716"/>
                  </a:cubicBezTo>
                  <a:cubicBezTo>
                    <a:pt x="8819" y="28976"/>
                    <a:pt x="7559" y="30236"/>
                    <a:pt x="7559" y="31496"/>
                  </a:cubicBezTo>
                  <a:cubicBezTo>
                    <a:pt x="6299" y="35275"/>
                    <a:pt x="5040" y="39055"/>
                    <a:pt x="3780" y="42834"/>
                  </a:cubicBezTo>
                  <a:cubicBezTo>
                    <a:pt x="2520" y="45354"/>
                    <a:pt x="1260" y="47873"/>
                    <a:pt x="1260" y="50393"/>
                  </a:cubicBezTo>
                  <a:cubicBezTo>
                    <a:pt x="0" y="51653"/>
                    <a:pt x="0" y="51653"/>
                    <a:pt x="0" y="52913"/>
                  </a:cubicBezTo>
                  <a:cubicBezTo>
                    <a:pt x="0" y="54172"/>
                    <a:pt x="0" y="56692"/>
                    <a:pt x="0" y="57952"/>
                  </a:cubicBezTo>
                  <a:cubicBezTo>
                    <a:pt x="0" y="59212"/>
                    <a:pt x="1260" y="60472"/>
                    <a:pt x="2520" y="61731"/>
                  </a:cubicBezTo>
                  <a:cubicBezTo>
                    <a:pt x="2520" y="61731"/>
                    <a:pt x="2520" y="61731"/>
                    <a:pt x="2520" y="61731"/>
                  </a:cubicBezTo>
                  <a:cubicBezTo>
                    <a:pt x="3780" y="62991"/>
                    <a:pt x="5040" y="64251"/>
                    <a:pt x="6299" y="64251"/>
                  </a:cubicBezTo>
                  <a:cubicBezTo>
                    <a:pt x="6299" y="64251"/>
                    <a:pt x="7559" y="64251"/>
                    <a:pt x="7559" y="64251"/>
                  </a:cubicBezTo>
                  <a:cubicBezTo>
                    <a:pt x="8819" y="65511"/>
                    <a:pt x="10079" y="66771"/>
                    <a:pt x="11339" y="66771"/>
                  </a:cubicBezTo>
                  <a:cubicBezTo>
                    <a:pt x="12598" y="66771"/>
                    <a:pt x="15118" y="66771"/>
                    <a:pt x="16378" y="66771"/>
                  </a:cubicBezTo>
                  <a:lnTo>
                    <a:pt x="18897" y="65511"/>
                  </a:lnTo>
                  <a:cubicBezTo>
                    <a:pt x="20157" y="64251"/>
                    <a:pt x="21417" y="64251"/>
                    <a:pt x="22677" y="61731"/>
                  </a:cubicBezTo>
                  <a:cubicBezTo>
                    <a:pt x="22677" y="60472"/>
                    <a:pt x="23937" y="60472"/>
                    <a:pt x="23937" y="59212"/>
                  </a:cubicBezTo>
                  <a:cubicBezTo>
                    <a:pt x="23937" y="59212"/>
                    <a:pt x="23937" y="57952"/>
                    <a:pt x="23937" y="57952"/>
                  </a:cubicBezTo>
                  <a:cubicBezTo>
                    <a:pt x="23937" y="56692"/>
                    <a:pt x="23937" y="55432"/>
                    <a:pt x="25196" y="54172"/>
                  </a:cubicBezTo>
                  <a:cubicBezTo>
                    <a:pt x="26456" y="51653"/>
                    <a:pt x="26456" y="49133"/>
                    <a:pt x="26456" y="45354"/>
                  </a:cubicBezTo>
                  <a:cubicBezTo>
                    <a:pt x="26456" y="42834"/>
                    <a:pt x="27716" y="39055"/>
                    <a:pt x="27716" y="36535"/>
                  </a:cubicBezTo>
                  <a:cubicBezTo>
                    <a:pt x="27716" y="32755"/>
                    <a:pt x="28976" y="30236"/>
                    <a:pt x="28976" y="26456"/>
                  </a:cubicBezTo>
                  <a:cubicBezTo>
                    <a:pt x="28976" y="25196"/>
                    <a:pt x="28976" y="25196"/>
                    <a:pt x="28976" y="23937"/>
                  </a:cubicBezTo>
                  <a:cubicBezTo>
                    <a:pt x="28976" y="22677"/>
                    <a:pt x="28976" y="22677"/>
                    <a:pt x="28976" y="21417"/>
                  </a:cubicBezTo>
                  <a:cubicBezTo>
                    <a:pt x="28976" y="17638"/>
                    <a:pt x="30236" y="13858"/>
                    <a:pt x="30236" y="10079"/>
                  </a:cubicBezTo>
                  <a:cubicBezTo>
                    <a:pt x="30236" y="8819"/>
                    <a:pt x="30236" y="6299"/>
                    <a:pt x="30236" y="5039"/>
                  </a:cubicBezTo>
                  <a:cubicBezTo>
                    <a:pt x="30236" y="3780"/>
                    <a:pt x="30236" y="3780"/>
                    <a:pt x="30236" y="2520"/>
                  </a:cubicBezTo>
                  <a:cubicBezTo>
                    <a:pt x="30236" y="1260"/>
                    <a:pt x="30236" y="1260"/>
                    <a:pt x="30236" y="0"/>
                  </a:cubicBezTo>
                  <a:cubicBezTo>
                    <a:pt x="30236" y="2520"/>
                    <a:pt x="30236" y="1260"/>
                    <a:pt x="30236" y="1260"/>
                  </a:cubicBezTo>
                  <a:moveTo>
                    <a:pt x="22677" y="3780"/>
                  </a:moveTo>
                  <a:cubicBezTo>
                    <a:pt x="22677" y="3780"/>
                    <a:pt x="22677" y="3780"/>
                    <a:pt x="22677" y="3780"/>
                  </a:cubicBezTo>
                  <a:cubicBezTo>
                    <a:pt x="22677" y="3780"/>
                    <a:pt x="22677" y="3780"/>
                    <a:pt x="22677" y="378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/>
            <p:cNvSpPr/>
            <p:nvPr/>
          </p:nvSpPr>
          <p:spPr>
            <a:xfrm>
              <a:off x="9695793" y="3266754"/>
              <a:ext cx="274571" cy="265991"/>
            </a:xfrm>
            <a:custGeom>
              <a:avLst/>
              <a:gdLst>
                <a:gd name="connsiteX0" fmla="*/ 200312 w 403143"/>
                <a:gd name="connsiteY0" fmla="*/ 0 h 390545"/>
                <a:gd name="connsiteX1" fmla="*/ 200312 w 403143"/>
                <a:gd name="connsiteY1" fmla="*/ 0 h 390545"/>
                <a:gd name="connsiteX2" fmla="*/ 214170 w 403143"/>
                <a:gd name="connsiteY2" fmla="*/ 2520 h 390545"/>
                <a:gd name="connsiteX3" fmla="*/ 219209 w 403143"/>
                <a:gd name="connsiteY3" fmla="*/ 3780 h 390545"/>
                <a:gd name="connsiteX4" fmla="*/ 229288 w 403143"/>
                <a:gd name="connsiteY4" fmla="*/ 5039 h 390545"/>
                <a:gd name="connsiteX5" fmla="*/ 245666 w 403143"/>
                <a:gd name="connsiteY5" fmla="*/ 11338 h 390545"/>
                <a:gd name="connsiteX6" fmla="*/ 254484 w 403143"/>
                <a:gd name="connsiteY6" fmla="*/ 16378 h 390545"/>
                <a:gd name="connsiteX7" fmla="*/ 273382 w 403143"/>
                <a:gd name="connsiteY7" fmla="*/ 30236 h 390545"/>
                <a:gd name="connsiteX8" fmla="*/ 277161 w 403143"/>
                <a:gd name="connsiteY8" fmla="*/ 32755 h 390545"/>
                <a:gd name="connsiteX9" fmla="*/ 280941 w 403143"/>
                <a:gd name="connsiteY9" fmla="*/ 36535 h 390545"/>
                <a:gd name="connsiteX10" fmla="*/ 284720 w 403143"/>
                <a:gd name="connsiteY10" fmla="*/ 40314 h 390545"/>
                <a:gd name="connsiteX11" fmla="*/ 289759 w 403143"/>
                <a:gd name="connsiteY11" fmla="*/ 47873 h 390545"/>
                <a:gd name="connsiteX12" fmla="*/ 291019 w 403143"/>
                <a:gd name="connsiteY12" fmla="*/ 49133 h 390545"/>
                <a:gd name="connsiteX13" fmla="*/ 291019 w 403143"/>
                <a:gd name="connsiteY13" fmla="*/ 49133 h 390545"/>
                <a:gd name="connsiteX14" fmla="*/ 297318 w 403143"/>
                <a:gd name="connsiteY14" fmla="*/ 52913 h 390545"/>
                <a:gd name="connsiteX15" fmla="*/ 313696 w 403143"/>
                <a:gd name="connsiteY15" fmla="*/ 50393 h 390545"/>
                <a:gd name="connsiteX16" fmla="*/ 323775 w 403143"/>
                <a:gd name="connsiteY16" fmla="*/ 50393 h 390545"/>
                <a:gd name="connsiteX17" fmla="*/ 325035 w 403143"/>
                <a:gd name="connsiteY17" fmla="*/ 50393 h 390545"/>
                <a:gd name="connsiteX18" fmla="*/ 325035 w 403143"/>
                <a:gd name="connsiteY18" fmla="*/ 50393 h 390545"/>
                <a:gd name="connsiteX19" fmla="*/ 332593 w 403143"/>
                <a:gd name="connsiteY19" fmla="*/ 51653 h 390545"/>
                <a:gd name="connsiteX20" fmla="*/ 337633 w 403143"/>
                <a:gd name="connsiteY20" fmla="*/ 52913 h 390545"/>
                <a:gd name="connsiteX21" fmla="*/ 350231 w 403143"/>
                <a:gd name="connsiteY21" fmla="*/ 57952 h 390545"/>
                <a:gd name="connsiteX22" fmla="*/ 360310 w 403143"/>
                <a:gd name="connsiteY22" fmla="*/ 64251 h 390545"/>
                <a:gd name="connsiteX23" fmla="*/ 376687 w 403143"/>
                <a:gd name="connsiteY23" fmla="*/ 79369 h 390545"/>
                <a:gd name="connsiteX24" fmla="*/ 389285 w 403143"/>
                <a:gd name="connsiteY24" fmla="*/ 98266 h 390545"/>
                <a:gd name="connsiteX25" fmla="*/ 394325 w 403143"/>
                <a:gd name="connsiteY25" fmla="*/ 110864 h 390545"/>
                <a:gd name="connsiteX26" fmla="*/ 398104 w 403143"/>
                <a:gd name="connsiteY26" fmla="*/ 120943 h 390545"/>
                <a:gd name="connsiteX27" fmla="*/ 403143 w 403143"/>
                <a:gd name="connsiteY27" fmla="*/ 144880 h 390545"/>
                <a:gd name="connsiteX28" fmla="*/ 405663 w 403143"/>
                <a:gd name="connsiteY28" fmla="*/ 173856 h 390545"/>
                <a:gd name="connsiteX29" fmla="*/ 405663 w 403143"/>
                <a:gd name="connsiteY29" fmla="*/ 176375 h 390545"/>
                <a:gd name="connsiteX30" fmla="*/ 405663 w 403143"/>
                <a:gd name="connsiteY30" fmla="*/ 177635 h 390545"/>
                <a:gd name="connsiteX31" fmla="*/ 405663 w 403143"/>
                <a:gd name="connsiteY31" fmla="*/ 191493 h 390545"/>
                <a:gd name="connsiteX32" fmla="*/ 404403 w 403143"/>
                <a:gd name="connsiteY32" fmla="*/ 207871 h 390545"/>
                <a:gd name="connsiteX33" fmla="*/ 404403 w 403143"/>
                <a:gd name="connsiteY33" fmla="*/ 207871 h 390545"/>
                <a:gd name="connsiteX34" fmla="*/ 400624 w 403143"/>
                <a:gd name="connsiteY34" fmla="*/ 229288 h 390545"/>
                <a:gd name="connsiteX35" fmla="*/ 396844 w 403143"/>
                <a:gd name="connsiteY35" fmla="*/ 244406 h 390545"/>
                <a:gd name="connsiteX36" fmla="*/ 395584 w 403143"/>
                <a:gd name="connsiteY36" fmla="*/ 249445 h 390545"/>
                <a:gd name="connsiteX37" fmla="*/ 390545 w 403143"/>
                <a:gd name="connsiteY37" fmla="*/ 268342 h 390545"/>
                <a:gd name="connsiteX38" fmla="*/ 381727 w 403143"/>
                <a:gd name="connsiteY38" fmla="*/ 288500 h 390545"/>
                <a:gd name="connsiteX39" fmla="*/ 381727 w 403143"/>
                <a:gd name="connsiteY39" fmla="*/ 288500 h 390545"/>
                <a:gd name="connsiteX40" fmla="*/ 379207 w 403143"/>
                <a:gd name="connsiteY40" fmla="*/ 294799 h 390545"/>
                <a:gd name="connsiteX41" fmla="*/ 377947 w 403143"/>
                <a:gd name="connsiteY41" fmla="*/ 298578 h 390545"/>
                <a:gd name="connsiteX42" fmla="*/ 374168 w 403143"/>
                <a:gd name="connsiteY42" fmla="*/ 308657 h 390545"/>
                <a:gd name="connsiteX43" fmla="*/ 370388 w 403143"/>
                <a:gd name="connsiteY43" fmla="*/ 317475 h 390545"/>
                <a:gd name="connsiteX44" fmla="*/ 370388 w 403143"/>
                <a:gd name="connsiteY44" fmla="*/ 318735 h 390545"/>
                <a:gd name="connsiteX45" fmla="*/ 360310 w 403143"/>
                <a:gd name="connsiteY45" fmla="*/ 337633 h 390545"/>
                <a:gd name="connsiteX46" fmla="*/ 360310 w 403143"/>
                <a:gd name="connsiteY46" fmla="*/ 337633 h 390545"/>
                <a:gd name="connsiteX47" fmla="*/ 359050 w 403143"/>
                <a:gd name="connsiteY47" fmla="*/ 338893 h 390545"/>
                <a:gd name="connsiteX48" fmla="*/ 348971 w 403143"/>
                <a:gd name="connsiteY48" fmla="*/ 356530 h 390545"/>
                <a:gd name="connsiteX49" fmla="*/ 336373 w 403143"/>
                <a:gd name="connsiteY49" fmla="*/ 374167 h 390545"/>
                <a:gd name="connsiteX50" fmla="*/ 327554 w 403143"/>
                <a:gd name="connsiteY50" fmla="*/ 382986 h 390545"/>
                <a:gd name="connsiteX51" fmla="*/ 322515 w 403143"/>
                <a:gd name="connsiteY51" fmla="*/ 388026 h 390545"/>
                <a:gd name="connsiteX52" fmla="*/ 321255 w 403143"/>
                <a:gd name="connsiteY52" fmla="*/ 389286 h 390545"/>
                <a:gd name="connsiteX53" fmla="*/ 314956 w 403143"/>
                <a:gd name="connsiteY53" fmla="*/ 394325 h 390545"/>
                <a:gd name="connsiteX54" fmla="*/ 314956 w 403143"/>
                <a:gd name="connsiteY54" fmla="*/ 394325 h 390545"/>
                <a:gd name="connsiteX55" fmla="*/ 314956 w 403143"/>
                <a:gd name="connsiteY55" fmla="*/ 394325 h 390545"/>
                <a:gd name="connsiteX56" fmla="*/ 314956 w 403143"/>
                <a:gd name="connsiteY56" fmla="*/ 394325 h 390545"/>
                <a:gd name="connsiteX57" fmla="*/ 314956 w 403143"/>
                <a:gd name="connsiteY57" fmla="*/ 394325 h 390545"/>
                <a:gd name="connsiteX58" fmla="*/ 314956 w 403143"/>
                <a:gd name="connsiteY58" fmla="*/ 393065 h 390545"/>
                <a:gd name="connsiteX59" fmla="*/ 314956 w 403143"/>
                <a:gd name="connsiteY59" fmla="*/ 391805 h 390545"/>
                <a:gd name="connsiteX60" fmla="*/ 318736 w 403143"/>
                <a:gd name="connsiteY60" fmla="*/ 371648 h 390545"/>
                <a:gd name="connsiteX61" fmla="*/ 318736 w 403143"/>
                <a:gd name="connsiteY61" fmla="*/ 366609 h 390545"/>
                <a:gd name="connsiteX62" fmla="*/ 318736 w 403143"/>
                <a:gd name="connsiteY62" fmla="*/ 366609 h 390545"/>
                <a:gd name="connsiteX63" fmla="*/ 319995 w 403143"/>
                <a:gd name="connsiteY63" fmla="*/ 354010 h 390545"/>
                <a:gd name="connsiteX64" fmla="*/ 321255 w 403143"/>
                <a:gd name="connsiteY64" fmla="*/ 338893 h 390545"/>
                <a:gd name="connsiteX65" fmla="*/ 321255 w 403143"/>
                <a:gd name="connsiteY65" fmla="*/ 338893 h 390545"/>
                <a:gd name="connsiteX66" fmla="*/ 323775 w 403143"/>
                <a:gd name="connsiteY66" fmla="*/ 317475 h 390545"/>
                <a:gd name="connsiteX67" fmla="*/ 323775 w 403143"/>
                <a:gd name="connsiteY67" fmla="*/ 312436 h 390545"/>
                <a:gd name="connsiteX68" fmla="*/ 325035 w 403143"/>
                <a:gd name="connsiteY68" fmla="*/ 299838 h 390545"/>
                <a:gd name="connsiteX69" fmla="*/ 325035 w 403143"/>
                <a:gd name="connsiteY69" fmla="*/ 293539 h 390545"/>
                <a:gd name="connsiteX70" fmla="*/ 325035 w 403143"/>
                <a:gd name="connsiteY70" fmla="*/ 283460 h 390545"/>
                <a:gd name="connsiteX71" fmla="*/ 325035 w 403143"/>
                <a:gd name="connsiteY71" fmla="*/ 280941 h 390545"/>
                <a:gd name="connsiteX72" fmla="*/ 325035 w 403143"/>
                <a:gd name="connsiteY72" fmla="*/ 279681 h 390545"/>
                <a:gd name="connsiteX73" fmla="*/ 325035 w 403143"/>
                <a:gd name="connsiteY73" fmla="*/ 278421 h 390545"/>
                <a:gd name="connsiteX74" fmla="*/ 325035 w 403143"/>
                <a:gd name="connsiteY74" fmla="*/ 278421 h 390545"/>
                <a:gd name="connsiteX75" fmla="*/ 325035 w 403143"/>
                <a:gd name="connsiteY75" fmla="*/ 278421 h 390545"/>
                <a:gd name="connsiteX76" fmla="*/ 325035 w 403143"/>
                <a:gd name="connsiteY76" fmla="*/ 278421 h 390545"/>
                <a:gd name="connsiteX77" fmla="*/ 325035 w 403143"/>
                <a:gd name="connsiteY77" fmla="*/ 278421 h 390545"/>
                <a:gd name="connsiteX78" fmla="*/ 325035 w 403143"/>
                <a:gd name="connsiteY78" fmla="*/ 278421 h 390545"/>
                <a:gd name="connsiteX79" fmla="*/ 325035 w 403143"/>
                <a:gd name="connsiteY79" fmla="*/ 278421 h 390545"/>
                <a:gd name="connsiteX80" fmla="*/ 326294 w 403143"/>
                <a:gd name="connsiteY80" fmla="*/ 268342 h 390545"/>
                <a:gd name="connsiteX81" fmla="*/ 327554 w 403143"/>
                <a:gd name="connsiteY81" fmla="*/ 260783 h 390545"/>
                <a:gd name="connsiteX82" fmla="*/ 327554 w 403143"/>
                <a:gd name="connsiteY82" fmla="*/ 257004 h 390545"/>
                <a:gd name="connsiteX83" fmla="*/ 325035 w 403143"/>
                <a:gd name="connsiteY83" fmla="*/ 255744 h 390545"/>
                <a:gd name="connsiteX84" fmla="*/ 319995 w 403143"/>
                <a:gd name="connsiteY84" fmla="*/ 254484 h 390545"/>
                <a:gd name="connsiteX85" fmla="*/ 318736 w 403143"/>
                <a:gd name="connsiteY85" fmla="*/ 254484 h 390545"/>
                <a:gd name="connsiteX86" fmla="*/ 318736 w 403143"/>
                <a:gd name="connsiteY86" fmla="*/ 254484 h 390545"/>
                <a:gd name="connsiteX87" fmla="*/ 318736 w 403143"/>
                <a:gd name="connsiteY87" fmla="*/ 254484 h 390545"/>
                <a:gd name="connsiteX88" fmla="*/ 318736 w 403143"/>
                <a:gd name="connsiteY88" fmla="*/ 254484 h 390545"/>
                <a:gd name="connsiteX89" fmla="*/ 317476 w 403143"/>
                <a:gd name="connsiteY89" fmla="*/ 254484 h 390545"/>
                <a:gd name="connsiteX90" fmla="*/ 309917 w 403143"/>
                <a:gd name="connsiteY90" fmla="*/ 251965 h 390545"/>
                <a:gd name="connsiteX91" fmla="*/ 299838 w 403143"/>
                <a:gd name="connsiteY91" fmla="*/ 246925 h 390545"/>
                <a:gd name="connsiteX92" fmla="*/ 299838 w 403143"/>
                <a:gd name="connsiteY92" fmla="*/ 246925 h 390545"/>
                <a:gd name="connsiteX93" fmla="*/ 296058 w 403143"/>
                <a:gd name="connsiteY93" fmla="*/ 245666 h 390545"/>
                <a:gd name="connsiteX94" fmla="*/ 288499 w 403143"/>
                <a:gd name="connsiteY94" fmla="*/ 243146 h 390545"/>
                <a:gd name="connsiteX95" fmla="*/ 273382 w 403143"/>
                <a:gd name="connsiteY95" fmla="*/ 236847 h 390545"/>
                <a:gd name="connsiteX96" fmla="*/ 262043 w 403143"/>
                <a:gd name="connsiteY96" fmla="*/ 229288 h 390545"/>
                <a:gd name="connsiteX97" fmla="*/ 255744 w 403143"/>
                <a:gd name="connsiteY97" fmla="*/ 224249 h 390545"/>
                <a:gd name="connsiteX98" fmla="*/ 244406 w 403143"/>
                <a:gd name="connsiteY98" fmla="*/ 214170 h 390545"/>
                <a:gd name="connsiteX99" fmla="*/ 241886 w 403143"/>
                <a:gd name="connsiteY99" fmla="*/ 210390 h 390545"/>
                <a:gd name="connsiteX100" fmla="*/ 241886 w 403143"/>
                <a:gd name="connsiteY100" fmla="*/ 210390 h 390545"/>
                <a:gd name="connsiteX101" fmla="*/ 239366 w 403143"/>
                <a:gd name="connsiteY101" fmla="*/ 206611 h 390545"/>
                <a:gd name="connsiteX102" fmla="*/ 239366 w 403143"/>
                <a:gd name="connsiteY102" fmla="*/ 205351 h 390545"/>
                <a:gd name="connsiteX103" fmla="*/ 234327 w 403143"/>
                <a:gd name="connsiteY103" fmla="*/ 194013 h 390545"/>
                <a:gd name="connsiteX104" fmla="*/ 233067 w 403143"/>
                <a:gd name="connsiteY104" fmla="*/ 192753 h 390545"/>
                <a:gd name="connsiteX105" fmla="*/ 231807 w 403143"/>
                <a:gd name="connsiteY105" fmla="*/ 194013 h 390545"/>
                <a:gd name="connsiteX106" fmla="*/ 230548 w 403143"/>
                <a:gd name="connsiteY106" fmla="*/ 195273 h 390545"/>
                <a:gd name="connsiteX107" fmla="*/ 226768 w 403143"/>
                <a:gd name="connsiteY107" fmla="*/ 200312 h 390545"/>
                <a:gd name="connsiteX108" fmla="*/ 219209 w 403143"/>
                <a:gd name="connsiteY108" fmla="*/ 207871 h 390545"/>
                <a:gd name="connsiteX109" fmla="*/ 210391 w 403143"/>
                <a:gd name="connsiteY109" fmla="*/ 215430 h 390545"/>
                <a:gd name="connsiteX110" fmla="*/ 191493 w 403143"/>
                <a:gd name="connsiteY110" fmla="*/ 226768 h 390545"/>
                <a:gd name="connsiteX111" fmla="*/ 173856 w 403143"/>
                <a:gd name="connsiteY111" fmla="*/ 235587 h 390545"/>
                <a:gd name="connsiteX112" fmla="*/ 173856 w 403143"/>
                <a:gd name="connsiteY112" fmla="*/ 235587 h 390545"/>
                <a:gd name="connsiteX113" fmla="*/ 172596 w 403143"/>
                <a:gd name="connsiteY113" fmla="*/ 235587 h 390545"/>
                <a:gd name="connsiteX114" fmla="*/ 172596 w 403143"/>
                <a:gd name="connsiteY114" fmla="*/ 235587 h 390545"/>
                <a:gd name="connsiteX115" fmla="*/ 171336 w 403143"/>
                <a:gd name="connsiteY115" fmla="*/ 235587 h 390545"/>
                <a:gd name="connsiteX116" fmla="*/ 171336 w 403143"/>
                <a:gd name="connsiteY116" fmla="*/ 235587 h 390545"/>
                <a:gd name="connsiteX117" fmla="*/ 171336 w 403143"/>
                <a:gd name="connsiteY117" fmla="*/ 235587 h 390545"/>
                <a:gd name="connsiteX118" fmla="*/ 171336 w 403143"/>
                <a:gd name="connsiteY118" fmla="*/ 235587 h 390545"/>
                <a:gd name="connsiteX119" fmla="*/ 172596 w 403143"/>
                <a:gd name="connsiteY119" fmla="*/ 235587 h 390545"/>
                <a:gd name="connsiteX120" fmla="*/ 152439 w 403143"/>
                <a:gd name="connsiteY120" fmla="*/ 243146 h 390545"/>
                <a:gd name="connsiteX121" fmla="*/ 131022 w 403143"/>
                <a:gd name="connsiteY121" fmla="*/ 248185 h 390545"/>
                <a:gd name="connsiteX122" fmla="*/ 109605 w 403143"/>
                <a:gd name="connsiteY122" fmla="*/ 249445 h 390545"/>
                <a:gd name="connsiteX123" fmla="*/ 109605 w 403143"/>
                <a:gd name="connsiteY123" fmla="*/ 249445 h 390545"/>
                <a:gd name="connsiteX124" fmla="*/ 97007 w 403143"/>
                <a:gd name="connsiteY124" fmla="*/ 249445 h 390545"/>
                <a:gd name="connsiteX125" fmla="*/ 86928 w 403143"/>
                <a:gd name="connsiteY125" fmla="*/ 248185 h 390545"/>
                <a:gd name="connsiteX126" fmla="*/ 81889 w 403143"/>
                <a:gd name="connsiteY126" fmla="*/ 246925 h 390545"/>
                <a:gd name="connsiteX127" fmla="*/ 80629 w 403143"/>
                <a:gd name="connsiteY127" fmla="*/ 246925 h 390545"/>
                <a:gd name="connsiteX128" fmla="*/ 69290 w 403143"/>
                <a:gd name="connsiteY128" fmla="*/ 246925 h 390545"/>
                <a:gd name="connsiteX129" fmla="*/ 66771 w 403143"/>
                <a:gd name="connsiteY129" fmla="*/ 246925 h 390545"/>
                <a:gd name="connsiteX130" fmla="*/ 61731 w 403143"/>
                <a:gd name="connsiteY130" fmla="*/ 246925 h 390545"/>
                <a:gd name="connsiteX131" fmla="*/ 60472 w 403143"/>
                <a:gd name="connsiteY131" fmla="*/ 246925 h 390545"/>
                <a:gd name="connsiteX132" fmla="*/ 59212 w 403143"/>
                <a:gd name="connsiteY132" fmla="*/ 246925 h 390545"/>
                <a:gd name="connsiteX133" fmla="*/ 50393 w 403143"/>
                <a:gd name="connsiteY133" fmla="*/ 244406 h 390545"/>
                <a:gd name="connsiteX134" fmla="*/ 31496 w 403143"/>
                <a:gd name="connsiteY134" fmla="*/ 235587 h 390545"/>
                <a:gd name="connsiteX135" fmla="*/ 25196 w 403143"/>
                <a:gd name="connsiteY135" fmla="*/ 231808 h 390545"/>
                <a:gd name="connsiteX136" fmla="*/ 22677 w 403143"/>
                <a:gd name="connsiteY136" fmla="*/ 229288 h 390545"/>
                <a:gd name="connsiteX137" fmla="*/ 22677 w 403143"/>
                <a:gd name="connsiteY137" fmla="*/ 229288 h 390545"/>
                <a:gd name="connsiteX138" fmla="*/ 20157 w 403143"/>
                <a:gd name="connsiteY138" fmla="*/ 228028 h 390545"/>
                <a:gd name="connsiteX139" fmla="*/ 13858 w 403143"/>
                <a:gd name="connsiteY139" fmla="*/ 220469 h 390545"/>
                <a:gd name="connsiteX140" fmla="*/ 8819 w 403143"/>
                <a:gd name="connsiteY140" fmla="*/ 212910 h 390545"/>
                <a:gd name="connsiteX141" fmla="*/ 2520 w 403143"/>
                <a:gd name="connsiteY141" fmla="*/ 197792 h 390545"/>
                <a:gd name="connsiteX142" fmla="*/ 0 w 403143"/>
                <a:gd name="connsiteY142" fmla="*/ 185194 h 390545"/>
                <a:gd name="connsiteX143" fmla="*/ 0 w 403143"/>
                <a:gd name="connsiteY143" fmla="*/ 183934 h 390545"/>
                <a:gd name="connsiteX144" fmla="*/ 0 w 403143"/>
                <a:gd name="connsiteY144" fmla="*/ 180155 h 390545"/>
                <a:gd name="connsiteX145" fmla="*/ 0 w 403143"/>
                <a:gd name="connsiteY145" fmla="*/ 178895 h 390545"/>
                <a:gd name="connsiteX146" fmla="*/ 0 w 403143"/>
                <a:gd name="connsiteY146" fmla="*/ 170076 h 390545"/>
                <a:gd name="connsiteX147" fmla="*/ 0 w 403143"/>
                <a:gd name="connsiteY147" fmla="*/ 168816 h 390545"/>
                <a:gd name="connsiteX148" fmla="*/ 0 w 403143"/>
                <a:gd name="connsiteY148" fmla="*/ 168816 h 390545"/>
                <a:gd name="connsiteX149" fmla="*/ 0 w 403143"/>
                <a:gd name="connsiteY149" fmla="*/ 165037 h 390545"/>
                <a:gd name="connsiteX150" fmla="*/ 0 w 403143"/>
                <a:gd name="connsiteY150" fmla="*/ 158738 h 390545"/>
                <a:gd name="connsiteX151" fmla="*/ 1260 w 403143"/>
                <a:gd name="connsiteY151" fmla="*/ 147399 h 390545"/>
                <a:gd name="connsiteX152" fmla="*/ 1260 w 403143"/>
                <a:gd name="connsiteY152" fmla="*/ 146140 h 390545"/>
                <a:gd name="connsiteX153" fmla="*/ 2520 w 403143"/>
                <a:gd name="connsiteY153" fmla="*/ 136061 h 390545"/>
                <a:gd name="connsiteX154" fmla="*/ 5039 w 403143"/>
                <a:gd name="connsiteY154" fmla="*/ 125982 h 390545"/>
                <a:gd name="connsiteX155" fmla="*/ 8819 w 403143"/>
                <a:gd name="connsiteY155" fmla="*/ 115904 h 390545"/>
                <a:gd name="connsiteX156" fmla="*/ 13858 w 403143"/>
                <a:gd name="connsiteY156" fmla="*/ 107085 h 390545"/>
                <a:gd name="connsiteX157" fmla="*/ 26456 w 403143"/>
                <a:gd name="connsiteY157" fmla="*/ 88188 h 390545"/>
                <a:gd name="connsiteX158" fmla="*/ 32755 w 403143"/>
                <a:gd name="connsiteY158" fmla="*/ 79369 h 390545"/>
                <a:gd name="connsiteX159" fmla="*/ 39055 w 403143"/>
                <a:gd name="connsiteY159" fmla="*/ 73070 h 390545"/>
                <a:gd name="connsiteX160" fmla="*/ 39055 w 403143"/>
                <a:gd name="connsiteY160" fmla="*/ 73070 h 390545"/>
                <a:gd name="connsiteX161" fmla="*/ 39055 w 403143"/>
                <a:gd name="connsiteY161" fmla="*/ 73070 h 390545"/>
                <a:gd name="connsiteX162" fmla="*/ 46614 w 403143"/>
                <a:gd name="connsiteY162" fmla="*/ 65511 h 390545"/>
                <a:gd name="connsiteX163" fmla="*/ 66771 w 403143"/>
                <a:gd name="connsiteY163" fmla="*/ 49133 h 390545"/>
                <a:gd name="connsiteX164" fmla="*/ 69290 w 403143"/>
                <a:gd name="connsiteY164" fmla="*/ 47873 h 390545"/>
                <a:gd name="connsiteX165" fmla="*/ 75589 w 403143"/>
                <a:gd name="connsiteY165" fmla="*/ 42834 h 390545"/>
                <a:gd name="connsiteX166" fmla="*/ 78109 w 403143"/>
                <a:gd name="connsiteY166" fmla="*/ 41574 h 390545"/>
                <a:gd name="connsiteX167" fmla="*/ 78109 w 403143"/>
                <a:gd name="connsiteY167" fmla="*/ 41574 h 390545"/>
                <a:gd name="connsiteX168" fmla="*/ 84408 w 403143"/>
                <a:gd name="connsiteY168" fmla="*/ 36535 h 390545"/>
                <a:gd name="connsiteX169" fmla="*/ 85668 w 403143"/>
                <a:gd name="connsiteY169" fmla="*/ 36535 h 390545"/>
                <a:gd name="connsiteX170" fmla="*/ 94487 w 403143"/>
                <a:gd name="connsiteY170" fmla="*/ 31496 h 390545"/>
                <a:gd name="connsiteX171" fmla="*/ 103306 w 403143"/>
                <a:gd name="connsiteY171" fmla="*/ 26456 h 390545"/>
                <a:gd name="connsiteX172" fmla="*/ 124722 w 403143"/>
                <a:gd name="connsiteY172" fmla="*/ 17638 h 390545"/>
                <a:gd name="connsiteX173" fmla="*/ 131022 w 403143"/>
                <a:gd name="connsiteY173" fmla="*/ 16378 h 390545"/>
                <a:gd name="connsiteX174" fmla="*/ 132281 w 403143"/>
                <a:gd name="connsiteY174" fmla="*/ 16378 h 390545"/>
                <a:gd name="connsiteX175" fmla="*/ 134801 w 403143"/>
                <a:gd name="connsiteY175" fmla="*/ 15118 h 390545"/>
                <a:gd name="connsiteX176" fmla="*/ 144880 w 403143"/>
                <a:gd name="connsiteY176" fmla="*/ 12598 h 390545"/>
                <a:gd name="connsiteX177" fmla="*/ 168816 w 403143"/>
                <a:gd name="connsiteY177" fmla="*/ 8819 h 390545"/>
                <a:gd name="connsiteX178" fmla="*/ 175115 w 403143"/>
                <a:gd name="connsiteY178" fmla="*/ 8819 h 390545"/>
                <a:gd name="connsiteX179" fmla="*/ 175115 w 403143"/>
                <a:gd name="connsiteY179" fmla="*/ 8819 h 390545"/>
                <a:gd name="connsiteX180" fmla="*/ 177635 w 403143"/>
                <a:gd name="connsiteY180" fmla="*/ 8819 h 390545"/>
                <a:gd name="connsiteX181" fmla="*/ 187714 w 403143"/>
                <a:gd name="connsiteY181" fmla="*/ 8819 h 390545"/>
                <a:gd name="connsiteX182" fmla="*/ 200312 w 403143"/>
                <a:gd name="connsiteY182" fmla="*/ 0 h 39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403143" h="390545">
                  <a:moveTo>
                    <a:pt x="200312" y="0"/>
                  </a:moveTo>
                  <a:cubicBezTo>
                    <a:pt x="201572" y="0"/>
                    <a:pt x="201572" y="0"/>
                    <a:pt x="200312" y="0"/>
                  </a:cubicBezTo>
                  <a:cubicBezTo>
                    <a:pt x="205351" y="0"/>
                    <a:pt x="209131" y="1260"/>
                    <a:pt x="214170" y="2520"/>
                  </a:cubicBezTo>
                  <a:cubicBezTo>
                    <a:pt x="215430" y="2520"/>
                    <a:pt x="216690" y="3780"/>
                    <a:pt x="219209" y="3780"/>
                  </a:cubicBezTo>
                  <a:cubicBezTo>
                    <a:pt x="222989" y="3780"/>
                    <a:pt x="226768" y="5039"/>
                    <a:pt x="229288" y="5039"/>
                  </a:cubicBezTo>
                  <a:cubicBezTo>
                    <a:pt x="235587" y="6299"/>
                    <a:pt x="240626" y="8819"/>
                    <a:pt x="245666" y="11338"/>
                  </a:cubicBezTo>
                  <a:cubicBezTo>
                    <a:pt x="249445" y="12598"/>
                    <a:pt x="251965" y="15118"/>
                    <a:pt x="254484" y="16378"/>
                  </a:cubicBezTo>
                  <a:cubicBezTo>
                    <a:pt x="262043" y="20157"/>
                    <a:pt x="267083" y="25196"/>
                    <a:pt x="273382" y="30236"/>
                  </a:cubicBezTo>
                  <a:cubicBezTo>
                    <a:pt x="274642" y="31496"/>
                    <a:pt x="275901" y="32755"/>
                    <a:pt x="277161" y="32755"/>
                  </a:cubicBezTo>
                  <a:cubicBezTo>
                    <a:pt x="278421" y="34015"/>
                    <a:pt x="279681" y="35275"/>
                    <a:pt x="280941" y="36535"/>
                  </a:cubicBezTo>
                  <a:cubicBezTo>
                    <a:pt x="282200" y="37795"/>
                    <a:pt x="283460" y="39055"/>
                    <a:pt x="284720" y="40314"/>
                  </a:cubicBezTo>
                  <a:cubicBezTo>
                    <a:pt x="287240" y="42834"/>
                    <a:pt x="288499" y="45354"/>
                    <a:pt x="289759" y="47873"/>
                  </a:cubicBezTo>
                  <a:lnTo>
                    <a:pt x="291019" y="49133"/>
                  </a:lnTo>
                  <a:lnTo>
                    <a:pt x="291019" y="49133"/>
                  </a:lnTo>
                  <a:cubicBezTo>
                    <a:pt x="293539" y="50393"/>
                    <a:pt x="296058" y="51653"/>
                    <a:pt x="297318" y="52913"/>
                  </a:cubicBezTo>
                  <a:cubicBezTo>
                    <a:pt x="303617" y="51653"/>
                    <a:pt x="308657" y="50393"/>
                    <a:pt x="313696" y="50393"/>
                  </a:cubicBezTo>
                  <a:cubicBezTo>
                    <a:pt x="317476" y="50393"/>
                    <a:pt x="319995" y="50393"/>
                    <a:pt x="323775" y="50393"/>
                  </a:cubicBezTo>
                  <a:cubicBezTo>
                    <a:pt x="323775" y="50393"/>
                    <a:pt x="323775" y="50393"/>
                    <a:pt x="325035" y="50393"/>
                  </a:cubicBezTo>
                  <a:lnTo>
                    <a:pt x="325035" y="50393"/>
                  </a:lnTo>
                  <a:cubicBezTo>
                    <a:pt x="327554" y="50393"/>
                    <a:pt x="330074" y="50393"/>
                    <a:pt x="332593" y="51653"/>
                  </a:cubicBezTo>
                  <a:cubicBezTo>
                    <a:pt x="333853" y="51653"/>
                    <a:pt x="336373" y="52913"/>
                    <a:pt x="337633" y="52913"/>
                  </a:cubicBezTo>
                  <a:cubicBezTo>
                    <a:pt x="341412" y="54172"/>
                    <a:pt x="346451" y="55432"/>
                    <a:pt x="350231" y="57952"/>
                  </a:cubicBezTo>
                  <a:cubicBezTo>
                    <a:pt x="354010" y="59212"/>
                    <a:pt x="356530" y="61731"/>
                    <a:pt x="360310" y="64251"/>
                  </a:cubicBezTo>
                  <a:cubicBezTo>
                    <a:pt x="365349" y="68031"/>
                    <a:pt x="370388" y="73070"/>
                    <a:pt x="376687" y="79369"/>
                  </a:cubicBezTo>
                  <a:cubicBezTo>
                    <a:pt x="382986" y="85668"/>
                    <a:pt x="386766" y="91967"/>
                    <a:pt x="389285" y="98266"/>
                  </a:cubicBezTo>
                  <a:cubicBezTo>
                    <a:pt x="391805" y="103305"/>
                    <a:pt x="393065" y="107085"/>
                    <a:pt x="394325" y="110864"/>
                  </a:cubicBezTo>
                  <a:cubicBezTo>
                    <a:pt x="395584" y="114644"/>
                    <a:pt x="396844" y="118424"/>
                    <a:pt x="398104" y="120943"/>
                  </a:cubicBezTo>
                  <a:cubicBezTo>
                    <a:pt x="400624" y="127242"/>
                    <a:pt x="401884" y="134801"/>
                    <a:pt x="403143" y="144880"/>
                  </a:cubicBezTo>
                  <a:cubicBezTo>
                    <a:pt x="404403" y="154958"/>
                    <a:pt x="404403" y="163777"/>
                    <a:pt x="405663" y="173856"/>
                  </a:cubicBezTo>
                  <a:lnTo>
                    <a:pt x="405663" y="176375"/>
                  </a:lnTo>
                  <a:lnTo>
                    <a:pt x="405663" y="177635"/>
                  </a:lnTo>
                  <a:cubicBezTo>
                    <a:pt x="405663" y="182674"/>
                    <a:pt x="405663" y="187714"/>
                    <a:pt x="405663" y="191493"/>
                  </a:cubicBezTo>
                  <a:cubicBezTo>
                    <a:pt x="405663" y="196533"/>
                    <a:pt x="405663" y="201572"/>
                    <a:pt x="404403" y="207871"/>
                  </a:cubicBezTo>
                  <a:lnTo>
                    <a:pt x="404403" y="207871"/>
                  </a:lnTo>
                  <a:cubicBezTo>
                    <a:pt x="403143" y="215430"/>
                    <a:pt x="403143" y="222989"/>
                    <a:pt x="400624" y="229288"/>
                  </a:cubicBezTo>
                  <a:cubicBezTo>
                    <a:pt x="399364" y="234327"/>
                    <a:pt x="398104" y="239366"/>
                    <a:pt x="396844" y="244406"/>
                  </a:cubicBezTo>
                  <a:cubicBezTo>
                    <a:pt x="396844" y="245666"/>
                    <a:pt x="395584" y="248185"/>
                    <a:pt x="395584" y="249445"/>
                  </a:cubicBezTo>
                  <a:cubicBezTo>
                    <a:pt x="394325" y="255744"/>
                    <a:pt x="391805" y="262043"/>
                    <a:pt x="390545" y="268342"/>
                  </a:cubicBezTo>
                  <a:cubicBezTo>
                    <a:pt x="388026" y="274642"/>
                    <a:pt x="385506" y="282201"/>
                    <a:pt x="381727" y="288500"/>
                  </a:cubicBezTo>
                  <a:lnTo>
                    <a:pt x="381727" y="288500"/>
                  </a:lnTo>
                  <a:cubicBezTo>
                    <a:pt x="380467" y="289759"/>
                    <a:pt x="380467" y="292279"/>
                    <a:pt x="379207" y="294799"/>
                  </a:cubicBezTo>
                  <a:cubicBezTo>
                    <a:pt x="379207" y="296058"/>
                    <a:pt x="377947" y="297318"/>
                    <a:pt x="377947" y="298578"/>
                  </a:cubicBezTo>
                  <a:cubicBezTo>
                    <a:pt x="376687" y="302358"/>
                    <a:pt x="375428" y="306137"/>
                    <a:pt x="374168" y="308657"/>
                  </a:cubicBezTo>
                  <a:cubicBezTo>
                    <a:pt x="372908" y="312436"/>
                    <a:pt x="371648" y="314956"/>
                    <a:pt x="370388" y="317475"/>
                  </a:cubicBezTo>
                  <a:lnTo>
                    <a:pt x="370388" y="318735"/>
                  </a:lnTo>
                  <a:cubicBezTo>
                    <a:pt x="367869" y="325034"/>
                    <a:pt x="364089" y="331334"/>
                    <a:pt x="360310" y="337633"/>
                  </a:cubicBezTo>
                  <a:lnTo>
                    <a:pt x="360310" y="337633"/>
                  </a:lnTo>
                  <a:lnTo>
                    <a:pt x="359050" y="338893"/>
                  </a:lnTo>
                  <a:cubicBezTo>
                    <a:pt x="355270" y="345192"/>
                    <a:pt x="351491" y="351491"/>
                    <a:pt x="348971" y="356530"/>
                  </a:cubicBezTo>
                  <a:cubicBezTo>
                    <a:pt x="345192" y="362829"/>
                    <a:pt x="340152" y="369128"/>
                    <a:pt x="336373" y="374167"/>
                  </a:cubicBezTo>
                  <a:cubicBezTo>
                    <a:pt x="333853" y="376687"/>
                    <a:pt x="331334" y="380467"/>
                    <a:pt x="327554" y="382986"/>
                  </a:cubicBezTo>
                  <a:cubicBezTo>
                    <a:pt x="326294" y="385506"/>
                    <a:pt x="323775" y="386766"/>
                    <a:pt x="322515" y="388026"/>
                  </a:cubicBezTo>
                  <a:lnTo>
                    <a:pt x="321255" y="389286"/>
                  </a:lnTo>
                  <a:cubicBezTo>
                    <a:pt x="318736" y="390545"/>
                    <a:pt x="317476" y="393065"/>
                    <a:pt x="314956" y="394325"/>
                  </a:cubicBez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cubicBezTo>
                    <a:pt x="314956" y="394325"/>
                    <a:pt x="314956" y="393065"/>
                    <a:pt x="314956" y="393065"/>
                  </a:cubicBezTo>
                  <a:cubicBezTo>
                    <a:pt x="314956" y="393065"/>
                    <a:pt x="314956" y="391805"/>
                    <a:pt x="314956" y="391805"/>
                  </a:cubicBezTo>
                  <a:cubicBezTo>
                    <a:pt x="316216" y="385506"/>
                    <a:pt x="317476" y="379207"/>
                    <a:pt x="318736" y="371648"/>
                  </a:cubicBezTo>
                  <a:cubicBezTo>
                    <a:pt x="318736" y="370388"/>
                    <a:pt x="318736" y="369128"/>
                    <a:pt x="318736" y="366609"/>
                  </a:cubicBezTo>
                  <a:lnTo>
                    <a:pt x="318736" y="366609"/>
                  </a:lnTo>
                  <a:cubicBezTo>
                    <a:pt x="318736" y="362829"/>
                    <a:pt x="319995" y="357790"/>
                    <a:pt x="319995" y="354010"/>
                  </a:cubicBezTo>
                  <a:cubicBezTo>
                    <a:pt x="319995" y="348971"/>
                    <a:pt x="321255" y="343932"/>
                    <a:pt x="321255" y="338893"/>
                  </a:cubicBezTo>
                  <a:lnTo>
                    <a:pt x="321255" y="338893"/>
                  </a:lnTo>
                  <a:cubicBezTo>
                    <a:pt x="322515" y="332593"/>
                    <a:pt x="322515" y="325034"/>
                    <a:pt x="323775" y="317475"/>
                  </a:cubicBezTo>
                  <a:cubicBezTo>
                    <a:pt x="323775" y="316216"/>
                    <a:pt x="323775" y="313696"/>
                    <a:pt x="323775" y="312436"/>
                  </a:cubicBezTo>
                  <a:cubicBezTo>
                    <a:pt x="323775" y="308657"/>
                    <a:pt x="325035" y="303618"/>
                    <a:pt x="325035" y="299838"/>
                  </a:cubicBezTo>
                  <a:cubicBezTo>
                    <a:pt x="325035" y="297318"/>
                    <a:pt x="325035" y="294799"/>
                    <a:pt x="325035" y="293539"/>
                  </a:cubicBezTo>
                  <a:cubicBezTo>
                    <a:pt x="325035" y="291019"/>
                    <a:pt x="325035" y="287240"/>
                    <a:pt x="325035" y="283460"/>
                  </a:cubicBezTo>
                  <a:cubicBezTo>
                    <a:pt x="325035" y="282201"/>
                    <a:pt x="325035" y="282201"/>
                    <a:pt x="325035" y="280941"/>
                  </a:cubicBezTo>
                  <a:cubicBezTo>
                    <a:pt x="325035" y="280941"/>
                    <a:pt x="325035" y="279681"/>
                    <a:pt x="325035" y="279681"/>
                  </a:cubicBezTo>
                  <a:cubicBezTo>
                    <a:pt x="325035" y="279681"/>
                    <a:pt x="325035" y="278421"/>
                    <a:pt x="325035" y="278421"/>
                  </a:cubicBez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cubicBezTo>
                    <a:pt x="325035" y="274642"/>
                    <a:pt x="325035" y="272122"/>
                    <a:pt x="326294" y="268342"/>
                  </a:cubicBezTo>
                  <a:cubicBezTo>
                    <a:pt x="326294" y="265823"/>
                    <a:pt x="326294" y="263303"/>
                    <a:pt x="327554" y="260783"/>
                  </a:cubicBezTo>
                  <a:cubicBezTo>
                    <a:pt x="327554" y="259524"/>
                    <a:pt x="327554" y="258264"/>
                    <a:pt x="327554" y="257004"/>
                  </a:cubicBezTo>
                  <a:cubicBezTo>
                    <a:pt x="326294" y="257004"/>
                    <a:pt x="325035" y="257004"/>
                    <a:pt x="325035" y="255744"/>
                  </a:cubicBezTo>
                  <a:cubicBezTo>
                    <a:pt x="323775" y="255744"/>
                    <a:pt x="322515" y="254484"/>
                    <a:pt x="319995" y="254484"/>
                  </a:cubicBez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cubicBezTo>
                    <a:pt x="318736" y="254484"/>
                    <a:pt x="317476" y="254484"/>
                    <a:pt x="317476" y="254484"/>
                  </a:cubicBezTo>
                  <a:cubicBezTo>
                    <a:pt x="314956" y="253225"/>
                    <a:pt x="312436" y="253225"/>
                    <a:pt x="309917" y="251965"/>
                  </a:cubicBezTo>
                  <a:cubicBezTo>
                    <a:pt x="306137" y="250705"/>
                    <a:pt x="302358" y="248185"/>
                    <a:pt x="299838" y="246925"/>
                  </a:cubicBezTo>
                  <a:lnTo>
                    <a:pt x="299838" y="246925"/>
                  </a:lnTo>
                  <a:cubicBezTo>
                    <a:pt x="298578" y="246925"/>
                    <a:pt x="297318" y="245666"/>
                    <a:pt x="296058" y="245666"/>
                  </a:cubicBezTo>
                  <a:cubicBezTo>
                    <a:pt x="293539" y="244406"/>
                    <a:pt x="291019" y="244406"/>
                    <a:pt x="288499" y="243146"/>
                  </a:cubicBezTo>
                  <a:cubicBezTo>
                    <a:pt x="283460" y="241886"/>
                    <a:pt x="277161" y="239366"/>
                    <a:pt x="273382" y="236847"/>
                  </a:cubicBezTo>
                  <a:cubicBezTo>
                    <a:pt x="269602" y="234327"/>
                    <a:pt x="265823" y="231808"/>
                    <a:pt x="262043" y="229288"/>
                  </a:cubicBezTo>
                  <a:cubicBezTo>
                    <a:pt x="259524" y="228028"/>
                    <a:pt x="258264" y="226768"/>
                    <a:pt x="255744" y="224249"/>
                  </a:cubicBezTo>
                  <a:cubicBezTo>
                    <a:pt x="251965" y="221729"/>
                    <a:pt x="246925" y="217949"/>
                    <a:pt x="244406" y="214170"/>
                  </a:cubicBezTo>
                  <a:cubicBezTo>
                    <a:pt x="243146" y="212910"/>
                    <a:pt x="243146" y="211650"/>
                    <a:pt x="241886" y="210390"/>
                  </a:cubicBezTo>
                  <a:lnTo>
                    <a:pt x="241886" y="210390"/>
                  </a:lnTo>
                  <a:cubicBezTo>
                    <a:pt x="240626" y="209131"/>
                    <a:pt x="240626" y="207871"/>
                    <a:pt x="239366" y="206611"/>
                  </a:cubicBezTo>
                  <a:lnTo>
                    <a:pt x="239366" y="205351"/>
                  </a:lnTo>
                  <a:cubicBezTo>
                    <a:pt x="238107" y="201572"/>
                    <a:pt x="235587" y="197792"/>
                    <a:pt x="234327" y="194013"/>
                  </a:cubicBezTo>
                  <a:cubicBezTo>
                    <a:pt x="234327" y="194013"/>
                    <a:pt x="234327" y="192753"/>
                    <a:pt x="233067" y="192753"/>
                  </a:cubicBezTo>
                  <a:lnTo>
                    <a:pt x="231807" y="194013"/>
                  </a:lnTo>
                  <a:lnTo>
                    <a:pt x="230548" y="195273"/>
                  </a:lnTo>
                  <a:cubicBezTo>
                    <a:pt x="229288" y="196533"/>
                    <a:pt x="228028" y="197792"/>
                    <a:pt x="226768" y="200312"/>
                  </a:cubicBezTo>
                  <a:cubicBezTo>
                    <a:pt x="224249" y="202832"/>
                    <a:pt x="221729" y="205351"/>
                    <a:pt x="219209" y="207871"/>
                  </a:cubicBezTo>
                  <a:cubicBezTo>
                    <a:pt x="216690" y="210390"/>
                    <a:pt x="212910" y="212910"/>
                    <a:pt x="210391" y="215430"/>
                  </a:cubicBezTo>
                  <a:cubicBezTo>
                    <a:pt x="204092" y="219209"/>
                    <a:pt x="197792" y="222989"/>
                    <a:pt x="191493" y="226768"/>
                  </a:cubicBezTo>
                  <a:cubicBezTo>
                    <a:pt x="186454" y="229288"/>
                    <a:pt x="180155" y="233067"/>
                    <a:pt x="173856" y="235587"/>
                  </a:cubicBezTo>
                  <a:lnTo>
                    <a:pt x="173856" y="235587"/>
                  </a:lnTo>
                  <a:cubicBezTo>
                    <a:pt x="173856" y="235587"/>
                    <a:pt x="173856" y="235587"/>
                    <a:pt x="172596" y="235587"/>
                  </a:cubicBezTo>
                  <a:lnTo>
                    <a:pt x="17259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2596" y="235587"/>
                  </a:lnTo>
                  <a:cubicBezTo>
                    <a:pt x="166297" y="238107"/>
                    <a:pt x="159998" y="240626"/>
                    <a:pt x="152439" y="243146"/>
                  </a:cubicBezTo>
                  <a:cubicBezTo>
                    <a:pt x="144880" y="245666"/>
                    <a:pt x="137321" y="246925"/>
                    <a:pt x="131022" y="248185"/>
                  </a:cubicBezTo>
                  <a:cubicBezTo>
                    <a:pt x="123463" y="249445"/>
                    <a:pt x="115904" y="249445"/>
                    <a:pt x="109605" y="249445"/>
                  </a:cubicBezTo>
                  <a:lnTo>
                    <a:pt x="109605" y="249445"/>
                  </a:lnTo>
                  <a:cubicBezTo>
                    <a:pt x="105825" y="249445"/>
                    <a:pt x="100786" y="249445"/>
                    <a:pt x="97007" y="249445"/>
                  </a:cubicBezTo>
                  <a:cubicBezTo>
                    <a:pt x="93227" y="249445"/>
                    <a:pt x="89448" y="248185"/>
                    <a:pt x="86928" y="248185"/>
                  </a:cubicBezTo>
                  <a:cubicBezTo>
                    <a:pt x="85668" y="248185"/>
                    <a:pt x="83148" y="248185"/>
                    <a:pt x="81889" y="246925"/>
                  </a:cubicBezTo>
                  <a:cubicBezTo>
                    <a:pt x="81889" y="246925"/>
                    <a:pt x="80629" y="246925"/>
                    <a:pt x="80629" y="246925"/>
                  </a:cubicBezTo>
                  <a:cubicBezTo>
                    <a:pt x="76849" y="246925"/>
                    <a:pt x="73070" y="246925"/>
                    <a:pt x="69290" y="246925"/>
                  </a:cubicBezTo>
                  <a:cubicBezTo>
                    <a:pt x="68030" y="246925"/>
                    <a:pt x="68030" y="246925"/>
                    <a:pt x="66771" y="246925"/>
                  </a:cubicBezTo>
                  <a:cubicBezTo>
                    <a:pt x="65511" y="246925"/>
                    <a:pt x="64251" y="246925"/>
                    <a:pt x="61731" y="246925"/>
                  </a:cubicBezTo>
                  <a:lnTo>
                    <a:pt x="60472" y="246925"/>
                  </a:lnTo>
                  <a:lnTo>
                    <a:pt x="59212" y="246925"/>
                  </a:lnTo>
                  <a:cubicBezTo>
                    <a:pt x="56692" y="246925"/>
                    <a:pt x="52913" y="245666"/>
                    <a:pt x="50393" y="244406"/>
                  </a:cubicBezTo>
                  <a:cubicBezTo>
                    <a:pt x="44094" y="241886"/>
                    <a:pt x="37795" y="239366"/>
                    <a:pt x="31496" y="235587"/>
                  </a:cubicBezTo>
                  <a:cubicBezTo>
                    <a:pt x="28976" y="234327"/>
                    <a:pt x="27716" y="233067"/>
                    <a:pt x="25196" y="231808"/>
                  </a:cubicBezTo>
                  <a:cubicBezTo>
                    <a:pt x="23937" y="230548"/>
                    <a:pt x="22677" y="229288"/>
                    <a:pt x="22677" y="229288"/>
                  </a:cubicBezTo>
                  <a:lnTo>
                    <a:pt x="22677" y="229288"/>
                  </a:lnTo>
                  <a:cubicBezTo>
                    <a:pt x="21417" y="229288"/>
                    <a:pt x="21417" y="228028"/>
                    <a:pt x="20157" y="228028"/>
                  </a:cubicBezTo>
                  <a:cubicBezTo>
                    <a:pt x="17637" y="225508"/>
                    <a:pt x="16378" y="224249"/>
                    <a:pt x="13858" y="220469"/>
                  </a:cubicBezTo>
                  <a:cubicBezTo>
                    <a:pt x="11338" y="217949"/>
                    <a:pt x="10079" y="215430"/>
                    <a:pt x="8819" y="212910"/>
                  </a:cubicBezTo>
                  <a:cubicBezTo>
                    <a:pt x="6299" y="209131"/>
                    <a:pt x="3780" y="204091"/>
                    <a:pt x="2520" y="197792"/>
                  </a:cubicBezTo>
                  <a:cubicBezTo>
                    <a:pt x="1260" y="192753"/>
                    <a:pt x="1260" y="188974"/>
                    <a:pt x="0" y="185194"/>
                  </a:cubicBezTo>
                  <a:lnTo>
                    <a:pt x="0" y="183934"/>
                  </a:lnTo>
                  <a:cubicBezTo>
                    <a:pt x="0" y="182674"/>
                    <a:pt x="0" y="181415"/>
                    <a:pt x="0" y="180155"/>
                  </a:cubicBezTo>
                  <a:lnTo>
                    <a:pt x="0" y="178895"/>
                  </a:lnTo>
                  <a:cubicBezTo>
                    <a:pt x="0" y="176375"/>
                    <a:pt x="0" y="172596"/>
                    <a:pt x="0" y="170076"/>
                  </a:cubicBezTo>
                  <a:cubicBezTo>
                    <a:pt x="0" y="170076"/>
                    <a:pt x="0" y="168816"/>
                    <a:pt x="0" y="168816"/>
                  </a:cubicBezTo>
                  <a:lnTo>
                    <a:pt x="0" y="168816"/>
                  </a:lnTo>
                  <a:cubicBezTo>
                    <a:pt x="0" y="167557"/>
                    <a:pt x="0" y="166297"/>
                    <a:pt x="0" y="165037"/>
                  </a:cubicBezTo>
                  <a:lnTo>
                    <a:pt x="0" y="158738"/>
                  </a:lnTo>
                  <a:cubicBezTo>
                    <a:pt x="0" y="154958"/>
                    <a:pt x="1260" y="151179"/>
                    <a:pt x="1260" y="147399"/>
                  </a:cubicBezTo>
                  <a:lnTo>
                    <a:pt x="1260" y="146140"/>
                  </a:lnTo>
                  <a:cubicBezTo>
                    <a:pt x="1260" y="142360"/>
                    <a:pt x="2520" y="139840"/>
                    <a:pt x="2520" y="136061"/>
                  </a:cubicBezTo>
                  <a:cubicBezTo>
                    <a:pt x="3780" y="132281"/>
                    <a:pt x="3780" y="129762"/>
                    <a:pt x="5039" y="125982"/>
                  </a:cubicBezTo>
                  <a:cubicBezTo>
                    <a:pt x="6299" y="122203"/>
                    <a:pt x="7559" y="119683"/>
                    <a:pt x="8819" y="115904"/>
                  </a:cubicBezTo>
                  <a:cubicBezTo>
                    <a:pt x="10079" y="113384"/>
                    <a:pt x="11338" y="110864"/>
                    <a:pt x="13858" y="107085"/>
                  </a:cubicBezTo>
                  <a:cubicBezTo>
                    <a:pt x="17637" y="99526"/>
                    <a:pt x="22677" y="93227"/>
                    <a:pt x="26456" y="88188"/>
                  </a:cubicBezTo>
                  <a:cubicBezTo>
                    <a:pt x="28976" y="84408"/>
                    <a:pt x="30236" y="81889"/>
                    <a:pt x="32755" y="79369"/>
                  </a:cubicBezTo>
                  <a:cubicBezTo>
                    <a:pt x="34015" y="76849"/>
                    <a:pt x="36535" y="74330"/>
                    <a:pt x="39055" y="73070"/>
                  </a:cubicBezTo>
                  <a:lnTo>
                    <a:pt x="39055" y="73070"/>
                  </a:lnTo>
                  <a:lnTo>
                    <a:pt x="39055" y="73070"/>
                  </a:lnTo>
                  <a:cubicBezTo>
                    <a:pt x="41574" y="70550"/>
                    <a:pt x="44094" y="68031"/>
                    <a:pt x="46614" y="65511"/>
                  </a:cubicBezTo>
                  <a:cubicBezTo>
                    <a:pt x="52913" y="60472"/>
                    <a:pt x="59212" y="55432"/>
                    <a:pt x="66771" y="49133"/>
                  </a:cubicBezTo>
                  <a:cubicBezTo>
                    <a:pt x="68030" y="49133"/>
                    <a:pt x="68030" y="47873"/>
                    <a:pt x="69290" y="47873"/>
                  </a:cubicBezTo>
                  <a:cubicBezTo>
                    <a:pt x="70550" y="46614"/>
                    <a:pt x="73070" y="45354"/>
                    <a:pt x="75589" y="42834"/>
                  </a:cubicBezTo>
                  <a:lnTo>
                    <a:pt x="78109" y="41574"/>
                  </a:lnTo>
                  <a:lnTo>
                    <a:pt x="78109" y="41574"/>
                  </a:lnTo>
                  <a:cubicBezTo>
                    <a:pt x="80629" y="40314"/>
                    <a:pt x="81889" y="39055"/>
                    <a:pt x="84408" y="36535"/>
                  </a:cubicBezTo>
                  <a:lnTo>
                    <a:pt x="85668" y="36535"/>
                  </a:lnTo>
                  <a:cubicBezTo>
                    <a:pt x="88188" y="34015"/>
                    <a:pt x="91967" y="32755"/>
                    <a:pt x="94487" y="31496"/>
                  </a:cubicBezTo>
                  <a:cubicBezTo>
                    <a:pt x="98266" y="28976"/>
                    <a:pt x="100786" y="27716"/>
                    <a:pt x="103306" y="26456"/>
                  </a:cubicBezTo>
                  <a:cubicBezTo>
                    <a:pt x="109605" y="23937"/>
                    <a:pt x="117164" y="20157"/>
                    <a:pt x="124722" y="17638"/>
                  </a:cubicBezTo>
                  <a:cubicBezTo>
                    <a:pt x="127242" y="16378"/>
                    <a:pt x="128502" y="16378"/>
                    <a:pt x="131022" y="16378"/>
                  </a:cubicBezTo>
                  <a:lnTo>
                    <a:pt x="132281" y="16378"/>
                  </a:lnTo>
                  <a:cubicBezTo>
                    <a:pt x="133541" y="16378"/>
                    <a:pt x="133541" y="16378"/>
                    <a:pt x="134801" y="15118"/>
                  </a:cubicBezTo>
                  <a:cubicBezTo>
                    <a:pt x="138581" y="13858"/>
                    <a:pt x="142360" y="13858"/>
                    <a:pt x="144880" y="12598"/>
                  </a:cubicBezTo>
                  <a:cubicBezTo>
                    <a:pt x="152439" y="10079"/>
                    <a:pt x="161258" y="10079"/>
                    <a:pt x="168816" y="8819"/>
                  </a:cubicBezTo>
                  <a:cubicBezTo>
                    <a:pt x="171336" y="8819"/>
                    <a:pt x="173856" y="8819"/>
                    <a:pt x="175115" y="8819"/>
                  </a:cubicBezTo>
                  <a:lnTo>
                    <a:pt x="175115" y="8819"/>
                  </a:lnTo>
                  <a:cubicBezTo>
                    <a:pt x="176375" y="8819"/>
                    <a:pt x="176375" y="8819"/>
                    <a:pt x="177635" y="8819"/>
                  </a:cubicBezTo>
                  <a:cubicBezTo>
                    <a:pt x="181414" y="8819"/>
                    <a:pt x="185194" y="8819"/>
                    <a:pt x="187714" y="8819"/>
                  </a:cubicBezTo>
                  <a:cubicBezTo>
                    <a:pt x="194013" y="0"/>
                    <a:pt x="197792" y="0"/>
                    <a:pt x="200312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/>
            <p:cNvSpPr/>
            <p:nvPr/>
          </p:nvSpPr>
          <p:spPr>
            <a:xfrm>
              <a:off x="9868258" y="3280482"/>
              <a:ext cx="34321" cy="42902"/>
            </a:xfrm>
            <a:custGeom>
              <a:avLst/>
              <a:gdLst>
                <a:gd name="connsiteX0" fmla="*/ 7559 w 50392"/>
                <a:gd name="connsiteY0" fmla="*/ 1260 h 62991"/>
                <a:gd name="connsiteX1" fmla="*/ 23937 w 50392"/>
                <a:gd name="connsiteY1" fmla="*/ 13858 h 62991"/>
                <a:gd name="connsiteX2" fmla="*/ 31496 w 50392"/>
                <a:gd name="connsiteY2" fmla="*/ 18897 h 62991"/>
                <a:gd name="connsiteX3" fmla="*/ 39055 w 50392"/>
                <a:gd name="connsiteY3" fmla="*/ 25196 h 62991"/>
                <a:gd name="connsiteX4" fmla="*/ 45354 w 50392"/>
                <a:gd name="connsiteY4" fmla="*/ 31496 h 62991"/>
                <a:gd name="connsiteX5" fmla="*/ 50393 w 50392"/>
                <a:gd name="connsiteY5" fmla="*/ 37795 h 62991"/>
                <a:gd name="connsiteX6" fmla="*/ 55432 w 50392"/>
                <a:gd name="connsiteY6" fmla="*/ 45354 h 62991"/>
                <a:gd name="connsiteX7" fmla="*/ 59212 w 50392"/>
                <a:gd name="connsiteY7" fmla="*/ 54172 h 62991"/>
                <a:gd name="connsiteX8" fmla="*/ 61731 w 50392"/>
                <a:gd name="connsiteY8" fmla="*/ 62991 h 62991"/>
                <a:gd name="connsiteX9" fmla="*/ 61731 w 50392"/>
                <a:gd name="connsiteY9" fmla="*/ 64251 h 62991"/>
                <a:gd name="connsiteX10" fmla="*/ 61731 w 50392"/>
                <a:gd name="connsiteY10" fmla="*/ 65511 h 62991"/>
                <a:gd name="connsiteX11" fmla="*/ 60471 w 50392"/>
                <a:gd name="connsiteY11" fmla="*/ 68030 h 62991"/>
                <a:gd name="connsiteX12" fmla="*/ 57952 w 50392"/>
                <a:gd name="connsiteY12" fmla="*/ 70550 h 62991"/>
                <a:gd name="connsiteX13" fmla="*/ 51653 w 50392"/>
                <a:gd name="connsiteY13" fmla="*/ 66771 h 62991"/>
                <a:gd name="connsiteX14" fmla="*/ 49133 w 50392"/>
                <a:gd name="connsiteY14" fmla="*/ 60472 h 62991"/>
                <a:gd name="connsiteX15" fmla="*/ 44094 w 50392"/>
                <a:gd name="connsiteY15" fmla="*/ 50393 h 62991"/>
                <a:gd name="connsiteX16" fmla="*/ 36535 w 50392"/>
                <a:gd name="connsiteY16" fmla="*/ 39055 h 62991"/>
                <a:gd name="connsiteX17" fmla="*/ 20157 w 50392"/>
                <a:gd name="connsiteY17" fmla="*/ 23937 h 62991"/>
                <a:gd name="connsiteX18" fmla="*/ 1260 w 50392"/>
                <a:gd name="connsiteY18" fmla="*/ 8819 h 62991"/>
                <a:gd name="connsiteX19" fmla="*/ 0 w 50392"/>
                <a:gd name="connsiteY19" fmla="*/ 5039 h 62991"/>
                <a:gd name="connsiteX20" fmla="*/ 1260 w 50392"/>
                <a:gd name="connsiteY20" fmla="*/ 1260 h 62991"/>
                <a:gd name="connsiteX21" fmla="*/ 5039 w 50392"/>
                <a:gd name="connsiteY21" fmla="*/ 0 h 62991"/>
                <a:gd name="connsiteX22" fmla="*/ 6299 w 50392"/>
                <a:gd name="connsiteY22" fmla="*/ 0 h 62991"/>
                <a:gd name="connsiteX23" fmla="*/ 7559 w 50392"/>
                <a:gd name="connsiteY23" fmla="*/ 126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7559" y="1260"/>
                  </a:moveTo>
                  <a:cubicBezTo>
                    <a:pt x="12598" y="5039"/>
                    <a:pt x="18897" y="10079"/>
                    <a:pt x="23937" y="13858"/>
                  </a:cubicBezTo>
                  <a:cubicBezTo>
                    <a:pt x="26456" y="15118"/>
                    <a:pt x="28976" y="17637"/>
                    <a:pt x="31496" y="18897"/>
                  </a:cubicBezTo>
                  <a:cubicBezTo>
                    <a:pt x="34015" y="21417"/>
                    <a:pt x="36535" y="22677"/>
                    <a:pt x="39055" y="25196"/>
                  </a:cubicBezTo>
                  <a:cubicBezTo>
                    <a:pt x="41574" y="27716"/>
                    <a:pt x="44094" y="28976"/>
                    <a:pt x="45354" y="31496"/>
                  </a:cubicBezTo>
                  <a:cubicBezTo>
                    <a:pt x="46614" y="32755"/>
                    <a:pt x="47873" y="35275"/>
                    <a:pt x="50393" y="37795"/>
                  </a:cubicBezTo>
                  <a:cubicBezTo>
                    <a:pt x="51653" y="40314"/>
                    <a:pt x="54172" y="42834"/>
                    <a:pt x="55432" y="45354"/>
                  </a:cubicBezTo>
                  <a:cubicBezTo>
                    <a:pt x="56692" y="47873"/>
                    <a:pt x="57952" y="51653"/>
                    <a:pt x="59212" y="54172"/>
                  </a:cubicBezTo>
                  <a:cubicBezTo>
                    <a:pt x="60471" y="56692"/>
                    <a:pt x="60471" y="60472"/>
                    <a:pt x="61731" y="62991"/>
                  </a:cubicBezTo>
                  <a:cubicBezTo>
                    <a:pt x="61731" y="62991"/>
                    <a:pt x="61731" y="62991"/>
                    <a:pt x="61731" y="64251"/>
                  </a:cubicBezTo>
                  <a:cubicBezTo>
                    <a:pt x="61731" y="64251"/>
                    <a:pt x="61731" y="65511"/>
                    <a:pt x="61731" y="65511"/>
                  </a:cubicBezTo>
                  <a:cubicBezTo>
                    <a:pt x="61731" y="66771"/>
                    <a:pt x="61731" y="66771"/>
                    <a:pt x="60471" y="68030"/>
                  </a:cubicBezTo>
                  <a:cubicBezTo>
                    <a:pt x="59212" y="69290"/>
                    <a:pt x="59212" y="70550"/>
                    <a:pt x="57952" y="70550"/>
                  </a:cubicBezTo>
                  <a:cubicBezTo>
                    <a:pt x="55432" y="71810"/>
                    <a:pt x="51653" y="69290"/>
                    <a:pt x="51653" y="66771"/>
                  </a:cubicBezTo>
                  <a:cubicBezTo>
                    <a:pt x="50393" y="64251"/>
                    <a:pt x="50393" y="62991"/>
                    <a:pt x="49133" y="60472"/>
                  </a:cubicBezTo>
                  <a:cubicBezTo>
                    <a:pt x="47873" y="56692"/>
                    <a:pt x="45354" y="54172"/>
                    <a:pt x="44094" y="50393"/>
                  </a:cubicBezTo>
                  <a:cubicBezTo>
                    <a:pt x="41574" y="46613"/>
                    <a:pt x="39055" y="42834"/>
                    <a:pt x="36535" y="39055"/>
                  </a:cubicBezTo>
                  <a:cubicBezTo>
                    <a:pt x="31496" y="34015"/>
                    <a:pt x="25196" y="28976"/>
                    <a:pt x="20157" y="23937"/>
                  </a:cubicBezTo>
                  <a:cubicBezTo>
                    <a:pt x="13858" y="18897"/>
                    <a:pt x="7559" y="13858"/>
                    <a:pt x="1260" y="8819"/>
                  </a:cubicBezTo>
                  <a:cubicBezTo>
                    <a:pt x="0" y="7559"/>
                    <a:pt x="0" y="6299"/>
                    <a:pt x="0" y="5039"/>
                  </a:cubicBezTo>
                  <a:cubicBezTo>
                    <a:pt x="0" y="3779"/>
                    <a:pt x="0" y="2520"/>
                    <a:pt x="1260" y="1260"/>
                  </a:cubicBezTo>
                  <a:cubicBezTo>
                    <a:pt x="2520" y="0"/>
                    <a:pt x="3779" y="0"/>
                    <a:pt x="5039" y="0"/>
                  </a:cubicBezTo>
                  <a:cubicBezTo>
                    <a:pt x="5039" y="0"/>
                    <a:pt x="5039" y="0"/>
                    <a:pt x="6299" y="0"/>
                  </a:cubicBezTo>
                  <a:cubicBezTo>
                    <a:pt x="5039" y="0"/>
                    <a:pt x="6299" y="0"/>
                    <a:pt x="7559" y="126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/>
            <p:cNvSpPr/>
            <p:nvPr/>
          </p:nvSpPr>
          <p:spPr>
            <a:xfrm>
              <a:off x="9850239" y="3367144"/>
              <a:ext cx="94384" cy="94384"/>
            </a:xfrm>
            <a:custGeom>
              <a:avLst/>
              <a:gdLst>
                <a:gd name="connsiteX0" fmla="*/ 15118 w 138580"/>
                <a:gd name="connsiteY0" fmla="*/ 0 h 138580"/>
                <a:gd name="connsiteX1" fmla="*/ 15118 w 138580"/>
                <a:gd name="connsiteY1" fmla="*/ 0 h 138580"/>
                <a:gd name="connsiteX2" fmla="*/ 8819 w 138580"/>
                <a:gd name="connsiteY2" fmla="*/ 1260 h 138580"/>
                <a:gd name="connsiteX3" fmla="*/ 5039 w 138580"/>
                <a:gd name="connsiteY3" fmla="*/ 6299 h 138580"/>
                <a:gd name="connsiteX4" fmla="*/ 2520 w 138580"/>
                <a:gd name="connsiteY4" fmla="*/ 15118 h 138580"/>
                <a:gd name="connsiteX5" fmla="*/ 1260 w 138580"/>
                <a:gd name="connsiteY5" fmla="*/ 22677 h 138580"/>
                <a:gd name="connsiteX6" fmla="*/ 0 w 138580"/>
                <a:gd name="connsiteY6" fmla="*/ 35275 h 138580"/>
                <a:gd name="connsiteX7" fmla="*/ 1260 w 138580"/>
                <a:gd name="connsiteY7" fmla="*/ 46614 h 138580"/>
                <a:gd name="connsiteX8" fmla="*/ 3780 w 138580"/>
                <a:gd name="connsiteY8" fmla="*/ 56692 h 138580"/>
                <a:gd name="connsiteX9" fmla="*/ 8819 w 138580"/>
                <a:gd name="connsiteY9" fmla="*/ 68031 h 138580"/>
                <a:gd name="connsiteX10" fmla="*/ 20157 w 138580"/>
                <a:gd name="connsiteY10" fmla="*/ 84408 h 138580"/>
                <a:gd name="connsiteX11" fmla="*/ 35275 w 138580"/>
                <a:gd name="connsiteY11" fmla="*/ 103306 h 138580"/>
                <a:gd name="connsiteX12" fmla="*/ 42834 w 138580"/>
                <a:gd name="connsiteY12" fmla="*/ 110864 h 138580"/>
                <a:gd name="connsiteX13" fmla="*/ 52913 w 138580"/>
                <a:gd name="connsiteY13" fmla="*/ 118424 h 138580"/>
                <a:gd name="connsiteX14" fmla="*/ 71810 w 138580"/>
                <a:gd name="connsiteY14" fmla="*/ 129762 h 138580"/>
                <a:gd name="connsiteX15" fmla="*/ 83148 w 138580"/>
                <a:gd name="connsiteY15" fmla="*/ 134801 h 138580"/>
                <a:gd name="connsiteX16" fmla="*/ 93227 w 138580"/>
                <a:gd name="connsiteY16" fmla="*/ 137321 h 138580"/>
                <a:gd name="connsiteX17" fmla="*/ 109605 w 138580"/>
                <a:gd name="connsiteY17" fmla="*/ 138581 h 138580"/>
                <a:gd name="connsiteX18" fmla="*/ 115904 w 138580"/>
                <a:gd name="connsiteY18" fmla="*/ 138581 h 138580"/>
                <a:gd name="connsiteX19" fmla="*/ 123463 w 138580"/>
                <a:gd name="connsiteY19" fmla="*/ 139840 h 138580"/>
                <a:gd name="connsiteX20" fmla="*/ 125982 w 138580"/>
                <a:gd name="connsiteY20" fmla="*/ 139840 h 138580"/>
                <a:gd name="connsiteX21" fmla="*/ 131022 w 138580"/>
                <a:gd name="connsiteY21" fmla="*/ 139840 h 138580"/>
                <a:gd name="connsiteX22" fmla="*/ 136061 w 138580"/>
                <a:gd name="connsiteY22" fmla="*/ 138581 h 138580"/>
                <a:gd name="connsiteX23" fmla="*/ 142360 w 138580"/>
                <a:gd name="connsiteY23" fmla="*/ 132281 h 138580"/>
                <a:gd name="connsiteX24" fmla="*/ 143620 w 138580"/>
                <a:gd name="connsiteY24" fmla="*/ 124723 h 138580"/>
                <a:gd name="connsiteX25" fmla="*/ 141100 w 138580"/>
                <a:gd name="connsiteY25" fmla="*/ 120943 h 138580"/>
                <a:gd name="connsiteX26" fmla="*/ 133541 w 138580"/>
                <a:gd name="connsiteY26" fmla="*/ 118424 h 138580"/>
                <a:gd name="connsiteX27" fmla="*/ 128502 w 138580"/>
                <a:gd name="connsiteY27" fmla="*/ 118424 h 138580"/>
                <a:gd name="connsiteX28" fmla="*/ 118423 w 138580"/>
                <a:gd name="connsiteY28" fmla="*/ 117164 h 138580"/>
                <a:gd name="connsiteX29" fmla="*/ 109605 w 138580"/>
                <a:gd name="connsiteY29" fmla="*/ 115904 h 138580"/>
                <a:gd name="connsiteX30" fmla="*/ 104566 w 138580"/>
                <a:gd name="connsiteY30" fmla="*/ 115904 h 138580"/>
                <a:gd name="connsiteX31" fmla="*/ 89448 w 138580"/>
                <a:gd name="connsiteY31" fmla="*/ 113384 h 138580"/>
                <a:gd name="connsiteX32" fmla="*/ 76849 w 138580"/>
                <a:gd name="connsiteY32" fmla="*/ 107085 h 138580"/>
                <a:gd name="connsiteX33" fmla="*/ 70550 w 138580"/>
                <a:gd name="connsiteY33" fmla="*/ 103306 h 138580"/>
                <a:gd name="connsiteX34" fmla="*/ 64251 w 138580"/>
                <a:gd name="connsiteY34" fmla="*/ 99526 h 138580"/>
                <a:gd name="connsiteX35" fmla="*/ 57952 w 138580"/>
                <a:gd name="connsiteY35" fmla="*/ 94487 h 138580"/>
                <a:gd name="connsiteX36" fmla="*/ 51653 w 138580"/>
                <a:gd name="connsiteY36" fmla="*/ 88188 h 138580"/>
                <a:gd name="connsiteX37" fmla="*/ 40314 w 138580"/>
                <a:gd name="connsiteY37" fmla="*/ 75589 h 138580"/>
                <a:gd name="connsiteX38" fmla="*/ 23937 w 138580"/>
                <a:gd name="connsiteY38" fmla="*/ 52913 h 138580"/>
                <a:gd name="connsiteX39" fmla="*/ 21417 w 138580"/>
                <a:gd name="connsiteY39" fmla="*/ 45354 h 138580"/>
                <a:gd name="connsiteX40" fmla="*/ 18897 w 138580"/>
                <a:gd name="connsiteY40" fmla="*/ 37795 h 138580"/>
                <a:gd name="connsiteX41" fmla="*/ 18897 w 138580"/>
                <a:gd name="connsiteY41" fmla="*/ 20157 h 138580"/>
                <a:gd name="connsiteX42" fmla="*/ 20157 w 138580"/>
                <a:gd name="connsiteY42" fmla="*/ 15118 h 138580"/>
                <a:gd name="connsiteX43" fmla="*/ 21417 w 138580"/>
                <a:gd name="connsiteY43" fmla="*/ 8819 h 138580"/>
                <a:gd name="connsiteX44" fmla="*/ 15118 w 138580"/>
                <a:gd name="connsiteY44" fmla="*/ 0 h 138580"/>
                <a:gd name="connsiteX45" fmla="*/ 133541 w 138580"/>
                <a:gd name="connsiteY45" fmla="*/ 119683 h 138580"/>
                <a:gd name="connsiteX46" fmla="*/ 133541 w 138580"/>
                <a:gd name="connsiteY46" fmla="*/ 119683 h 138580"/>
                <a:gd name="connsiteX47" fmla="*/ 133541 w 138580"/>
                <a:gd name="connsiteY47" fmla="*/ 119683 h 138580"/>
                <a:gd name="connsiteX48" fmla="*/ 133541 w 138580"/>
                <a:gd name="connsiteY48" fmla="*/ 119683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8580" h="138580">
                  <a:moveTo>
                    <a:pt x="15118" y="0"/>
                  </a:moveTo>
                  <a:cubicBezTo>
                    <a:pt x="15118" y="0"/>
                    <a:pt x="15118" y="0"/>
                    <a:pt x="15118" y="0"/>
                  </a:cubicBezTo>
                  <a:cubicBezTo>
                    <a:pt x="12598" y="0"/>
                    <a:pt x="10079" y="0"/>
                    <a:pt x="8819" y="1260"/>
                  </a:cubicBezTo>
                  <a:cubicBezTo>
                    <a:pt x="7559" y="2520"/>
                    <a:pt x="6299" y="3780"/>
                    <a:pt x="5039" y="6299"/>
                  </a:cubicBezTo>
                  <a:cubicBezTo>
                    <a:pt x="3780" y="8819"/>
                    <a:pt x="3780" y="11339"/>
                    <a:pt x="2520" y="15118"/>
                  </a:cubicBezTo>
                  <a:cubicBezTo>
                    <a:pt x="1260" y="17638"/>
                    <a:pt x="1260" y="20157"/>
                    <a:pt x="1260" y="22677"/>
                  </a:cubicBezTo>
                  <a:cubicBezTo>
                    <a:pt x="1260" y="26456"/>
                    <a:pt x="1260" y="31496"/>
                    <a:pt x="0" y="35275"/>
                  </a:cubicBezTo>
                  <a:cubicBezTo>
                    <a:pt x="0" y="39055"/>
                    <a:pt x="0" y="42834"/>
                    <a:pt x="1260" y="46614"/>
                  </a:cubicBezTo>
                  <a:cubicBezTo>
                    <a:pt x="2520" y="50393"/>
                    <a:pt x="2520" y="54172"/>
                    <a:pt x="3780" y="56692"/>
                  </a:cubicBezTo>
                  <a:cubicBezTo>
                    <a:pt x="5039" y="60472"/>
                    <a:pt x="6299" y="64251"/>
                    <a:pt x="8819" y="68031"/>
                  </a:cubicBezTo>
                  <a:cubicBezTo>
                    <a:pt x="12598" y="74330"/>
                    <a:pt x="16378" y="79369"/>
                    <a:pt x="20157" y="84408"/>
                  </a:cubicBezTo>
                  <a:cubicBezTo>
                    <a:pt x="25196" y="90707"/>
                    <a:pt x="30236" y="97007"/>
                    <a:pt x="35275" y="103306"/>
                  </a:cubicBezTo>
                  <a:cubicBezTo>
                    <a:pt x="37795" y="105825"/>
                    <a:pt x="40314" y="108345"/>
                    <a:pt x="42834" y="110864"/>
                  </a:cubicBezTo>
                  <a:cubicBezTo>
                    <a:pt x="46614" y="113384"/>
                    <a:pt x="49133" y="115904"/>
                    <a:pt x="52913" y="118424"/>
                  </a:cubicBezTo>
                  <a:cubicBezTo>
                    <a:pt x="59212" y="122203"/>
                    <a:pt x="65511" y="125982"/>
                    <a:pt x="71810" y="129762"/>
                  </a:cubicBezTo>
                  <a:cubicBezTo>
                    <a:pt x="75589" y="131022"/>
                    <a:pt x="79369" y="133541"/>
                    <a:pt x="83148" y="134801"/>
                  </a:cubicBezTo>
                  <a:cubicBezTo>
                    <a:pt x="86928" y="136061"/>
                    <a:pt x="90707" y="137321"/>
                    <a:pt x="93227" y="137321"/>
                  </a:cubicBezTo>
                  <a:cubicBezTo>
                    <a:pt x="98266" y="138581"/>
                    <a:pt x="104566" y="138581"/>
                    <a:pt x="109605" y="138581"/>
                  </a:cubicBezTo>
                  <a:cubicBezTo>
                    <a:pt x="112124" y="138581"/>
                    <a:pt x="113384" y="138581"/>
                    <a:pt x="115904" y="138581"/>
                  </a:cubicBezTo>
                  <a:cubicBezTo>
                    <a:pt x="118423" y="138581"/>
                    <a:pt x="120943" y="138581"/>
                    <a:pt x="123463" y="139840"/>
                  </a:cubicBezTo>
                  <a:cubicBezTo>
                    <a:pt x="124722" y="139840"/>
                    <a:pt x="124722" y="139840"/>
                    <a:pt x="125982" y="139840"/>
                  </a:cubicBezTo>
                  <a:cubicBezTo>
                    <a:pt x="127242" y="139840"/>
                    <a:pt x="129762" y="139840"/>
                    <a:pt x="131022" y="139840"/>
                  </a:cubicBezTo>
                  <a:cubicBezTo>
                    <a:pt x="132281" y="139840"/>
                    <a:pt x="133541" y="139840"/>
                    <a:pt x="136061" y="138581"/>
                  </a:cubicBezTo>
                  <a:cubicBezTo>
                    <a:pt x="138581" y="137321"/>
                    <a:pt x="141100" y="136061"/>
                    <a:pt x="142360" y="132281"/>
                  </a:cubicBezTo>
                  <a:cubicBezTo>
                    <a:pt x="143620" y="129762"/>
                    <a:pt x="143620" y="127242"/>
                    <a:pt x="143620" y="124723"/>
                  </a:cubicBezTo>
                  <a:cubicBezTo>
                    <a:pt x="143620" y="123463"/>
                    <a:pt x="142360" y="122203"/>
                    <a:pt x="141100" y="120943"/>
                  </a:cubicBezTo>
                  <a:cubicBezTo>
                    <a:pt x="138581" y="118424"/>
                    <a:pt x="136061" y="118424"/>
                    <a:pt x="133541" y="118424"/>
                  </a:cubicBezTo>
                  <a:cubicBezTo>
                    <a:pt x="132281" y="118424"/>
                    <a:pt x="131022" y="118424"/>
                    <a:pt x="128502" y="118424"/>
                  </a:cubicBezTo>
                  <a:cubicBezTo>
                    <a:pt x="124722" y="118424"/>
                    <a:pt x="122203" y="117164"/>
                    <a:pt x="118423" y="117164"/>
                  </a:cubicBezTo>
                  <a:cubicBezTo>
                    <a:pt x="115904" y="117164"/>
                    <a:pt x="112124" y="117164"/>
                    <a:pt x="109605" y="115904"/>
                  </a:cubicBezTo>
                  <a:cubicBezTo>
                    <a:pt x="108345" y="115904"/>
                    <a:pt x="105825" y="115904"/>
                    <a:pt x="104566" y="115904"/>
                  </a:cubicBezTo>
                  <a:cubicBezTo>
                    <a:pt x="99526" y="114644"/>
                    <a:pt x="94487" y="114644"/>
                    <a:pt x="89448" y="113384"/>
                  </a:cubicBezTo>
                  <a:cubicBezTo>
                    <a:pt x="84408" y="112124"/>
                    <a:pt x="80629" y="109605"/>
                    <a:pt x="76849" y="107085"/>
                  </a:cubicBezTo>
                  <a:cubicBezTo>
                    <a:pt x="74329" y="105825"/>
                    <a:pt x="71810" y="104565"/>
                    <a:pt x="70550" y="103306"/>
                  </a:cubicBezTo>
                  <a:cubicBezTo>
                    <a:pt x="68030" y="102046"/>
                    <a:pt x="66771" y="100786"/>
                    <a:pt x="64251" y="99526"/>
                  </a:cubicBezTo>
                  <a:cubicBezTo>
                    <a:pt x="61731" y="98266"/>
                    <a:pt x="60472" y="97007"/>
                    <a:pt x="57952" y="94487"/>
                  </a:cubicBezTo>
                  <a:cubicBezTo>
                    <a:pt x="55432" y="91967"/>
                    <a:pt x="52913" y="90707"/>
                    <a:pt x="51653" y="88188"/>
                  </a:cubicBezTo>
                  <a:cubicBezTo>
                    <a:pt x="47874" y="84408"/>
                    <a:pt x="44094" y="80629"/>
                    <a:pt x="40314" y="75589"/>
                  </a:cubicBezTo>
                  <a:cubicBezTo>
                    <a:pt x="34015" y="68031"/>
                    <a:pt x="28976" y="60472"/>
                    <a:pt x="23937" y="52913"/>
                  </a:cubicBezTo>
                  <a:cubicBezTo>
                    <a:pt x="22677" y="50393"/>
                    <a:pt x="21417" y="47873"/>
                    <a:pt x="21417" y="45354"/>
                  </a:cubicBezTo>
                  <a:cubicBezTo>
                    <a:pt x="20157" y="42834"/>
                    <a:pt x="20157" y="40315"/>
                    <a:pt x="18897" y="37795"/>
                  </a:cubicBezTo>
                  <a:cubicBezTo>
                    <a:pt x="17637" y="31496"/>
                    <a:pt x="17637" y="25196"/>
                    <a:pt x="18897" y="20157"/>
                  </a:cubicBezTo>
                  <a:cubicBezTo>
                    <a:pt x="18897" y="18897"/>
                    <a:pt x="18897" y="16378"/>
                    <a:pt x="20157" y="15118"/>
                  </a:cubicBezTo>
                  <a:cubicBezTo>
                    <a:pt x="21417" y="12598"/>
                    <a:pt x="21417" y="11339"/>
                    <a:pt x="21417" y="8819"/>
                  </a:cubicBezTo>
                  <a:cubicBezTo>
                    <a:pt x="22677" y="5039"/>
                    <a:pt x="18897" y="1260"/>
                    <a:pt x="15118" y="0"/>
                  </a:cubicBezTo>
                  <a:moveTo>
                    <a:pt x="133541" y="119683"/>
                  </a:moveTo>
                  <a:cubicBezTo>
                    <a:pt x="133541" y="119683"/>
                    <a:pt x="133541" y="119683"/>
                    <a:pt x="133541" y="119683"/>
                  </a:cubicBezTo>
                  <a:lnTo>
                    <a:pt x="133541" y="119683"/>
                  </a:lnTo>
                  <a:cubicBezTo>
                    <a:pt x="133541" y="119683"/>
                    <a:pt x="133541" y="119683"/>
                    <a:pt x="133541" y="11968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/>
            <p:cNvSpPr/>
            <p:nvPr/>
          </p:nvSpPr>
          <p:spPr>
            <a:xfrm>
              <a:off x="9871905" y="3407471"/>
              <a:ext cx="68643" cy="51482"/>
            </a:xfrm>
            <a:custGeom>
              <a:avLst/>
              <a:gdLst>
                <a:gd name="connsiteX0" fmla="*/ 12283 w 100785"/>
                <a:gd name="connsiteY0" fmla="*/ 0 h 75589"/>
                <a:gd name="connsiteX1" fmla="*/ 16063 w 100785"/>
                <a:gd name="connsiteY1" fmla="*/ 1260 h 75589"/>
                <a:gd name="connsiteX2" fmla="*/ 23622 w 100785"/>
                <a:gd name="connsiteY2" fmla="*/ 5039 h 75589"/>
                <a:gd name="connsiteX3" fmla="*/ 31181 w 100785"/>
                <a:gd name="connsiteY3" fmla="*/ 16378 h 75589"/>
                <a:gd name="connsiteX4" fmla="*/ 42519 w 100785"/>
                <a:gd name="connsiteY4" fmla="*/ 26456 h 75589"/>
                <a:gd name="connsiteX5" fmla="*/ 53858 w 100785"/>
                <a:gd name="connsiteY5" fmla="*/ 35275 h 75589"/>
                <a:gd name="connsiteX6" fmla="*/ 56377 w 100785"/>
                <a:gd name="connsiteY6" fmla="*/ 37795 h 75589"/>
                <a:gd name="connsiteX7" fmla="*/ 65196 w 100785"/>
                <a:gd name="connsiteY7" fmla="*/ 41574 h 75589"/>
                <a:gd name="connsiteX8" fmla="*/ 76534 w 100785"/>
                <a:gd name="connsiteY8" fmla="*/ 47873 h 75589"/>
                <a:gd name="connsiteX9" fmla="*/ 82833 w 100785"/>
                <a:gd name="connsiteY9" fmla="*/ 51653 h 75589"/>
                <a:gd name="connsiteX10" fmla="*/ 91652 w 100785"/>
                <a:gd name="connsiteY10" fmla="*/ 56692 h 75589"/>
                <a:gd name="connsiteX11" fmla="*/ 100471 w 100785"/>
                <a:gd name="connsiteY11" fmla="*/ 57952 h 75589"/>
                <a:gd name="connsiteX12" fmla="*/ 106770 w 100785"/>
                <a:gd name="connsiteY12" fmla="*/ 61731 h 75589"/>
                <a:gd name="connsiteX13" fmla="*/ 108030 w 100785"/>
                <a:gd name="connsiteY13" fmla="*/ 69290 h 75589"/>
                <a:gd name="connsiteX14" fmla="*/ 104251 w 100785"/>
                <a:gd name="connsiteY14" fmla="*/ 75589 h 75589"/>
                <a:gd name="connsiteX15" fmla="*/ 101731 w 100785"/>
                <a:gd name="connsiteY15" fmla="*/ 76849 h 75589"/>
                <a:gd name="connsiteX16" fmla="*/ 96692 w 100785"/>
                <a:gd name="connsiteY16" fmla="*/ 76849 h 75589"/>
                <a:gd name="connsiteX17" fmla="*/ 90392 w 100785"/>
                <a:gd name="connsiteY17" fmla="*/ 75589 h 75589"/>
                <a:gd name="connsiteX18" fmla="*/ 77794 w 100785"/>
                <a:gd name="connsiteY18" fmla="*/ 70550 h 75589"/>
                <a:gd name="connsiteX19" fmla="*/ 67715 w 100785"/>
                <a:gd name="connsiteY19" fmla="*/ 65511 h 75589"/>
                <a:gd name="connsiteX20" fmla="*/ 61416 w 100785"/>
                <a:gd name="connsiteY20" fmla="*/ 62991 h 75589"/>
                <a:gd name="connsiteX21" fmla="*/ 52598 w 100785"/>
                <a:gd name="connsiteY21" fmla="*/ 62991 h 75589"/>
                <a:gd name="connsiteX22" fmla="*/ 46299 w 100785"/>
                <a:gd name="connsiteY22" fmla="*/ 59212 h 75589"/>
                <a:gd name="connsiteX23" fmla="*/ 38740 w 100785"/>
                <a:gd name="connsiteY23" fmla="*/ 54172 h 75589"/>
                <a:gd name="connsiteX24" fmla="*/ 36220 w 100785"/>
                <a:gd name="connsiteY24" fmla="*/ 51653 h 75589"/>
                <a:gd name="connsiteX25" fmla="*/ 31181 w 100785"/>
                <a:gd name="connsiteY25" fmla="*/ 49133 h 75589"/>
                <a:gd name="connsiteX26" fmla="*/ 17322 w 100785"/>
                <a:gd name="connsiteY26" fmla="*/ 39054 h 75589"/>
                <a:gd name="connsiteX27" fmla="*/ 2205 w 100785"/>
                <a:gd name="connsiteY27" fmla="*/ 20157 h 75589"/>
                <a:gd name="connsiteX28" fmla="*/ 945 w 100785"/>
                <a:gd name="connsiteY28" fmla="*/ 17637 h 75589"/>
                <a:gd name="connsiteX29" fmla="*/ 945 w 100785"/>
                <a:gd name="connsiteY29" fmla="*/ 10078 h 75589"/>
                <a:gd name="connsiteX30" fmla="*/ 4724 w 100785"/>
                <a:gd name="connsiteY30" fmla="*/ 5039 h 75589"/>
                <a:gd name="connsiteX31" fmla="*/ 11023 w 100785"/>
                <a:gd name="connsiteY31" fmla="*/ 3779 h 75589"/>
                <a:gd name="connsiteX32" fmla="*/ 12283 w 100785"/>
                <a:gd name="connsiteY32" fmla="*/ 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785" h="75589">
                  <a:moveTo>
                    <a:pt x="12283" y="0"/>
                  </a:moveTo>
                  <a:cubicBezTo>
                    <a:pt x="13543" y="0"/>
                    <a:pt x="14803" y="1260"/>
                    <a:pt x="16063" y="1260"/>
                  </a:cubicBezTo>
                  <a:cubicBezTo>
                    <a:pt x="18582" y="1260"/>
                    <a:pt x="22362" y="2520"/>
                    <a:pt x="23622" y="5039"/>
                  </a:cubicBezTo>
                  <a:cubicBezTo>
                    <a:pt x="26141" y="8819"/>
                    <a:pt x="28661" y="12598"/>
                    <a:pt x="31181" y="16378"/>
                  </a:cubicBezTo>
                  <a:cubicBezTo>
                    <a:pt x="34960" y="20157"/>
                    <a:pt x="38740" y="22677"/>
                    <a:pt x="42519" y="26456"/>
                  </a:cubicBezTo>
                  <a:cubicBezTo>
                    <a:pt x="46299" y="28976"/>
                    <a:pt x="50078" y="32755"/>
                    <a:pt x="53858" y="35275"/>
                  </a:cubicBezTo>
                  <a:cubicBezTo>
                    <a:pt x="55117" y="36535"/>
                    <a:pt x="56377" y="36535"/>
                    <a:pt x="56377" y="37795"/>
                  </a:cubicBezTo>
                  <a:cubicBezTo>
                    <a:pt x="58897" y="39054"/>
                    <a:pt x="62676" y="40314"/>
                    <a:pt x="65196" y="41574"/>
                  </a:cubicBezTo>
                  <a:cubicBezTo>
                    <a:pt x="68975" y="44094"/>
                    <a:pt x="72755" y="45354"/>
                    <a:pt x="76534" y="47873"/>
                  </a:cubicBezTo>
                  <a:cubicBezTo>
                    <a:pt x="79054" y="49133"/>
                    <a:pt x="80314" y="50393"/>
                    <a:pt x="82833" y="51653"/>
                  </a:cubicBezTo>
                  <a:cubicBezTo>
                    <a:pt x="85353" y="52913"/>
                    <a:pt x="89133" y="55432"/>
                    <a:pt x="91652" y="56692"/>
                  </a:cubicBezTo>
                  <a:cubicBezTo>
                    <a:pt x="94172" y="57952"/>
                    <a:pt x="96692" y="57952"/>
                    <a:pt x="100471" y="57952"/>
                  </a:cubicBezTo>
                  <a:cubicBezTo>
                    <a:pt x="102991" y="57952"/>
                    <a:pt x="105510" y="60471"/>
                    <a:pt x="106770" y="61731"/>
                  </a:cubicBezTo>
                  <a:cubicBezTo>
                    <a:pt x="108030" y="64251"/>
                    <a:pt x="108030" y="66770"/>
                    <a:pt x="108030" y="69290"/>
                  </a:cubicBezTo>
                  <a:cubicBezTo>
                    <a:pt x="108030" y="71810"/>
                    <a:pt x="105510" y="74330"/>
                    <a:pt x="104251" y="75589"/>
                  </a:cubicBezTo>
                  <a:cubicBezTo>
                    <a:pt x="102991" y="75589"/>
                    <a:pt x="102991" y="76849"/>
                    <a:pt x="101731" y="76849"/>
                  </a:cubicBezTo>
                  <a:cubicBezTo>
                    <a:pt x="100471" y="76849"/>
                    <a:pt x="97951" y="76849"/>
                    <a:pt x="96692" y="76849"/>
                  </a:cubicBezTo>
                  <a:cubicBezTo>
                    <a:pt x="94172" y="76849"/>
                    <a:pt x="92912" y="76849"/>
                    <a:pt x="90392" y="75589"/>
                  </a:cubicBezTo>
                  <a:cubicBezTo>
                    <a:pt x="85353" y="74330"/>
                    <a:pt x="81574" y="73070"/>
                    <a:pt x="77794" y="70550"/>
                  </a:cubicBezTo>
                  <a:cubicBezTo>
                    <a:pt x="74015" y="69290"/>
                    <a:pt x="71495" y="66770"/>
                    <a:pt x="67715" y="65511"/>
                  </a:cubicBezTo>
                  <a:cubicBezTo>
                    <a:pt x="65196" y="64251"/>
                    <a:pt x="63936" y="62991"/>
                    <a:pt x="61416" y="62991"/>
                  </a:cubicBezTo>
                  <a:cubicBezTo>
                    <a:pt x="58897" y="64251"/>
                    <a:pt x="56377" y="64251"/>
                    <a:pt x="52598" y="62991"/>
                  </a:cubicBezTo>
                  <a:cubicBezTo>
                    <a:pt x="50078" y="61731"/>
                    <a:pt x="48818" y="60471"/>
                    <a:pt x="46299" y="59212"/>
                  </a:cubicBezTo>
                  <a:cubicBezTo>
                    <a:pt x="43779" y="57952"/>
                    <a:pt x="41259" y="55432"/>
                    <a:pt x="38740" y="54172"/>
                  </a:cubicBezTo>
                  <a:cubicBezTo>
                    <a:pt x="37480" y="52913"/>
                    <a:pt x="37480" y="52913"/>
                    <a:pt x="36220" y="51653"/>
                  </a:cubicBezTo>
                  <a:cubicBezTo>
                    <a:pt x="33700" y="50393"/>
                    <a:pt x="32441" y="49133"/>
                    <a:pt x="31181" y="49133"/>
                  </a:cubicBezTo>
                  <a:cubicBezTo>
                    <a:pt x="26141" y="46613"/>
                    <a:pt x="21102" y="42834"/>
                    <a:pt x="17322" y="39054"/>
                  </a:cubicBezTo>
                  <a:cubicBezTo>
                    <a:pt x="11023" y="34015"/>
                    <a:pt x="5984" y="27716"/>
                    <a:pt x="2205" y="20157"/>
                  </a:cubicBezTo>
                  <a:cubicBezTo>
                    <a:pt x="2205" y="18897"/>
                    <a:pt x="945" y="17637"/>
                    <a:pt x="945" y="17637"/>
                  </a:cubicBezTo>
                  <a:cubicBezTo>
                    <a:pt x="-315" y="15118"/>
                    <a:pt x="-315" y="12598"/>
                    <a:pt x="945" y="10078"/>
                  </a:cubicBezTo>
                  <a:cubicBezTo>
                    <a:pt x="945" y="7559"/>
                    <a:pt x="3465" y="6299"/>
                    <a:pt x="4724" y="5039"/>
                  </a:cubicBezTo>
                  <a:cubicBezTo>
                    <a:pt x="5984" y="3779"/>
                    <a:pt x="8504" y="3779"/>
                    <a:pt x="11023" y="3779"/>
                  </a:cubicBezTo>
                  <a:cubicBezTo>
                    <a:pt x="11023" y="0"/>
                    <a:pt x="12283" y="0"/>
                    <a:pt x="12283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/>
            <p:cNvSpPr/>
            <p:nvPr/>
          </p:nvSpPr>
          <p:spPr>
            <a:xfrm>
              <a:off x="9490723" y="3601387"/>
              <a:ext cx="660687" cy="531981"/>
            </a:xfrm>
            <a:custGeom>
              <a:avLst/>
              <a:gdLst>
                <a:gd name="connsiteX0" fmla="*/ 151179 w 970063"/>
                <a:gd name="connsiteY0" fmla="*/ 12598 h 781090"/>
                <a:gd name="connsiteX1" fmla="*/ 157478 w 970063"/>
                <a:gd name="connsiteY1" fmla="*/ 22677 h 781090"/>
                <a:gd name="connsiteX2" fmla="*/ 166297 w 970063"/>
                <a:gd name="connsiteY2" fmla="*/ 30236 h 781090"/>
                <a:gd name="connsiteX3" fmla="*/ 173855 w 970063"/>
                <a:gd name="connsiteY3" fmla="*/ 35275 h 781090"/>
                <a:gd name="connsiteX4" fmla="*/ 185194 w 970063"/>
                <a:gd name="connsiteY4" fmla="*/ 40314 h 781090"/>
                <a:gd name="connsiteX5" fmla="*/ 194013 w 970063"/>
                <a:gd name="connsiteY5" fmla="*/ 44094 h 781090"/>
                <a:gd name="connsiteX6" fmla="*/ 204092 w 970063"/>
                <a:gd name="connsiteY6" fmla="*/ 47873 h 781090"/>
                <a:gd name="connsiteX7" fmla="*/ 205351 w 970063"/>
                <a:gd name="connsiteY7" fmla="*/ 47873 h 781090"/>
                <a:gd name="connsiteX8" fmla="*/ 205351 w 970063"/>
                <a:gd name="connsiteY8" fmla="*/ 47873 h 781090"/>
                <a:gd name="connsiteX9" fmla="*/ 216690 w 970063"/>
                <a:gd name="connsiteY9" fmla="*/ 55432 h 781090"/>
                <a:gd name="connsiteX10" fmla="*/ 225508 w 970063"/>
                <a:gd name="connsiteY10" fmla="*/ 60472 h 781090"/>
                <a:gd name="connsiteX11" fmla="*/ 229288 w 970063"/>
                <a:gd name="connsiteY11" fmla="*/ 62991 h 781090"/>
                <a:gd name="connsiteX12" fmla="*/ 234327 w 970063"/>
                <a:gd name="connsiteY12" fmla="*/ 65511 h 781090"/>
                <a:gd name="connsiteX13" fmla="*/ 255744 w 970063"/>
                <a:gd name="connsiteY13" fmla="*/ 75589 h 781090"/>
                <a:gd name="connsiteX14" fmla="*/ 272122 w 970063"/>
                <a:gd name="connsiteY14" fmla="*/ 80629 h 781090"/>
                <a:gd name="connsiteX15" fmla="*/ 287240 w 970063"/>
                <a:gd name="connsiteY15" fmla="*/ 83148 h 781090"/>
                <a:gd name="connsiteX16" fmla="*/ 288499 w 970063"/>
                <a:gd name="connsiteY16" fmla="*/ 83148 h 781090"/>
                <a:gd name="connsiteX17" fmla="*/ 294799 w 970063"/>
                <a:gd name="connsiteY17" fmla="*/ 84408 h 781090"/>
                <a:gd name="connsiteX18" fmla="*/ 301098 w 970063"/>
                <a:gd name="connsiteY18" fmla="*/ 85668 h 781090"/>
                <a:gd name="connsiteX19" fmla="*/ 302358 w 970063"/>
                <a:gd name="connsiteY19" fmla="*/ 85668 h 781090"/>
                <a:gd name="connsiteX20" fmla="*/ 304877 w 970063"/>
                <a:gd name="connsiteY20" fmla="*/ 85668 h 781090"/>
                <a:gd name="connsiteX21" fmla="*/ 312436 w 970063"/>
                <a:gd name="connsiteY21" fmla="*/ 88188 h 781090"/>
                <a:gd name="connsiteX22" fmla="*/ 309917 w 970063"/>
                <a:gd name="connsiteY22" fmla="*/ 86928 h 781090"/>
                <a:gd name="connsiteX23" fmla="*/ 323775 w 970063"/>
                <a:gd name="connsiteY23" fmla="*/ 91967 h 781090"/>
                <a:gd name="connsiteX24" fmla="*/ 330074 w 970063"/>
                <a:gd name="connsiteY24" fmla="*/ 93227 h 781090"/>
                <a:gd name="connsiteX25" fmla="*/ 336373 w 970063"/>
                <a:gd name="connsiteY25" fmla="*/ 94487 h 781090"/>
                <a:gd name="connsiteX26" fmla="*/ 343932 w 970063"/>
                <a:gd name="connsiteY26" fmla="*/ 95747 h 781090"/>
                <a:gd name="connsiteX27" fmla="*/ 354010 w 970063"/>
                <a:gd name="connsiteY27" fmla="*/ 98266 h 781090"/>
                <a:gd name="connsiteX28" fmla="*/ 362829 w 970063"/>
                <a:gd name="connsiteY28" fmla="*/ 100786 h 781090"/>
                <a:gd name="connsiteX29" fmla="*/ 371648 w 970063"/>
                <a:gd name="connsiteY29" fmla="*/ 103305 h 781090"/>
                <a:gd name="connsiteX30" fmla="*/ 379207 w 970063"/>
                <a:gd name="connsiteY30" fmla="*/ 103305 h 781090"/>
                <a:gd name="connsiteX31" fmla="*/ 384246 w 970063"/>
                <a:gd name="connsiteY31" fmla="*/ 103305 h 781090"/>
                <a:gd name="connsiteX32" fmla="*/ 394325 w 970063"/>
                <a:gd name="connsiteY32" fmla="*/ 103305 h 781090"/>
                <a:gd name="connsiteX33" fmla="*/ 415742 w 970063"/>
                <a:gd name="connsiteY33" fmla="*/ 99526 h 781090"/>
                <a:gd name="connsiteX34" fmla="*/ 419521 w 970063"/>
                <a:gd name="connsiteY34" fmla="*/ 98266 h 781090"/>
                <a:gd name="connsiteX35" fmla="*/ 430860 w 970063"/>
                <a:gd name="connsiteY35" fmla="*/ 95747 h 781090"/>
                <a:gd name="connsiteX36" fmla="*/ 439678 w 970063"/>
                <a:gd name="connsiteY36" fmla="*/ 93227 h 781090"/>
                <a:gd name="connsiteX37" fmla="*/ 458576 w 970063"/>
                <a:gd name="connsiteY37" fmla="*/ 86928 h 781090"/>
                <a:gd name="connsiteX38" fmla="*/ 467395 w 970063"/>
                <a:gd name="connsiteY38" fmla="*/ 84408 h 781090"/>
                <a:gd name="connsiteX39" fmla="*/ 474954 w 970063"/>
                <a:gd name="connsiteY39" fmla="*/ 81889 h 781090"/>
                <a:gd name="connsiteX40" fmla="*/ 482512 w 970063"/>
                <a:gd name="connsiteY40" fmla="*/ 78109 h 781090"/>
                <a:gd name="connsiteX41" fmla="*/ 486292 w 970063"/>
                <a:gd name="connsiteY41" fmla="*/ 75589 h 781090"/>
                <a:gd name="connsiteX42" fmla="*/ 486292 w 970063"/>
                <a:gd name="connsiteY42" fmla="*/ 75589 h 781090"/>
                <a:gd name="connsiteX43" fmla="*/ 486292 w 970063"/>
                <a:gd name="connsiteY43" fmla="*/ 75589 h 781090"/>
                <a:gd name="connsiteX44" fmla="*/ 487552 w 970063"/>
                <a:gd name="connsiteY44" fmla="*/ 83148 h 781090"/>
                <a:gd name="connsiteX45" fmla="*/ 490071 w 970063"/>
                <a:gd name="connsiteY45" fmla="*/ 90707 h 781090"/>
                <a:gd name="connsiteX46" fmla="*/ 492591 w 970063"/>
                <a:gd name="connsiteY46" fmla="*/ 97006 h 781090"/>
                <a:gd name="connsiteX47" fmla="*/ 497630 w 970063"/>
                <a:gd name="connsiteY47" fmla="*/ 103305 h 781090"/>
                <a:gd name="connsiteX48" fmla="*/ 503929 w 970063"/>
                <a:gd name="connsiteY48" fmla="*/ 108345 h 781090"/>
                <a:gd name="connsiteX49" fmla="*/ 516528 w 970063"/>
                <a:gd name="connsiteY49" fmla="*/ 114644 h 781090"/>
                <a:gd name="connsiteX50" fmla="*/ 524087 w 970063"/>
                <a:gd name="connsiteY50" fmla="*/ 117164 h 781090"/>
                <a:gd name="connsiteX51" fmla="*/ 531646 w 970063"/>
                <a:gd name="connsiteY51" fmla="*/ 118424 h 781090"/>
                <a:gd name="connsiteX52" fmla="*/ 532905 w 970063"/>
                <a:gd name="connsiteY52" fmla="*/ 118424 h 781090"/>
                <a:gd name="connsiteX53" fmla="*/ 541724 w 970063"/>
                <a:gd name="connsiteY53" fmla="*/ 118424 h 781090"/>
                <a:gd name="connsiteX54" fmla="*/ 551802 w 970063"/>
                <a:gd name="connsiteY54" fmla="*/ 118424 h 781090"/>
                <a:gd name="connsiteX55" fmla="*/ 569440 w 970063"/>
                <a:gd name="connsiteY55" fmla="*/ 113384 h 781090"/>
                <a:gd name="connsiteX56" fmla="*/ 575739 w 970063"/>
                <a:gd name="connsiteY56" fmla="*/ 109605 h 781090"/>
                <a:gd name="connsiteX57" fmla="*/ 576999 w 970063"/>
                <a:gd name="connsiteY57" fmla="*/ 108345 h 781090"/>
                <a:gd name="connsiteX58" fmla="*/ 585818 w 970063"/>
                <a:gd name="connsiteY58" fmla="*/ 103305 h 781090"/>
                <a:gd name="connsiteX59" fmla="*/ 598416 w 970063"/>
                <a:gd name="connsiteY59" fmla="*/ 90707 h 781090"/>
                <a:gd name="connsiteX60" fmla="*/ 603455 w 970063"/>
                <a:gd name="connsiteY60" fmla="*/ 84408 h 781090"/>
                <a:gd name="connsiteX61" fmla="*/ 607235 w 970063"/>
                <a:gd name="connsiteY61" fmla="*/ 75589 h 781090"/>
                <a:gd name="connsiteX62" fmla="*/ 608494 w 970063"/>
                <a:gd name="connsiteY62" fmla="*/ 71810 h 781090"/>
                <a:gd name="connsiteX63" fmla="*/ 608494 w 970063"/>
                <a:gd name="connsiteY63" fmla="*/ 70550 h 781090"/>
                <a:gd name="connsiteX64" fmla="*/ 608494 w 970063"/>
                <a:gd name="connsiteY64" fmla="*/ 66771 h 781090"/>
                <a:gd name="connsiteX65" fmla="*/ 608494 w 970063"/>
                <a:gd name="connsiteY65" fmla="*/ 62991 h 781090"/>
                <a:gd name="connsiteX66" fmla="*/ 608494 w 970063"/>
                <a:gd name="connsiteY66" fmla="*/ 62991 h 781090"/>
                <a:gd name="connsiteX67" fmla="*/ 608494 w 970063"/>
                <a:gd name="connsiteY67" fmla="*/ 62991 h 781090"/>
                <a:gd name="connsiteX68" fmla="*/ 612274 w 970063"/>
                <a:gd name="connsiteY68" fmla="*/ 64251 h 781090"/>
                <a:gd name="connsiteX69" fmla="*/ 612274 w 970063"/>
                <a:gd name="connsiteY69" fmla="*/ 64251 h 781090"/>
                <a:gd name="connsiteX70" fmla="*/ 613534 w 970063"/>
                <a:gd name="connsiteY70" fmla="*/ 64251 h 781090"/>
                <a:gd name="connsiteX71" fmla="*/ 614794 w 970063"/>
                <a:gd name="connsiteY71" fmla="*/ 64251 h 781090"/>
                <a:gd name="connsiteX72" fmla="*/ 616054 w 970063"/>
                <a:gd name="connsiteY72" fmla="*/ 64251 h 781090"/>
                <a:gd name="connsiteX73" fmla="*/ 626132 w 970063"/>
                <a:gd name="connsiteY73" fmla="*/ 66771 h 781090"/>
                <a:gd name="connsiteX74" fmla="*/ 629912 w 970063"/>
                <a:gd name="connsiteY74" fmla="*/ 68031 h 781090"/>
                <a:gd name="connsiteX75" fmla="*/ 631172 w 970063"/>
                <a:gd name="connsiteY75" fmla="*/ 68031 h 781090"/>
                <a:gd name="connsiteX76" fmla="*/ 632431 w 970063"/>
                <a:gd name="connsiteY76" fmla="*/ 68031 h 781090"/>
                <a:gd name="connsiteX77" fmla="*/ 633691 w 970063"/>
                <a:gd name="connsiteY77" fmla="*/ 68031 h 781090"/>
                <a:gd name="connsiteX78" fmla="*/ 639990 w 970063"/>
                <a:gd name="connsiteY78" fmla="*/ 69290 h 781090"/>
                <a:gd name="connsiteX79" fmla="*/ 643770 w 970063"/>
                <a:gd name="connsiteY79" fmla="*/ 69290 h 781090"/>
                <a:gd name="connsiteX80" fmla="*/ 656368 w 970063"/>
                <a:gd name="connsiteY80" fmla="*/ 71810 h 781090"/>
                <a:gd name="connsiteX81" fmla="*/ 668966 w 970063"/>
                <a:gd name="connsiteY81" fmla="*/ 75589 h 781090"/>
                <a:gd name="connsiteX82" fmla="*/ 670226 w 970063"/>
                <a:gd name="connsiteY82" fmla="*/ 75589 h 781090"/>
                <a:gd name="connsiteX83" fmla="*/ 680305 w 970063"/>
                <a:gd name="connsiteY83" fmla="*/ 78109 h 781090"/>
                <a:gd name="connsiteX84" fmla="*/ 702981 w 970063"/>
                <a:gd name="connsiteY84" fmla="*/ 86928 h 781090"/>
                <a:gd name="connsiteX85" fmla="*/ 714320 w 970063"/>
                <a:gd name="connsiteY85" fmla="*/ 93227 h 781090"/>
                <a:gd name="connsiteX86" fmla="*/ 714320 w 970063"/>
                <a:gd name="connsiteY86" fmla="*/ 93227 h 781090"/>
                <a:gd name="connsiteX87" fmla="*/ 721879 w 970063"/>
                <a:gd name="connsiteY87" fmla="*/ 97006 h 781090"/>
                <a:gd name="connsiteX88" fmla="*/ 740776 w 970063"/>
                <a:gd name="connsiteY88" fmla="*/ 107085 h 781090"/>
                <a:gd name="connsiteX89" fmla="*/ 750855 w 970063"/>
                <a:gd name="connsiteY89" fmla="*/ 114644 h 781090"/>
                <a:gd name="connsiteX90" fmla="*/ 758414 w 970063"/>
                <a:gd name="connsiteY90" fmla="*/ 122203 h 781090"/>
                <a:gd name="connsiteX91" fmla="*/ 772272 w 970063"/>
                <a:gd name="connsiteY91" fmla="*/ 137321 h 781090"/>
                <a:gd name="connsiteX92" fmla="*/ 777311 w 970063"/>
                <a:gd name="connsiteY92" fmla="*/ 143620 h 781090"/>
                <a:gd name="connsiteX93" fmla="*/ 783610 w 970063"/>
                <a:gd name="connsiteY93" fmla="*/ 149919 h 781090"/>
                <a:gd name="connsiteX94" fmla="*/ 791169 w 970063"/>
                <a:gd name="connsiteY94" fmla="*/ 157478 h 781090"/>
                <a:gd name="connsiteX95" fmla="*/ 796208 w 970063"/>
                <a:gd name="connsiteY95" fmla="*/ 165037 h 781090"/>
                <a:gd name="connsiteX96" fmla="*/ 808807 w 970063"/>
                <a:gd name="connsiteY96" fmla="*/ 178895 h 781090"/>
                <a:gd name="connsiteX97" fmla="*/ 812586 w 970063"/>
                <a:gd name="connsiteY97" fmla="*/ 183934 h 781090"/>
                <a:gd name="connsiteX98" fmla="*/ 813846 w 970063"/>
                <a:gd name="connsiteY98" fmla="*/ 185194 h 781090"/>
                <a:gd name="connsiteX99" fmla="*/ 815106 w 970063"/>
                <a:gd name="connsiteY99" fmla="*/ 186454 h 781090"/>
                <a:gd name="connsiteX100" fmla="*/ 816365 w 970063"/>
                <a:gd name="connsiteY100" fmla="*/ 187714 h 781090"/>
                <a:gd name="connsiteX101" fmla="*/ 822664 w 970063"/>
                <a:gd name="connsiteY101" fmla="*/ 195273 h 781090"/>
                <a:gd name="connsiteX102" fmla="*/ 834003 w 970063"/>
                <a:gd name="connsiteY102" fmla="*/ 206611 h 781090"/>
                <a:gd name="connsiteX103" fmla="*/ 834003 w 970063"/>
                <a:gd name="connsiteY103" fmla="*/ 206611 h 781090"/>
                <a:gd name="connsiteX104" fmla="*/ 836523 w 970063"/>
                <a:gd name="connsiteY104" fmla="*/ 209131 h 781090"/>
                <a:gd name="connsiteX105" fmla="*/ 837782 w 970063"/>
                <a:gd name="connsiteY105" fmla="*/ 210390 h 781090"/>
                <a:gd name="connsiteX106" fmla="*/ 846601 w 970063"/>
                <a:gd name="connsiteY106" fmla="*/ 220469 h 781090"/>
                <a:gd name="connsiteX107" fmla="*/ 851641 w 970063"/>
                <a:gd name="connsiteY107" fmla="*/ 226768 h 781090"/>
                <a:gd name="connsiteX108" fmla="*/ 861719 w 970063"/>
                <a:gd name="connsiteY108" fmla="*/ 239366 h 781090"/>
                <a:gd name="connsiteX109" fmla="*/ 861719 w 970063"/>
                <a:gd name="connsiteY109" fmla="*/ 239366 h 781090"/>
                <a:gd name="connsiteX110" fmla="*/ 861719 w 970063"/>
                <a:gd name="connsiteY110" fmla="*/ 239366 h 781090"/>
                <a:gd name="connsiteX111" fmla="*/ 865499 w 970063"/>
                <a:gd name="connsiteY111" fmla="*/ 243146 h 781090"/>
                <a:gd name="connsiteX112" fmla="*/ 869278 w 970063"/>
                <a:gd name="connsiteY112" fmla="*/ 246925 h 781090"/>
                <a:gd name="connsiteX113" fmla="*/ 869278 w 970063"/>
                <a:gd name="connsiteY113" fmla="*/ 246925 h 781090"/>
                <a:gd name="connsiteX114" fmla="*/ 869278 w 970063"/>
                <a:gd name="connsiteY114" fmla="*/ 246925 h 781090"/>
                <a:gd name="connsiteX115" fmla="*/ 869278 w 970063"/>
                <a:gd name="connsiteY115" fmla="*/ 246925 h 781090"/>
                <a:gd name="connsiteX116" fmla="*/ 878097 w 970063"/>
                <a:gd name="connsiteY116" fmla="*/ 258264 h 781090"/>
                <a:gd name="connsiteX117" fmla="*/ 888175 w 970063"/>
                <a:gd name="connsiteY117" fmla="*/ 273382 h 781090"/>
                <a:gd name="connsiteX118" fmla="*/ 889435 w 970063"/>
                <a:gd name="connsiteY118" fmla="*/ 274642 h 781090"/>
                <a:gd name="connsiteX119" fmla="*/ 889435 w 970063"/>
                <a:gd name="connsiteY119" fmla="*/ 275901 h 781090"/>
                <a:gd name="connsiteX120" fmla="*/ 890695 w 970063"/>
                <a:gd name="connsiteY120" fmla="*/ 278421 h 781090"/>
                <a:gd name="connsiteX121" fmla="*/ 902034 w 970063"/>
                <a:gd name="connsiteY121" fmla="*/ 294799 h 781090"/>
                <a:gd name="connsiteX122" fmla="*/ 902034 w 970063"/>
                <a:gd name="connsiteY122" fmla="*/ 296058 h 781090"/>
                <a:gd name="connsiteX123" fmla="*/ 903293 w 970063"/>
                <a:gd name="connsiteY123" fmla="*/ 297318 h 781090"/>
                <a:gd name="connsiteX124" fmla="*/ 908333 w 970063"/>
                <a:gd name="connsiteY124" fmla="*/ 306137 h 781090"/>
                <a:gd name="connsiteX125" fmla="*/ 912112 w 970063"/>
                <a:gd name="connsiteY125" fmla="*/ 311176 h 781090"/>
                <a:gd name="connsiteX126" fmla="*/ 912112 w 970063"/>
                <a:gd name="connsiteY126" fmla="*/ 311176 h 781090"/>
                <a:gd name="connsiteX127" fmla="*/ 914632 w 970063"/>
                <a:gd name="connsiteY127" fmla="*/ 314956 h 781090"/>
                <a:gd name="connsiteX128" fmla="*/ 925970 w 970063"/>
                <a:gd name="connsiteY128" fmla="*/ 332593 h 781090"/>
                <a:gd name="connsiteX129" fmla="*/ 943608 w 970063"/>
                <a:gd name="connsiteY129" fmla="*/ 362829 h 781090"/>
                <a:gd name="connsiteX130" fmla="*/ 947387 w 970063"/>
                <a:gd name="connsiteY130" fmla="*/ 369128 h 781090"/>
                <a:gd name="connsiteX131" fmla="*/ 948647 w 970063"/>
                <a:gd name="connsiteY131" fmla="*/ 371648 h 781090"/>
                <a:gd name="connsiteX132" fmla="*/ 948647 w 970063"/>
                <a:gd name="connsiteY132" fmla="*/ 371648 h 781090"/>
                <a:gd name="connsiteX133" fmla="*/ 948647 w 970063"/>
                <a:gd name="connsiteY133" fmla="*/ 371648 h 781090"/>
                <a:gd name="connsiteX134" fmla="*/ 956206 w 970063"/>
                <a:gd name="connsiteY134" fmla="*/ 385506 h 781090"/>
                <a:gd name="connsiteX135" fmla="*/ 957466 w 970063"/>
                <a:gd name="connsiteY135" fmla="*/ 388026 h 781090"/>
                <a:gd name="connsiteX136" fmla="*/ 957466 w 970063"/>
                <a:gd name="connsiteY136" fmla="*/ 388026 h 781090"/>
                <a:gd name="connsiteX137" fmla="*/ 957466 w 970063"/>
                <a:gd name="connsiteY137" fmla="*/ 388026 h 781090"/>
                <a:gd name="connsiteX138" fmla="*/ 959985 w 970063"/>
                <a:gd name="connsiteY138" fmla="*/ 393065 h 781090"/>
                <a:gd name="connsiteX139" fmla="*/ 963765 w 970063"/>
                <a:gd name="connsiteY139" fmla="*/ 403143 h 781090"/>
                <a:gd name="connsiteX140" fmla="*/ 963765 w 970063"/>
                <a:gd name="connsiteY140" fmla="*/ 403143 h 781090"/>
                <a:gd name="connsiteX141" fmla="*/ 966285 w 970063"/>
                <a:gd name="connsiteY141" fmla="*/ 411962 h 781090"/>
                <a:gd name="connsiteX142" fmla="*/ 968804 w 970063"/>
                <a:gd name="connsiteY142" fmla="*/ 420781 h 781090"/>
                <a:gd name="connsiteX143" fmla="*/ 971324 w 970063"/>
                <a:gd name="connsiteY143" fmla="*/ 442198 h 781090"/>
                <a:gd name="connsiteX144" fmla="*/ 968804 w 970063"/>
                <a:gd name="connsiteY144" fmla="*/ 462355 h 781090"/>
                <a:gd name="connsiteX145" fmla="*/ 966285 w 970063"/>
                <a:gd name="connsiteY145" fmla="*/ 473694 h 781090"/>
                <a:gd name="connsiteX146" fmla="*/ 961245 w 970063"/>
                <a:gd name="connsiteY146" fmla="*/ 483772 h 781090"/>
                <a:gd name="connsiteX147" fmla="*/ 958726 w 970063"/>
                <a:gd name="connsiteY147" fmla="*/ 486292 h 781090"/>
                <a:gd name="connsiteX148" fmla="*/ 958726 w 970063"/>
                <a:gd name="connsiteY148" fmla="*/ 486292 h 781090"/>
                <a:gd name="connsiteX149" fmla="*/ 959985 w 970063"/>
                <a:gd name="connsiteY149" fmla="*/ 467395 h 781090"/>
                <a:gd name="connsiteX150" fmla="*/ 959985 w 970063"/>
                <a:gd name="connsiteY150" fmla="*/ 448497 h 781090"/>
                <a:gd name="connsiteX151" fmla="*/ 958726 w 970063"/>
                <a:gd name="connsiteY151" fmla="*/ 440938 h 781090"/>
                <a:gd name="connsiteX152" fmla="*/ 958726 w 970063"/>
                <a:gd name="connsiteY152" fmla="*/ 440938 h 781090"/>
                <a:gd name="connsiteX153" fmla="*/ 958726 w 970063"/>
                <a:gd name="connsiteY153" fmla="*/ 440938 h 781090"/>
                <a:gd name="connsiteX154" fmla="*/ 956206 w 970063"/>
                <a:gd name="connsiteY154" fmla="*/ 430860 h 781090"/>
                <a:gd name="connsiteX155" fmla="*/ 951167 w 970063"/>
                <a:gd name="connsiteY155" fmla="*/ 419521 h 781090"/>
                <a:gd name="connsiteX156" fmla="*/ 947387 w 970063"/>
                <a:gd name="connsiteY156" fmla="*/ 415742 h 781090"/>
                <a:gd name="connsiteX157" fmla="*/ 939828 w 970063"/>
                <a:gd name="connsiteY157" fmla="*/ 411962 h 781090"/>
                <a:gd name="connsiteX158" fmla="*/ 938568 w 970063"/>
                <a:gd name="connsiteY158" fmla="*/ 410702 h 781090"/>
                <a:gd name="connsiteX159" fmla="*/ 931009 w 970063"/>
                <a:gd name="connsiteY159" fmla="*/ 406923 h 781090"/>
                <a:gd name="connsiteX160" fmla="*/ 924710 w 970063"/>
                <a:gd name="connsiteY160" fmla="*/ 405663 h 781090"/>
                <a:gd name="connsiteX161" fmla="*/ 923450 w 970063"/>
                <a:gd name="connsiteY161" fmla="*/ 405663 h 781090"/>
                <a:gd name="connsiteX162" fmla="*/ 912112 w 970063"/>
                <a:gd name="connsiteY162" fmla="*/ 405663 h 781090"/>
                <a:gd name="connsiteX163" fmla="*/ 899514 w 970063"/>
                <a:gd name="connsiteY163" fmla="*/ 406923 h 781090"/>
                <a:gd name="connsiteX164" fmla="*/ 878097 w 970063"/>
                <a:gd name="connsiteY164" fmla="*/ 413222 h 781090"/>
                <a:gd name="connsiteX165" fmla="*/ 860459 w 970063"/>
                <a:gd name="connsiteY165" fmla="*/ 422041 h 781090"/>
                <a:gd name="connsiteX166" fmla="*/ 854160 w 970063"/>
                <a:gd name="connsiteY166" fmla="*/ 425820 h 781090"/>
                <a:gd name="connsiteX167" fmla="*/ 854160 w 970063"/>
                <a:gd name="connsiteY167" fmla="*/ 425820 h 781090"/>
                <a:gd name="connsiteX168" fmla="*/ 850381 w 970063"/>
                <a:gd name="connsiteY168" fmla="*/ 428340 h 781090"/>
                <a:gd name="connsiteX169" fmla="*/ 841562 w 970063"/>
                <a:gd name="connsiteY169" fmla="*/ 433379 h 781090"/>
                <a:gd name="connsiteX170" fmla="*/ 836523 w 970063"/>
                <a:gd name="connsiteY170" fmla="*/ 437159 h 781090"/>
                <a:gd name="connsiteX171" fmla="*/ 831483 w 970063"/>
                <a:gd name="connsiteY171" fmla="*/ 440938 h 781090"/>
                <a:gd name="connsiteX172" fmla="*/ 820145 w 970063"/>
                <a:gd name="connsiteY172" fmla="*/ 449757 h 781090"/>
                <a:gd name="connsiteX173" fmla="*/ 820145 w 970063"/>
                <a:gd name="connsiteY173" fmla="*/ 449757 h 781090"/>
                <a:gd name="connsiteX174" fmla="*/ 820145 w 970063"/>
                <a:gd name="connsiteY174" fmla="*/ 449757 h 781090"/>
                <a:gd name="connsiteX175" fmla="*/ 820145 w 970063"/>
                <a:gd name="connsiteY175" fmla="*/ 449757 h 781090"/>
                <a:gd name="connsiteX176" fmla="*/ 820145 w 970063"/>
                <a:gd name="connsiteY176" fmla="*/ 449757 h 781090"/>
                <a:gd name="connsiteX177" fmla="*/ 820145 w 970063"/>
                <a:gd name="connsiteY177" fmla="*/ 449757 h 781090"/>
                <a:gd name="connsiteX178" fmla="*/ 820145 w 970063"/>
                <a:gd name="connsiteY178" fmla="*/ 449757 h 781090"/>
                <a:gd name="connsiteX179" fmla="*/ 821405 w 970063"/>
                <a:gd name="connsiteY179" fmla="*/ 449757 h 781090"/>
                <a:gd name="connsiteX180" fmla="*/ 821405 w 970063"/>
                <a:gd name="connsiteY180" fmla="*/ 449757 h 781090"/>
                <a:gd name="connsiteX181" fmla="*/ 817625 w 970063"/>
                <a:gd name="connsiteY181" fmla="*/ 452277 h 781090"/>
                <a:gd name="connsiteX182" fmla="*/ 817625 w 970063"/>
                <a:gd name="connsiteY182" fmla="*/ 452277 h 781090"/>
                <a:gd name="connsiteX183" fmla="*/ 817625 w 970063"/>
                <a:gd name="connsiteY183" fmla="*/ 452277 h 781090"/>
                <a:gd name="connsiteX184" fmla="*/ 817625 w 970063"/>
                <a:gd name="connsiteY184" fmla="*/ 452277 h 781090"/>
                <a:gd name="connsiteX185" fmla="*/ 817625 w 970063"/>
                <a:gd name="connsiteY185" fmla="*/ 452277 h 781090"/>
                <a:gd name="connsiteX186" fmla="*/ 817625 w 970063"/>
                <a:gd name="connsiteY186" fmla="*/ 452277 h 781090"/>
                <a:gd name="connsiteX187" fmla="*/ 816365 w 970063"/>
                <a:gd name="connsiteY187" fmla="*/ 451017 h 781090"/>
                <a:gd name="connsiteX188" fmla="*/ 815106 w 970063"/>
                <a:gd name="connsiteY188" fmla="*/ 449757 h 781090"/>
                <a:gd name="connsiteX189" fmla="*/ 811326 w 970063"/>
                <a:gd name="connsiteY189" fmla="*/ 443458 h 781090"/>
                <a:gd name="connsiteX190" fmla="*/ 799988 w 970063"/>
                <a:gd name="connsiteY190" fmla="*/ 425820 h 781090"/>
                <a:gd name="connsiteX191" fmla="*/ 789909 w 970063"/>
                <a:gd name="connsiteY191" fmla="*/ 410702 h 781090"/>
                <a:gd name="connsiteX192" fmla="*/ 789909 w 970063"/>
                <a:gd name="connsiteY192" fmla="*/ 409443 h 781090"/>
                <a:gd name="connsiteX193" fmla="*/ 789909 w 970063"/>
                <a:gd name="connsiteY193" fmla="*/ 409443 h 781090"/>
                <a:gd name="connsiteX194" fmla="*/ 777311 w 970063"/>
                <a:gd name="connsiteY194" fmla="*/ 389286 h 781090"/>
                <a:gd name="connsiteX195" fmla="*/ 769752 w 970063"/>
                <a:gd name="connsiteY195" fmla="*/ 376687 h 781090"/>
                <a:gd name="connsiteX196" fmla="*/ 769752 w 970063"/>
                <a:gd name="connsiteY196" fmla="*/ 376687 h 781090"/>
                <a:gd name="connsiteX197" fmla="*/ 768492 w 970063"/>
                <a:gd name="connsiteY197" fmla="*/ 375427 h 781090"/>
                <a:gd name="connsiteX198" fmla="*/ 765972 w 970063"/>
                <a:gd name="connsiteY198" fmla="*/ 371648 h 781090"/>
                <a:gd name="connsiteX199" fmla="*/ 765972 w 970063"/>
                <a:gd name="connsiteY199" fmla="*/ 370388 h 781090"/>
                <a:gd name="connsiteX200" fmla="*/ 760933 w 970063"/>
                <a:gd name="connsiteY200" fmla="*/ 362829 h 781090"/>
                <a:gd name="connsiteX201" fmla="*/ 754634 w 970063"/>
                <a:gd name="connsiteY201" fmla="*/ 354010 h 781090"/>
                <a:gd name="connsiteX202" fmla="*/ 750855 w 970063"/>
                <a:gd name="connsiteY202" fmla="*/ 348971 h 781090"/>
                <a:gd name="connsiteX203" fmla="*/ 750855 w 970063"/>
                <a:gd name="connsiteY203" fmla="*/ 347711 h 781090"/>
                <a:gd name="connsiteX204" fmla="*/ 749595 w 970063"/>
                <a:gd name="connsiteY204" fmla="*/ 346451 h 781090"/>
                <a:gd name="connsiteX205" fmla="*/ 742036 w 970063"/>
                <a:gd name="connsiteY205" fmla="*/ 336373 h 781090"/>
                <a:gd name="connsiteX206" fmla="*/ 735737 w 970063"/>
                <a:gd name="connsiteY206" fmla="*/ 326294 h 781090"/>
                <a:gd name="connsiteX207" fmla="*/ 734477 w 970063"/>
                <a:gd name="connsiteY207" fmla="*/ 325034 h 781090"/>
                <a:gd name="connsiteX208" fmla="*/ 734477 w 970063"/>
                <a:gd name="connsiteY208" fmla="*/ 325034 h 781090"/>
                <a:gd name="connsiteX209" fmla="*/ 734477 w 970063"/>
                <a:gd name="connsiteY209" fmla="*/ 325034 h 781090"/>
                <a:gd name="connsiteX210" fmla="*/ 733217 w 970063"/>
                <a:gd name="connsiteY210" fmla="*/ 322515 h 781090"/>
                <a:gd name="connsiteX211" fmla="*/ 730698 w 970063"/>
                <a:gd name="connsiteY211" fmla="*/ 319995 h 781090"/>
                <a:gd name="connsiteX212" fmla="*/ 729438 w 970063"/>
                <a:gd name="connsiteY212" fmla="*/ 318735 h 781090"/>
                <a:gd name="connsiteX213" fmla="*/ 728178 w 970063"/>
                <a:gd name="connsiteY213" fmla="*/ 316216 h 781090"/>
                <a:gd name="connsiteX214" fmla="*/ 728178 w 970063"/>
                <a:gd name="connsiteY214" fmla="*/ 316216 h 781090"/>
                <a:gd name="connsiteX215" fmla="*/ 728178 w 970063"/>
                <a:gd name="connsiteY215" fmla="*/ 316216 h 781090"/>
                <a:gd name="connsiteX216" fmla="*/ 728178 w 970063"/>
                <a:gd name="connsiteY216" fmla="*/ 316216 h 781090"/>
                <a:gd name="connsiteX217" fmla="*/ 728178 w 970063"/>
                <a:gd name="connsiteY217" fmla="*/ 314956 h 781090"/>
                <a:gd name="connsiteX218" fmla="*/ 726918 w 970063"/>
                <a:gd name="connsiteY218" fmla="*/ 313696 h 781090"/>
                <a:gd name="connsiteX219" fmla="*/ 723138 w 970063"/>
                <a:gd name="connsiteY219" fmla="*/ 308657 h 781090"/>
                <a:gd name="connsiteX220" fmla="*/ 721879 w 970063"/>
                <a:gd name="connsiteY220" fmla="*/ 306137 h 781090"/>
                <a:gd name="connsiteX221" fmla="*/ 721879 w 970063"/>
                <a:gd name="connsiteY221" fmla="*/ 304877 h 781090"/>
                <a:gd name="connsiteX222" fmla="*/ 720619 w 970063"/>
                <a:gd name="connsiteY222" fmla="*/ 302358 h 781090"/>
                <a:gd name="connsiteX223" fmla="*/ 716839 w 970063"/>
                <a:gd name="connsiteY223" fmla="*/ 297318 h 781090"/>
                <a:gd name="connsiteX224" fmla="*/ 715579 w 970063"/>
                <a:gd name="connsiteY224" fmla="*/ 296058 h 781090"/>
                <a:gd name="connsiteX225" fmla="*/ 715579 w 970063"/>
                <a:gd name="connsiteY225" fmla="*/ 296058 h 781090"/>
                <a:gd name="connsiteX226" fmla="*/ 713060 w 970063"/>
                <a:gd name="connsiteY226" fmla="*/ 293539 h 781090"/>
                <a:gd name="connsiteX227" fmla="*/ 710540 w 970063"/>
                <a:gd name="connsiteY227" fmla="*/ 291019 h 781090"/>
                <a:gd name="connsiteX228" fmla="*/ 709280 w 970063"/>
                <a:gd name="connsiteY228" fmla="*/ 289759 h 781090"/>
                <a:gd name="connsiteX229" fmla="*/ 706761 w 970063"/>
                <a:gd name="connsiteY229" fmla="*/ 287240 h 781090"/>
                <a:gd name="connsiteX230" fmla="*/ 705501 w 970063"/>
                <a:gd name="connsiteY230" fmla="*/ 285980 h 781090"/>
                <a:gd name="connsiteX231" fmla="*/ 704241 w 970063"/>
                <a:gd name="connsiteY231" fmla="*/ 284720 h 781090"/>
                <a:gd name="connsiteX232" fmla="*/ 704241 w 970063"/>
                <a:gd name="connsiteY232" fmla="*/ 284720 h 781090"/>
                <a:gd name="connsiteX233" fmla="*/ 702981 w 970063"/>
                <a:gd name="connsiteY233" fmla="*/ 283460 h 781090"/>
                <a:gd name="connsiteX234" fmla="*/ 700462 w 970063"/>
                <a:gd name="connsiteY234" fmla="*/ 280941 h 781090"/>
                <a:gd name="connsiteX235" fmla="*/ 697942 w 970063"/>
                <a:gd name="connsiteY235" fmla="*/ 278421 h 781090"/>
                <a:gd name="connsiteX236" fmla="*/ 697942 w 970063"/>
                <a:gd name="connsiteY236" fmla="*/ 278421 h 781090"/>
                <a:gd name="connsiteX237" fmla="*/ 697942 w 970063"/>
                <a:gd name="connsiteY237" fmla="*/ 278421 h 781090"/>
                <a:gd name="connsiteX238" fmla="*/ 695423 w 970063"/>
                <a:gd name="connsiteY238" fmla="*/ 277161 h 781090"/>
                <a:gd name="connsiteX239" fmla="*/ 695423 w 970063"/>
                <a:gd name="connsiteY239" fmla="*/ 277161 h 781090"/>
                <a:gd name="connsiteX240" fmla="*/ 695423 w 970063"/>
                <a:gd name="connsiteY240" fmla="*/ 277161 h 781090"/>
                <a:gd name="connsiteX241" fmla="*/ 694163 w 970063"/>
                <a:gd name="connsiteY241" fmla="*/ 275901 h 781090"/>
                <a:gd name="connsiteX242" fmla="*/ 694163 w 970063"/>
                <a:gd name="connsiteY242" fmla="*/ 275901 h 781090"/>
                <a:gd name="connsiteX243" fmla="*/ 692903 w 970063"/>
                <a:gd name="connsiteY243" fmla="*/ 275901 h 781090"/>
                <a:gd name="connsiteX244" fmla="*/ 692903 w 970063"/>
                <a:gd name="connsiteY244" fmla="*/ 275901 h 781090"/>
                <a:gd name="connsiteX245" fmla="*/ 692903 w 970063"/>
                <a:gd name="connsiteY245" fmla="*/ 277161 h 781090"/>
                <a:gd name="connsiteX246" fmla="*/ 692903 w 970063"/>
                <a:gd name="connsiteY246" fmla="*/ 277161 h 781090"/>
                <a:gd name="connsiteX247" fmla="*/ 692903 w 970063"/>
                <a:gd name="connsiteY247" fmla="*/ 277161 h 781090"/>
                <a:gd name="connsiteX248" fmla="*/ 692903 w 970063"/>
                <a:gd name="connsiteY248" fmla="*/ 277161 h 781090"/>
                <a:gd name="connsiteX249" fmla="*/ 692903 w 970063"/>
                <a:gd name="connsiteY249" fmla="*/ 278421 h 781090"/>
                <a:gd name="connsiteX250" fmla="*/ 692903 w 970063"/>
                <a:gd name="connsiteY250" fmla="*/ 278421 h 781090"/>
                <a:gd name="connsiteX251" fmla="*/ 692903 w 970063"/>
                <a:gd name="connsiteY251" fmla="*/ 280941 h 781090"/>
                <a:gd name="connsiteX252" fmla="*/ 692903 w 970063"/>
                <a:gd name="connsiteY252" fmla="*/ 283460 h 781090"/>
                <a:gd name="connsiteX253" fmla="*/ 692903 w 970063"/>
                <a:gd name="connsiteY253" fmla="*/ 284720 h 781090"/>
                <a:gd name="connsiteX254" fmla="*/ 692903 w 970063"/>
                <a:gd name="connsiteY254" fmla="*/ 285980 h 781090"/>
                <a:gd name="connsiteX255" fmla="*/ 692903 w 970063"/>
                <a:gd name="connsiteY255" fmla="*/ 289759 h 781090"/>
                <a:gd name="connsiteX256" fmla="*/ 692903 w 970063"/>
                <a:gd name="connsiteY256" fmla="*/ 292279 h 781090"/>
                <a:gd name="connsiteX257" fmla="*/ 692903 w 970063"/>
                <a:gd name="connsiteY257" fmla="*/ 293539 h 781090"/>
                <a:gd name="connsiteX258" fmla="*/ 692903 w 970063"/>
                <a:gd name="connsiteY258" fmla="*/ 297318 h 781090"/>
                <a:gd name="connsiteX259" fmla="*/ 692903 w 970063"/>
                <a:gd name="connsiteY259" fmla="*/ 297318 h 781090"/>
                <a:gd name="connsiteX260" fmla="*/ 692903 w 970063"/>
                <a:gd name="connsiteY260" fmla="*/ 297318 h 781090"/>
                <a:gd name="connsiteX261" fmla="*/ 692903 w 970063"/>
                <a:gd name="connsiteY261" fmla="*/ 298578 h 781090"/>
                <a:gd name="connsiteX262" fmla="*/ 692903 w 970063"/>
                <a:gd name="connsiteY262" fmla="*/ 301098 h 781090"/>
                <a:gd name="connsiteX263" fmla="*/ 692903 w 970063"/>
                <a:gd name="connsiteY263" fmla="*/ 301098 h 781090"/>
                <a:gd name="connsiteX264" fmla="*/ 692903 w 970063"/>
                <a:gd name="connsiteY264" fmla="*/ 301098 h 781090"/>
                <a:gd name="connsiteX265" fmla="*/ 692903 w 970063"/>
                <a:gd name="connsiteY265" fmla="*/ 302358 h 781090"/>
                <a:gd name="connsiteX266" fmla="*/ 692903 w 970063"/>
                <a:gd name="connsiteY266" fmla="*/ 303618 h 781090"/>
                <a:gd name="connsiteX267" fmla="*/ 692903 w 970063"/>
                <a:gd name="connsiteY267" fmla="*/ 304877 h 781090"/>
                <a:gd name="connsiteX268" fmla="*/ 694163 w 970063"/>
                <a:gd name="connsiteY268" fmla="*/ 308657 h 781090"/>
                <a:gd name="connsiteX269" fmla="*/ 694163 w 970063"/>
                <a:gd name="connsiteY269" fmla="*/ 309917 h 781090"/>
                <a:gd name="connsiteX270" fmla="*/ 695423 w 970063"/>
                <a:gd name="connsiteY270" fmla="*/ 312436 h 781090"/>
                <a:gd name="connsiteX271" fmla="*/ 695423 w 970063"/>
                <a:gd name="connsiteY271" fmla="*/ 312436 h 781090"/>
                <a:gd name="connsiteX272" fmla="*/ 695423 w 970063"/>
                <a:gd name="connsiteY272" fmla="*/ 314956 h 781090"/>
                <a:gd name="connsiteX273" fmla="*/ 697942 w 970063"/>
                <a:gd name="connsiteY273" fmla="*/ 326294 h 781090"/>
                <a:gd name="connsiteX274" fmla="*/ 699202 w 970063"/>
                <a:gd name="connsiteY274" fmla="*/ 330074 h 781090"/>
                <a:gd name="connsiteX275" fmla="*/ 699202 w 970063"/>
                <a:gd name="connsiteY275" fmla="*/ 331334 h 781090"/>
                <a:gd name="connsiteX276" fmla="*/ 700462 w 970063"/>
                <a:gd name="connsiteY276" fmla="*/ 337633 h 781090"/>
                <a:gd name="connsiteX277" fmla="*/ 701722 w 970063"/>
                <a:gd name="connsiteY277" fmla="*/ 342672 h 781090"/>
                <a:gd name="connsiteX278" fmla="*/ 701722 w 970063"/>
                <a:gd name="connsiteY278" fmla="*/ 342672 h 781090"/>
                <a:gd name="connsiteX279" fmla="*/ 701722 w 970063"/>
                <a:gd name="connsiteY279" fmla="*/ 343932 h 781090"/>
                <a:gd name="connsiteX280" fmla="*/ 702981 w 970063"/>
                <a:gd name="connsiteY280" fmla="*/ 347711 h 781090"/>
                <a:gd name="connsiteX281" fmla="*/ 702981 w 970063"/>
                <a:gd name="connsiteY281" fmla="*/ 350231 h 781090"/>
                <a:gd name="connsiteX282" fmla="*/ 702981 w 970063"/>
                <a:gd name="connsiteY282" fmla="*/ 351491 h 781090"/>
                <a:gd name="connsiteX283" fmla="*/ 702981 w 970063"/>
                <a:gd name="connsiteY283" fmla="*/ 355270 h 781090"/>
                <a:gd name="connsiteX284" fmla="*/ 704241 w 970063"/>
                <a:gd name="connsiteY284" fmla="*/ 361569 h 781090"/>
                <a:gd name="connsiteX285" fmla="*/ 704241 w 970063"/>
                <a:gd name="connsiteY285" fmla="*/ 362829 h 781090"/>
                <a:gd name="connsiteX286" fmla="*/ 706761 w 970063"/>
                <a:gd name="connsiteY286" fmla="*/ 377947 h 781090"/>
                <a:gd name="connsiteX287" fmla="*/ 706761 w 970063"/>
                <a:gd name="connsiteY287" fmla="*/ 377947 h 781090"/>
                <a:gd name="connsiteX288" fmla="*/ 708021 w 970063"/>
                <a:gd name="connsiteY288" fmla="*/ 388026 h 781090"/>
                <a:gd name="connsiteX289" fmla="*/ 708021 w 970063"/>
                <a:gd name="connsiteY289" fmla="*/ 393065 h 781090"/>
                <a:gd name="connsiteX290" fmla="*/ 708021 w 970063"/>
                <a:gd name="connsiteY290" fmla="*/ 394325 h 781090"/>
                <a:gd name="connsiteX291" fmla="*/ 708021 w 970063"/>
                <a:gd name="connsiteY291" fmla="*/ 395585 h 781090"/>
                <a:gd name="connsiteX292" fmla="*/ 708021 w 970063"/>
                <a:gd name="connsiteY292" fmla="*/ 398104 h 781090"/>
                <a:gd name="connsiteX293" fmla="*/ 708021 w 970063"/>
                <a:gd name="connsiteY293" fmla="*/ 403143 h 781090"/>
                <a:gd name="connsiteX294" fmla="*/ 708021 w 970063"/>
                <a:gd name="connsiteY294" fmla="*/ 404403 h 781090"/>
                <a:gd name="connsiteX295" fmla="*/ 708021 w 970063"/>
                <a:gd name="connsiteY295" fmla="*/ 409443 h 781090"/>
                <a:gd name="connsiteX296" fmla="*/ 709280 w 970063"/>
                <a:gd name="connsiteY296" fmla="*/ 419521 h 781090"/>
                <a:gd name="connsiteX297" fmla="*/ 710540 w 970063"/>
                <a:gd name="connsiteY297" fmla="*/ 430860 h 781090"/>
                <a:gd name="connsiteX298" fmla="*/ 710540 w 970063"/>
                <a:gd name="connsiteY298" fmla="*/ 434639 h 781090"/>
                <a:gd name="connsiteX299" fmla="*/ 710540 w 970063"/>
                <a:gd name="connsiteY299" fmla="*/ 435899 h 781090"/>
                <a:gd name="connsiteX300" fmla="*/ 711800 w 970063"/>
                <a:gd name="connsiteY300" fmla="*/ 440938 h 781090"/>
                <a:gd name="connsiteX301" fmla="*/ 713060 w 970063"/>
                <a:gd name="connsiteY301" fmla="*/ 449757 h 781090"/>
                <a:gd name="connsiteX302" fmla="*/ 713060 w 970063"/>
                <a:gd name="connsiteY302" fmla="*/ 449757 h 781090"/>
                <a:gd name="connsiteX303" fmla="*/ 713060 w 970063"/>
                <a:gd name="connsiteY303" fmla="*/ 449757 h 781090"/>
                <a:gd name="connsiteX304" fmla="*/ 713060 w 970063"/>
                <a:gd name="connsiteY304" fmla="*/ 449757 h 781090"/>
                <a:gd name="connsiteX305" fmla="*/ 714320 w 970063"/>
                <a:gd name="connsiteY305" fmla="*/ 454796 h 781090"/>
                <a:gd name="connsiteX306" fmla="*/ 714320 w 970063"/>
                <a:gd name="connsiteY306" fmla="*/ 454796 h 781090"/>
                <a:gd name="connsiteX307" fmla="*/ 715579 w 970063"/>
                <a:gd name="connsiteY307" fmla="*/ 459836 h 781090"/>
                <a:gd name="connsiteX308" fmla="*/ 716839 w 970063"/>
                <a:gd name="connsiteY308" fmla="*/ 461095 h 781090"/>
                <a:gd name="connsiteX309" fmla="*/ 718099 w 970063"/>
                <a:gd name="connsiteY309" fmla="*/ 461095 h 781090"/>
                <a:gd name="connsiteX310" fmla="*/ 719359 w 970063"/>
                <a:gd name="connsiteY310" fmla="*/ 461095 h 781090"/>
                <a:gd name="connsiteX311" fmla="*/ 720619 w 970063"/>
                <a:gd name="connsiteY311" fmla="*/ 461095 h 781090"/>
                <a:gd name="connsiteX312" fmla="*/ 721879 w 970063"/>
                <a:gd name="connsiteY312" fmla="*/ 459836 h 781090"/>
                <a:gd name="connsiteX313" fmla="*/ 721879 w 970063"/>
                <a:gd name="connsiteY313" fmla="*/ 468654 h 781090"/>
                <a:gd name="connsiteX314" fmla="*/ 721879 w 970063"/>
                <a:gd name="connsiteY314" fmla="*/ 473694 h 781090"/>
                <a:gd name="connsiteX315" fmla="*/ 721879 w 970063"/>
                <a:gd name="connsiteY315" fmla="*/ 474953 h 781090"/>
                <a:gd name="connsiteX316" fmla="*/ 721879 w 970063"/>
                <a:gd name="connsiteY316" fmla="*/ 476213 h 781090"/>
                <a:gd name="connsiteX317" fmla="*/ 721879 w 970063"/>
                <a:gd name="connsiteY317" fmla="*/ 477473 h 781090"/>
                <a:gd name="connsiteX318" fmla="*/ 721879 w 970063"/>
                <a:gd name="connsiteY318" fmla="*/ 478733 h 781090"/>
                <a:gd name="connsiteX319" fmla="*/ 721879 w 970063"/>
                <a:gd name="connsiteY319" fmla="*/ 485032 h 781090"/>
                <a:gd name="connsiteX320" fmla="*/ 721879 w 970063"/>
                <a:gd name="connsiteY320" fmla="*/ 487552 h 781090"/>
                <a:gd name="connsiteX321" fmla="*/ 721879 w 970063"/>
                <a:gd name="connsiteY321" fmla="*/ 490071 h 781090"/>
                <a:gd name="connsiteX322" fmla="*/ 721879 w 970063"/>
                <a:gd name="connsiteY322" fmla="*/ 492591 h 781090"/>
                <a:gd name="connsiteX323" fmla="*/ 720619 w 970063"/>
                <a:gd name="connsiteY323" fmla="*/ 510228 h 781090"/>
                <a:gd name="connsiteX324" fmla="*/ 719359 w 970063"/>
                <a:gd name="connsiteY324" fmla="*/ 534165 h 781090"/>
                <a:gd name="connsiteX325" fmla="*/ 719359 w 970063"/>
                <a:gd name="connsiteY325" fmla="*/ 534165 h 781090"/>
                <a:gd name="connsiteX326" fmla="*/ 719359 w 970063"/>
                <a:gd name="connsiteY326" fmla="*/ 534165 h 781090"/>
                <a:gd name="connsiteX327" fmla="*/ 710540 w 970063"/>
                <a:gd name="connsiteY327" fmla="*/ 541724 h 781090"/>
                <a:gd name="connsiteX328" fmla="*/ 686604 w 970063"/>
                <a:gd name="connsiteY328" fmla="*/ 566921 h 781090"/>
                <a:gd name="connsiteX329" fmla="*/ 684084 w 970063"/>
                <a:gd name="connsiteY329" fmla="*/ 569440 h 781090"/>
                <a:gd name="connsiteX330" fmla="*/ 663927 w 970063"/>
                <a:gd name="connsiteY330" fmla="*/ 593377 h 781090"/>
                <a:gd name="connsiteX331" fmla="*/ 652588 w 970063"/>
                <a:gd name="connsiteY331" fmla="*/ 608495 h 781090"/>
                <a:gd name="connsiteX332" fmla="*/ 642510 w 970063"/>
                <a:gd name="connsiteY332" fmla="*/ 623613 h 781090"/>
                <a:gd name="connsiteX333" fmla="*/ 634951 w 970063"/>
                <a:gd name="connsiteY333" fmla="*/ 637471 h 781090"/>
                <a:gd name="connsiteX334" fmla="*/ 634951 w 970063"/>
                <a:gd name="connsiteY334" fmla="*/ 637471 h 781090"/>
                <a:gd name="connsiteX335" fmla="*/ 629912 w 970063"/>
                <a:gd name="connsiteY335" fmla="*/ 646289 h 781090"/>
                <a:gd name="connsiteX336" fmla="*/ 627392 w 970063"/>
                <a:gd name="connsiteY336" fmla="*/ 651329 h 781090"/>
                <a:gd name="connsiteX337" fmla="*/ 627392 w 970063"/>
                <a:gd name="connsiteY337" fmla="*/ 651329 h 781090"/>
                <a:gd name="connsiteX338" fmla="*/ 626132 w 970063"/>
                <a:gd name="connsiteY338" fmla="*/ 653848 h 781090"/>
                <a:gd name="connsiteX339" fmla="*/ 619833 w 970063"/>
                <a:gd name="connsiteY339" fmla="*/ 667706 h 781090"/>
                <a:gd name="connsiteX340" fmla="*/ 619833 w 970063"/>
                <a:gd name="connsiteY340" fmla="*/ 667706 h 781090"/>
                <a:gd name="connsiteX341" fmla="*/ 619833 w 970063"/>
                <a:gd name="connsiteY341" fmla="*/ 668966 h 781090"/>
                <a:gd name="connsiteX342" fmla="*/ 617313 w 970063"/>
                <a:gd name="connsiteY342" fmla="*/ 677785 h 781090"/>
                <a:gd name="connsiteX343" fmla="*/ 617313 w 970063"/>
                <a:gd name="connsiteY343" fmla="*/ 679045 h 781090"/>
                <a:gd name="connsiteX344" fmla="*/ 617313 w 970063"/>
                <a:gd name="connsiteY344" fmla="*/ 679045 h 781090"/>
                <a:gd name="connsiteX345" fmla="*/ 614794 w 970063"/>
                <a:gd name="connsiteY345" fmla="*/ 686604 h 781090"/>
                <a:gd name="connsiteX346" fmla="*/ 614794 w 970063"/>
                <a:gd name="connsiteY346" fmla="*/ 691643 h 781090"/>
                <a:gd name="connsiteX347" fmla="*/ 614794 w 970063"/>
                <a:gd name="connsiteY347" fmla="*/ 694163 h 781090"/>
                <a:gd name="connsiteX348" fmla="*/ 614794 w 970063"/>
                <a:gd name="connsiteY348" fmla="*/ 696682 h 781090"/>
                <a:gd name="connsiteX349" fmla="*/ 614794 w 970063"/>
                <a:gd name="connsiteY349" fmla="*/ 701722 h 781090"/>
                <a:gd name="connsiteX350" fmla="*/ 614794 w 970063"/>
                <a:gd name="connsiteY350" fmla="*/ 701722 h 781090"/>
                <a:gd name="connsiteX351" fmla="*/ 614794 w 970063"/>
                <a:gd name="connsiteY351" fmla="*/ 701722 h 781090"/>
                <a:gd name="connsiteX352" fmla="*/ 614794 w 970063"/>
                <a:gd name="connsiteY352" fmla="*/ 704241 h 781090"/>
                <a:gd name="connsiteX353" fmla="*/ 614794 w 970063"/>
                <a:gd name="connsiteY353" fmla="*/ 710540 h 781090"/>
                <a:gd name="connsiteX354" fmla="*/ 614794 w 970063"/>
                <a:gd name="connsiteY354" fmla="*/ 713060 h 781090"/>
                <a:gd name="connsiteX355" fmla="*/ 614794 w 970063"/>
                <a:gd name="connsiteY355" fmla="*/ 720619 h 781090"/>
                <a:gd name="connsiteX356" fmla="*/ 618573 w 970063"/>
                <a:gd name="connsiteY356" fmla="*/ 738257 h 781090"/>
                <a:gd name="connsiteX357" fmla="*/ 618573 w 970063"/>
                <a:gd name="connsiteY357" fmla="*/ 739516 h 781090"/>
                <a:gd name="connsiteX358" fmla="*/ 622353 w 970063"/>
                <a:gd name="connsiteY358" fmla="*/ 749595 h 781090"/>
                <a:gd name="connsiteX359" fmla="*/ 626132 w 970063"/>
                <a:gd name="connsiteY359" fmla="*/ 758414 h 781090"/>
                <a:gd name="connsiteX360" fmla="*/ 628652 w 970063"/>
                <a:gd name="connsiteY360" fmla="*/ 762193 h 781090"/>
                <a:gd name="connsiteX361" fmla="*/ 629912 w 970063"/>
                <a:gd name="connsiteY361" fmla="*/ 764713 h 781090"/>
                <a:gd name="connsiteX362" fmla="*/ 629912 w 970063"/>
                <a:gd name="connsiteY362" fmla="*/ 765973 h 781090"/>
                <a:gd name="connsiteX363" fmla="*/ 636211 w 970063"/>
                <a:gd name="connsiteY363" fmla="*/ 773532 h 781090"/>
                <a:gd name="connsiteX364" fmla="*/ 636211 w 970063"/>
                <a:gd name="connsiteY364" fmla="*/ 773532 h 781090"/>
                <a:gd name="connsiteX365" fmla="*/ 638731 w 970063"/>
                <a:gd name="connsiteY365" fmla="*/ 776051 h 781090"/>
                <a:gd name="connsiteX366" fmla="*/ 642510 w 970063"/>
                <a:gd name="connsiteY366" fmla="*/ 778571 h 781090"/>
                <a:gd name="connsiteX367" fmla="*/ 643770 w 970063"/>
                <a:gd name="connsiteY367" fmla="*/ 778571 h 781090"/>
                <a:gd name="connsiteX368" fmla="*/ 646289 w 970063"/>
                <a:gd name="connsiteY368" fmla="*/ 779831 h 781090"/>
                <a:gd name="connsiteX369" fmla="*/ 653848 w 970063"/>
                <a:gd name="connsiteY369" fmla="*/ 783610 h 781090"/>
                <a:gd name="connsiteX370" fmla="*/ 653848 w 970063"/>
                <a:gd name="connsiteY370" fmla="*/ 783610 h 781090"/>
                <a:gd name="connsiteX371" fmla="*/ 662667 w 970063"/>
                <a:gd name="connsiteY371" fmla="*/ 786130 h 781090"/>
                <a:gd name="connsiteX372" fmla="*/ 662667 w 970063"/>
                <a:gd name="connsiteY372" fmla="*/ 786130 h 781090"/>
                <a:gd name="connsiteX373" fmla="*/ 662667 w 970063"/>
                <a:gd name="connsiteY373" fmla="*/ 786130 h 781090"/>
                <a:gd name="connsiteX374" fmla="*/ 662667 w 970063"/>
                <a:gd name="connsiteY374" fmla="*/ 786130 h 781090"/>
                <a:gd name="connsiteX375" fmla="*/ 661407 w 970063"/>
                <a:gd name="connsiteY375" fmla="*/ 786130 h 781090"/>
                <a:gd name="connsiteX376" fmla="*/ 660147 w 970063"/>
                <a:gd name="connsiteY376" fmla="*/ 786130 h 781090"/>
                <a:gd name="connsiteX377" fmla="*/ 656368 w 970063"/>
                <a:gd name="connsiteY377" fmla="*/ 786130 h 781090"/>
                <a:gd name="connsiteX378" fmla="*/ 651329 w 970063"/>
                <a:gd name="connsiteY378" fmla="*/ 786130 h 781090"/>
                <a:gd name="connsiteX379" fmla="*/ 631172 w 970063"/>
                <a:gd name="connsiteY379" fmla="*/ 787390 h 781090"/>
                <a:gd name="connsiteX380" fmla="*/ 603455 w 970063"/>
                <a:gd name="connsiteY380" fmla="*/ 787390 h 781090"/>
                <a:gd name="connsiteX381" fmla="*/ 595896 w 970063"/>
                <a:gd name="connsiteY381" fmla="*/ 787390 h 781090"/>
                <a:gd name="connsiteX382" fmla="*/ 593377 w 970063"/>
                <a:gd name="connsiteY382" fmla="*/ 787390 h 781090"/>
                <a:gd name="connsiteX383" fmla="*/ 593377 w 970063"/>
                <a:gd name="connsiteY383" fmla="*/ 787390 h 781090"/>
                <a:gd name="connsiteX384" fmla="*/ 587078 w 970063"/>
                <a:gd name="connsiteY384" fmla="*/ 787390 h 781090"/>
                <a:gd name="connsiteX385" fmla="*/ 578259 w 970063"/>
                <a:gd name="connsiteY385" fmla="*/ 787390 h 781090"/>
                <a:gd name="connsiteX386" fmla="*/ 573220 w 970063"/>
                <a:gd name="connsiteY386" fmla="*/ 787390 h 781090"/>
                <a:gd name="connsiteX387" fmla="*/ 573220 w 970063"/>
                <a:gd name="connsiteY387" fmla="*/ 787390 h 781090"/>
                <a:gd name="connsiteX388" fmla="*/ 573220 w 970063"/>
                <a:gd name="connsiteY388" fmla="*/ 787390 h 781090"/>
                <a:gd name="connsiteX389" fmla="*/ 560621 w 970063"/>
                <a:gd name="connsiteY389" fmla="*/ 787390 h 781090"/>
                <a:gd name="connsiteX390" fmla="*/ 554322 w 970063"/>
                <a:gd name="connsiteY390" fmla="*/ 787390 h 781090"/>
                <a:gd name="connsiteX391" fmla="*/ 553062 w 970063"/>
                <a:gd name="connsiteY391" fmla="*/ 787390 h 781090"/>
                <a:gd name="connsiteX392" fmla="*/ 541724 w 970063"/>
                <a:gd name="connsiteY392" fmla="*/ 787390 h 781090"/>
                <a:gd name="connsiteX393" fmla="*/ 536685 w 970063"/>
                <a:gd name="connsiteY393" fmla="*/ 787390 h 781090"/>
                <a:gd name="connsiteX394" fmla="*/ 535425 w 970063"/>
                <a:gd name="connsiteY394" fmla="*/ 787390 h 781090"/>
                <a:gd name="connsiteX395" fmla="*/ 535425 w 970063"/>
                <a:gd name="connsiteY395" fmla="*/ 787390 h 781090"/>
                <a:gd name="connsiteX396" fmla="*/ 535425 w 970063"/>
                <a:gd name="connsiteY396" fmla="*/ 787390 h 781090"/>
                <a:gd name="connsiteX397" fmla="*/ 524087 w 970063"/>
                <a:gd name="connsiteY397" fmla="*/ 787390 h 781090"/>
                <a:gd name="connsiteX398" fmla="*/ 516528 w 970063"/>
                <a:gd name="connsiteY398" fmla="*/ 787390 h 781090"/>
                <a:gd name="connsiteX399" fmla="*/ 506449 w 970063"/>
                <a:gd name="connsiteY399" fmla="*/ 787390 h 781090"/>
                <a:gd name="connsiteX400" fmla="*/ 488811 w 970063"/>
                <a:gd name="connsiteY400" fmla="*/ 786130 h 781090"/>
                <a:gd name="connsiteX401" fmla="*/ 487552 w 970063"/>
                <a:gd name="connsiteY401" fmla="*/ 786130 h 781090"/>
                <a:gd name="connsiteX402" fmla="*/ 478733 w 970063"/>
                <a:gd name="connsiteY402" fmla="*/ 784870 h 781090"/>
                <a:gd name="connsiteX403" fmla="*/ 477473 w 970063"/>
                <a:gd name="connsiteY403" fmla="*/ 784870 h 781090"/>
                <a:gd name="connsiteX404" fmla="*/ 477473 w 970063"/>
                <a:gd name="connsiteY404" fmla="*/ 784870 h 781090"/>
                <a:gd name="connsiteX405" fmla="*/ 471174 w 970063"/>
                <a:gd name="connsiteY405" fmla="*/ 783610 h 781090"/>
                <a:gd name="connsiteX406" fmla="*/ 468654 w 970063"/>
                <a:gd name="connsiteY406" fmla="*/ 783610 h 781090"/>
                <a:gd name="connsiteX407" fmla="*/ 461095 w 970063"/>
                <a:gd name="connsiteY407" fmla="*/ 783610 h 781090"/>
                <a:gd name="connsiteX408" fmla="*/ 454796 w 970063"/>
                <a:gd name="connsiteY408" fmla="*/ 783610 h 781090"/>
                <a:gd name="connsiteX409" fmla="*/ 453536 w 970063"/>
                <a:gd name="connsiteY409" fmla="*/ 783610 h 781090"/>
                <a:gd name="connsiteX410" fmla="*/ 452276 w 970063"/>
                <a:gd name="connsiteY410" fmla="*/ 783610 h 781090"/>
                <a:gd name="connsiteX411" fmla="*/ 448497 w 970063"/>
                <a:gd name="connsiteY411" fmla="*/ 783610 h 781090"/>
                <a:gd name="connsiteX412" fmla="*/ 448497 w 970063"/>
                <a:gd name="connsiteY412" fmla="*/ 783610 h 781090"/>
                <a:gd name="connsiteX413" fmla="*/ 443458 w 970063"/>
                <a:gd name="connsiteY413" fmla="*/ 783610 h 781090"/>
                <a:gd name="connsiteX414" fmla="*/ 437159 w 970063"/>
                <a:gd name="connsiteY414" fmla="*/ 783610 h 781090"/>
                <a:gd name="connsiteX415" fmla="*/ 434639 w 970063"/>
                <a:gd name="connsiteY415" fmla="*/ 783610 h 781090"/>
                <a:gd name="connsiteX416" fmla="*/ 434639 w 970063"/>
                <a:gd name="connsiteY416" fmla="*/ 783610 h 781090"/>
                <a:gd name="connsiteX417" fmla="*/ 433379 w 970063"/>
                <a:gd name="connsiteY417" fmla="*/ 783610 h 781090"/>
                <a:gd name="connsiteX418" fmla="*/ 423301 w 970063"/>
                <a:gd name="connsiteY418" fmla="*/ 783610 h 781090"/>
                <a:gd name="connsiteX419" fmla="*/ 414482 w 970063"/>
                <a:gd name="connsiteY419" fmla="*/ 783610 h 781090"/>
                <a:gd name="connsiteX420" fmla="*/ 414482 w 970063"/>
                <a:gd name="connsiteY420" fmla="*/ 783610 h 781090"/>
                <a:gd name="connsiteX421" fmla="*/ 413222 w 970063"/>
                <a:gd name="connsiteY421" fmla="*/ 783610 h 781090"/>
                <a:gd name="connsiteX422" fmla="*/ 405663 w 970063"/>
                <a:gd name="connsiteY422" fmla="*/ 783610 h 781090"/>
                <a:gd name="connsiteX423" fmla="*/ 405663 w 970063"/>
                <a:gd name="connsiteY423" fmla="*/ 783610 h 781090"/>
                <a:gd name="connsiteX424" fmla="*/ 405663 w 970063"/>
                <a:gd name="connsiteY424" fmla="*/ 783610 h 781090"/>
                <a:gd name="connsiteX425" fmla="*/ 376687 w 970063"/>
                <a:gd name="connsiteY425" fmla="*/ 784870 h 781090"/>
                <a:gd name="connsiteX426" fmla="*/ 359050 w 970063"/>
                <a:gd name="connsiteY426" fmla="*/ 784870 h 781090"/>
                <a:gd name="connsiteX427" fmla="*/ 357790 w 970063"/>
                <a:gd name="connsiteY427" fmla="*/ 784870 h 781090"/>
                <a:gd name="connsiteX428" fmla="*/ 356530 w 970063"/>
                <a:gd name="connsiteY428" fmla="*/ 784870 h 781090"/>
                <a:gd name="connsiteX429" fmla="*/ 356530 w 970063"/>
                <a:gd name="connsiteY429" fmla="*/ 784870 h 781090"/>
                <a:gd name="connsiteX430" fmla="*/ 355270 w 970063"/>
                <a:gd name="connsiteY430" fmla="*/ 784870 h 781090"/>
                <a:gd name="connsiteX431" fmla="*/ 350231 w 970063"/>
                <a:gd name="connsiteY431" fmla="*/ 784870 h 781090"/>
                <a:gd name="connsiteX432" fmla="*/ 346451 w 970063"/>
                <a:gd name="connsiteY432" fmla="*/ 784870 h 781090"/>
                <a:gd name="connsiteX433" fmla="*/ 342672 w 970063"/>
                <a:gd name="connsiteY433" fmla="*/ 784870 h 781090"/>
                <a:gd name="connsiteX434" fmla="*/ 342672 w 970063"/>
                <a:gd name="connsiteY434" fmla="*/ 784870 h 781090"/>
                <a:gd name="connsiteX435" fmla="*/ 340152 w 970063"/>
                <a:gd name="connsiteY435" fmla="*/ 783610 h 781090"/>
                <a:gd name="connsiteX436" fmla="*/ 337632 w 970063"/>
                <a:gd name="connsiteY436" fmla="*/ 782350 h 781090"/>
                <a:gd name="connsiteX437" fmla="*/ 335113 w 970063"/>
                <a:gd name="connsiteY437" fmla="*/ 779831 h 781090"/>
                <a:gd name="connsiteX438" fmla="*/ 333853 w 970063"/>
                <a:gd name="connsiteY438" fmla="*/ 774791 h 781090"/>
                <a:gd name="connsiteX439" fmla="*/ 333853 w 970063"/>
                <a:gd name="connsiteY439" fmla="*/ 769752 h 781090"/>
                <a:gd name="connsiteX440" fmla="*/ 332593 w 970063"/>
                <a:gd name="connsiteY440" fmla="*/ 764713 h 781090"/>
                <a:gd name="connsiteX441" fmla="*/ 332593 w 970063"/>
                <a:gd name="connsiteY441" fmla="*/ 764713 h 781090"/>
                <a:gd name="connsiteX442" fmla="*/ 332593 w 970063"/>
                <a:gd name="connsiteY442" fmla="*/ 759674 h 781090"/>
                <a:gd name="connsiteX443" fmla="*/ 332593 w 970063"/>
                <a:gd name="connsiteY443" fmla="*/ 759674 h 781090"/>
                <a:gd name="connsiteX444" fmla="*/ 332593 w 970063"/>
                <a:gd name="connsiteY444" fmla="*/ 759674 h 781090"/>
                <a:gd name="connsiteX445" fmla="*/ 332593 w 970063"/>
                <a:gd name="connsiteY445" fmla="*/ 755894 h 781090"/>
                <a:gd name="connsiteX446" fmla="*/ 332593 w 970063"/>
                <a:gd name="connsiteY446" fmla="*/ 752114 h 781090"/>
                <a:gd name="connsiteX447" fmla="*/ 330074 w 970063"/>
                <a:gd name="connsiteY447" fmla="*/ 724398 h 781090"/>
                <a:gd name="connsiteX448" fmla="*/ 328814 w 970063"/>
                <a:gd name="connsiteY448" fmla="*/ 705501 h 781090"/>
                <a:gd name="connsiteX449" fmla="*/ 328814 w 970063"/>
                <a:gd name="connsiteY449" fmla="*/ 696682 h 781090"/>
                <a:gd name="connsiteX450" fmla="*/ 328814 w 970063"/>
                <a:gd name="connsiteY450" fmla="*/ 684084 h 781090"/>
                <a:gd name="connsiteX451" fmla="*/ 328814 w 970063"/>
                <a:gd name="connsiteY451" fmla="*/ 675265 h 781090"/>
                <a:gd name="connsiteX452" fmla="*/ 328814 w 970063"/>
                <a:gd name="connsiteY452" fmla="*/ 661407 h 781090"/>
                <a:gd name="connsiteX453" fmla="*/ 327554 w 970063"/>
                <a:gd name="connsiteY453" fmla="*/ 617313 h 781090"/>
                <a:gd name="connsiteX454" fmla="*/ 327554 w 970063"/>
                <a:gd name="connsiteY454" fmla="*/ 614794 h 781090"/>
                <a:gd name="connsiteX455" fmla="*/ 326294 w 970063"/>
                <a:gd name="connsiteY455" fmla="*/ 592117 h 781090"/>
                <a:gd name="connsiteX456" fmla="*/ 326294 w 970063"/>
                <a:gd name="connsiteY456" fmla="*/ 578259 h 781090"/>
                <a:gd name="connsiteX457" fmla="*/ 326294 w 970063"/>
                <a:gd name="connsiteY457" fmla="*/ 570700 h 781090"/>
                <a:gd name="connsiteX458" fmla="*/ 326294 w 970063"/>
                <a:gd name="connsiteY458" fmla="*/ 548023 h 781090"/>
                <a:gd name="connsiteX459" fmla="*/ 326294 w 970063"/>
                <a:gd name="connsiteY459" fmla="*/ 540464 h 781090"/>
                <a:gd name="connsiteX460" fmla="*/ 326294 w 970063"/>
                <a:gd name="connsiteY460" fmla="*/ 525346 h 781090"/>
                <a:gd name="connsiteX461" fmla="*/ 326294 w 970063"/>
                <a:gd name="connsiteY461" fmla="*/ 508969 h 781090"/>
                <a:gd name="connsiteX462" fmla="*/ 326294 w 970063"/>
                <a:gd name="connsiteY462" fmla="*/ 501410 h 781090"/>
                <a:gd name="connsiteX463" fmla="*/ 326294 w 970063"/>
                <a:gd name="connsiteY463" fmla="*/ 479993 h 781090"/>
                <a:gd name="connsiteX464" fmla="*/ 326294 w 970063"/>
                <a:gd name="connsiteY464" fmla="*/ 462355 h 781090"/>
                <a:gd name="connsiteX465" fmla="*/ 326294 w 970063"/>
                <a:gd name="connsiteY465" fmla="*/ 433379 h 781090"/>
                <a:gd name="connsiteX466" fmla="*/ 326294 w 970063"/>
                <a:gd name="connsiteY466" fmla="*/ 433379 h 781090"/>
                <a:gd name="connsiteX467" fmla="*/ 326294 w 970063"/>
                <a:gd name="connsiteY467" fmla="*/ 410702 h 781090"/>
                <a:gd name="connsiteX468" fmla="*/ 326294 w 970063"/>
                <a:gd name="connsiteY468" fmla="*/ 396844 h 781090"/>
                <a:gd name="connsiteX469" fmla="*/ 326294 w 970063"/>
                <a:gd name="connsiteY469" fmla="*/ 388026 h 781090"/>
                <a:gd name="connsiteX470" fmla="*/ 326294 w 970063"/>
                <a:gd name="connsiteY470" fmla="*/ 377947 h 781090"/>
                <a:gd name="connsiteX471" fmla="*/ 326294 w 970063"/>
                <a:gd name="connsiteY471" fmla="*/ 365349 h 781090"/>
                <a:gd name="connsiteX472" fmla="*/ 326294 w 970063"/>
                <a:gd name="connsiteY472" fmla="*/ 356530 h 781090"/>
                <a:gd name="connsiteX473" fmla="*/ 326294 w 970063"/>
                <a:gd name="connsiteY473" fmla="*/ 352751 h 781090"/>
                <a:gd name="connsiteX474" fmla="*/ 326294 w 970063"/>
                <a:gd name="connsiteY474" fmla="*/ 340152 h 781090"/>
                <a:gd name="connsiteX475" fmla="*/ 326294 w 970063"/>
                <a:gd name="connsiteY475" fmla="*/ 326294 h 781090"/>
                <a:gd name="connsiteX476" fmla="*/ 326294 w 970063"/>
                <a:gd name="connsiteY476" fmla="*/ 318735 h 781090"/>
                <a:gd name="connsiteX477" fmla="*/ 326294 w 970063"/>
                <a:gd name="connsiteY477" fmla="*/ 299838 h 781090"/>
                <a:gd name="connsiteX478" fmla="*/ 326294 w 970063"/>
                <a:gd name="connsiteY478" fmla="*/ 296058 h 781090"/>
                <a:gd name="connsiteX479" fmla="*/ 326294 w 970063"/>
                <a:gd name="connsiteY479" fmla="*/ 279681 h 781090"/>
                <a:gd name="connsiteX480" fmla="*/ 327554 w 970063"/>
                <a:gd name="connsiteY480" fmla="*/ 279681 h 781090"/>
                <a:gd name="connsiteX481" fmla="*/ 328814 w 970063"/>
                <a:gd name="connsiteY481" fmla="*/ 278421 h 781090"/>
                <a:gd name="connsiteX482" fmla="*/ 330074 w 970063"/>
                <a:gd name="connsiteY482" fmla="*/ 275901 h 781090"/>
                <a:gd name="connsiteX483" fmla="*/ 328814 w 970063"/>
                <a:gd name="connsiteY483" fmla="*/ 273382 h 781090"/>
                <a:gd name="connsiteX484" fmla="*/ 328814 w 970063"/>
                <a:gd name="connsiteY484" fmla="*/ 273382 h 781090"/>
                <a:gd name="connsiteX485" fmla="*/ 328814 w 970063"/>
                <a:gd name="connsiteY485" fmla="*/ 273382 h 781090"/>
                <a:gd name="connsiteX486" fmla="*/ 328814 w 970063"/>
                <a:gd name="connsiteY486" fmla="*/ 273382 h 781090"/>
                <a:gd name="connsiteX487" fmla="*/ 328814 w 970063"/>
                <a:gd name="connsiteY487" fmla="*/ 264563 h 781090"/>
                <a:gd name="connsiteX488" fmla="*/ 330074 w 970063"/>
                <a:gd name="connsiteY488" fmla="*/ 251965 h 781090"/>
                <a:gd name="connsiteX489" fmla="*/ 331333 w 970063"/>
                <a:gd name="connsiteY489" fmla="*/ 238107 h 781090"/>
                <a:gd name="connsiteX490" fmla="*/ 331333 w 970063"/>
                <a:gd name="connsiteY490" fmla="*/ 234327 h 781090"/>
                <a:gd name="connsiteX491" fmla="*/ 331333 w 970063"/>
                <a:gd name="connsiteY491" fmla="*/ 231808 h 781090"/>
                <a:gd name="connsiteX492" fmla="*/ 331333 w 970063"/>
                <a:gd name="connsiteY492" fmla="*/ 229288 h 781090"/>
                <a:gd name="connsiteX493" fmla="*/ 331333 w 970063"/>
                <a:gd name="connsiteY493" fmla="*/ 225508 h 781090"/>
                <a:gd name="connsiteX494" fmla="*/ 331333 w 970063"/>
                <a:gd name="connsiteY494" fmla="*/ 219209 h 781090"/>
                <a:gd name="connsiteX495" fmla="*/ 331333 w 970063"/>
                <a:gd name="connsiteY495" fmla="*/ 216690 h 781090"/>
                <a:gd name="connsiteX496" fmla="*/ 331333 w 970063"/>
                <a:gd name="connsiteY496" fmla="*/ 212910 h 781090"/>
                <a:gd name="connsiteX497" fmla="*/ 331333 w 970063"/>
                <a:gd name="connsiteY497" fmla="*/ 210390 h 781090"/>
                <a:gd name="connsiteX498" fmla="*/ 331333 w 970063"/>
                <a:gd name="connsiteY498" fmla="*/ 206611 h 781090"/>
                <a:gd name="connsiteX499" fmla="*/ 331333 w 970063"/>
                <a:gd name="connsiteY499" fmla="*/ 204091 h 781090"/>
                <a:gd name="connsiteX500" fmla="*/ 331333 w 970063"/>
                <a:gd name="connsiteY500" fmla="*/ 200312 h 781090"/>
                <a:gd name="connsiteX501" fmla="*/ 331333 w 970063"/>
                <a:gd name="connsiteY501" fmla="*/ 199052 h 781090"/>
                <a:gd name="connsiteX502" fmla="*/ 331333 w 970063"/>
                <a:gd name="connsiteY502" fmla="*/ 197792 h 781090"/>
                <a:gd name="connsiteX503" fmla="*/ 331333 w 970063"/>
                <a:gd name="connsiteY503" fmla="*/ 195273 h 781090"/>
                <a:gd name="connsiteX504" fmla="*/ 330074 w 970063"/>
                <a:gd name="connsiteY504" fmla="*/ 195273 h 781090"/>
                <a:gd name="connsiteX505" fmla="*/ 328814 w 970063"/>
                <a:gd name="connsiteY505" fmla="*/ 195273 h 781090"/>
                <a:gd name="connsiteX506" fmla="*/ 327554 w 970063"/>
                <a:gd name="connsiteY506" fmla="*/ 195273 h 781090"/>
                <a:gd name="connsiteX507" fmla="*/ 327554 w 970063"/>
                <a:gd name="connsiteY507" fmla="*/ 195273 h 781090"/>
                <a:gd name="connsiteX508" fmla="*/ 327554 w 970063"/>
                <a:gd name="connsiteY508" fmla="*/ 195273 h 781090"/>
                <a:gd name="connsiteX509" fmla="*/ 326294 w 970063"/>
                <a:gd name="connsiteY509" fmla="*/ 195273 h 781090"/>
                <a:gd name="connsiteX510" fmla="*/ 323775 w 970063"/>
                <a:gd name="connsiteY510" fmla="*/ 196533 h 781090"/>
                <a:gd name="connsiteX511" fmla="*/ 321255 w 970063"/>
                <a:gd name="connsiteY511" fmla="*/ 197792 h 781090"/>
                <a:gd name="connsiteX512" fmla="*/ 317476 w 970063"/>
                <a:gd name="connsiteY512" fmla="*/ 199052 h 781090"/>
                <a:gd name="connsiteX513" fmla="*/ 311177 w 970063"/>
                <a:gd name="connsiteY513" fmla="*/ 201572 h 781090"/>
                <a:gd name="connsiteX514" fmla="*/ 311177 w 970063"/>
                <a:gd name="connsiteY514" fmla="*/ 201572 h 781090"/>
                <a:gd name="connsiteX515" fmla="*/ 304877 w 970063"/>
                <a:gd name="connsiteY515" fmla="*/ 204091 h 781090"/>
                <a:gd name="connsiteX516" fmla="*/ 301098 w 970063"/>
                <a:gd name="connsiteY516" fmla="*/ 205351 h 781090"/>
                <a:gd name="connsiteX517" fmla="*/ 298578 w 970063"/>
                <a:gd name="connsiteY517" fmla="*/ 206611 h 781090"/>
                <a:gd name="connsiteX518" fmla="*/ 298578 w 970063"/>
                <a:gd name="connsiteY518" fmla="*/ 206611 h 781090"/>
                <a:gd name="connsiteX519" fmla="*/ 292279 w 970063"/>
                <a:gd name="connsiteY519" fmla="*/ 207871 h 781090"/>
                <a:gd name="connsiteX520" fmla="*/ 288499 w 970063"/>
                <a:gd name="connsiteY520" fmla="*/ 209131 h 781090"/>
                <a:gd name="connsiteX521" fmla="*/ 285980 w 970063"/>
                <a:gd name="connsiteY521" fmla="*/ 209131 h 781090"/>
                <a:gd name="connsiteX522" fmla="*/ 279681 w 970063"/>
                <a:gd name="connsiteY522" fmla="*/ 210390 h 781090"/>
                <a:gd name="connsiteX523" fmla="*/ 264563 w 970063"/>
                <a:gd name="connsiteY523" fmla="*/ 212910 h 781090"/>
                <a:gd name="connsiteX524" fmla="*/ 263303 w 970063"/>
                <a:gd name="connsiteY524" fmla="*/ 212910 h 781090"/>
                <a:gd name="connsiteX525" fmla="*/ 258264 w 970063"/>
                <a:gd name="connsiteY525" fmla="*/ 214170 h 781090"/>
                <a:gd name="connsiteX526" fmla="*/ 254484 w 970063"/>
                <a:gd name="connsiteY526" fmla="*/ 214170 h 781090"/>
                <a:gd name="connsiteX527" fmla="*/ 250705 w 970063"/>
                <a:gd name="connsiteY527" fmla="*/ 214170 h 781090"/>
                <a:gd name="connsiteX528" fmla="*/ 246925 w 970063"/>
                <a:gd name="connsiteY528" fmla="*/ 214170 h 781090"/>
                <a:gd name="connsiteX529" fmla="*/ 244406 w 970063"/>
                <a:gd name="connsiteY529" fmla="*/ 214170 h 781090"/>
                <a:gd name="connsiteX530" fmla="*/ 244406 w 970063"/>
                <a:gd name="connsiteY530" fmla="*/ 214170 h 781090"/>
                <a:gd name="connsiteX531" fmla="*/ 236847 w 970063"/>
                <a:gd name="connsiteY531" fmla="*/ 214170 h 781090"/>
                <a:gd name="connsiteX532" fmla="*/ 222989 w 970063"/>
                <a:gd name="connsiteY532" fmla="*/ 215430 h 781090"/>
                <a:gd name="connsiteX533" fmla="*/ 215430 w 970063"/>
                <a:gd name="connsiteY533" fmla="*/ 216690 h 781090"/>
                <a:gd name="connsiteX534" fmla="*/ 209131 w 970063"/>
                <a:gd name="connsiteY534" fmla="*/ 217949 h 781090"/>
                <a:gd name="connsiteX535" fmla="*/ 207871 w 970063"/>
                <a:gd name="connsiteY535" fmla="*/ 217949 h 781090"/>
                <a:gd name="connsiteX536" fmla="*/ 207871 w 970063"/>
                <a:gd name="connsiteY536" fmla="*/ 217949 h 781090"/>
                <a:gd name="connsiteX537" fmla="*/ 206611 w 970063"/>
                <a:gd name="connsiteY537" fmla="*/ 217949 h 781090"/>
                <a:gd name="connsiteX538" fmla="*/ 200312 w 970063"/>
                <a:gd name="connsiteY538" fmla="*/ 215430 h 781090"/>
                <a:gd name="connsiteX539" fmla="*/ 200312 w 970063"/>
                <a:gd name="connsiteY539" fmla="*/ 215430 h 781090"/>
                <a:gd name="connsiteX540" fmla="*/ 197792 w 970063"/>
                <a:gd name="connsiteY540" fmla="*/ 215430 h 781090"/>
                <a:gd name="connsiteX541" fmla="*/ 194013 w 970063"/>
                <a:gd name="connsiteY541" fmla="*/ 215430 h 781090"/>
                <a:gd name="connsiteX542" fmla="*/ 194013 w 970063"/>
                <a:gd name="connsiteY542" fmla="*/ 215430 h 781090"/>
                <a:gd name="connsiteX543" fmla="*/ 191493 w 970063"/>
                <a:gd name="connsiteY543" fmla="*/ 216690 h 781090"/>
                <a:gd name="connsiteX544" fmla="*/ 191493 w 970063"/>
                <a:gd name="connsiteY544" fmla="*/ 216690 h 781090"/>
                <a:gd name="connsiteX545" fmla="*/ 190233 w 970063"/>
                <a:gd name="connsiteY545" fmla="*/ 216690 h 781090"/>
                <a:gd name="connsiteX546" fmla="*/ 181414 w 970063"/>
                <a:gd name="connsiteY546" fmla="*/ 212910 h 781090"/>
                <a:gd name="connsiteX547" fmla="*/ 175115 w 970063"/>
                <a:gd name="connsiteY547" fmla="*/ 210390 h 781090"/>
                <a:gd name="connsiteX548" fmla="*/ 172596 w 970063"/>
                <a:gd name="connsiteY548" fmla="*/ 209131 h 781090"/>
                <a:gd name="connsiteX549" fmla="*/ 165037 w 970063"/>
                <a:gd name="connsiteY549" fmla="*/ 204091 h 781090"/>
                <a:gd name="connsiteX550" fmla="*/ 154958 w 970063"/>
                <a:gd name="connsiteY550" fmla="*/ 199052 h 781090"/>
                <a:gd name="connsiteX551" fmla="*/ 146140 w 970063"/>
                <a:gd name="connsiteY551" fmla="*/ 194013 h 781090"/>
                <a:gd name="connsiteX552" fmla="*/ 138581 w 970063"/>
                <a:gd name="connsiteY552" fmla="*/ 190233 h 781090"/>
                <a:gd name="connsiteX553" fmla="*/ 99526 w 970063"/>
                <a:gd name="connsiteY553" fmla="*/ 165037 h 781090"/>
                <a:gd name="connsiteX554" fmla="*/ 99526 w 970063"/>
                <a:gd name="connsiteY554" fmla="*/ 165037 h 781090"/>
                <a:gd name="connsiteX555" fmla="*/ 79369 w 970063"/>
                <a:gd name="connsiteY555" fmla="*/ 151179 h 781090"/>
                <a:gd name="connsiteX556" fmla="*/ 64251 w 970063"/>
                <a:gd name="connsiteY556" fmla="*/ 138581 h 781090"/>
                <a:gd name="connsiteX557" fmla="*/ 60471 w 970063"/>
                <a:gd name="connsiteY557" fmla="*/ 136061 h 781090"/>
                <a:gd name="connsiteX558" fmla="*/ 42834 w 970063"/>
                <a:gd name="connsiteY558" fmla="*/ 120943 h 781090"/>
                <a:gd name="connsiteX559" fmla="*/ 41574 w 970063"/>
                <a:gd name="connsiteY559" fmla="*/ 120943 h 781090"/>
                <a:gd name="connsiteX560" fmla="*/ 25196 w 970063"/>
                <a:gd name="connsiteY560" fmla="*/ 105825 h 781090"/>
                <a:gd name="connsiteX561" fmla="*/ 17637 w 970063"/>
                <a:gd name="connsiteY561" fmla="*/ 95747 h 781090"/>
                <a:gd name="connsiteX562" fmla="*/ 11338 w 970063"/>
                <a:gd name="connsiteY562" fmla="*/ 85668 h 781090"/>
                <a:gd name="connsiteX563" fmla="*/ 1260 w 970063"/>
                <a:gd name="connsiteY563" fmla="*/ 69290 h 781090"/>
                <a:gd name="connsiteX564" fmla="*/ 0 w 970063"/>
                <a:gd name="connsiteY564" fmla="*/ 66771 h 781090"/>
                <a:gd name="connsiteX565" fmla="*/ 8819 w 970063"/>
                <a:gd name="connsiteY565" fmla="*/ 74330 h 781090"/>
                <a:gd name="connsiteX566" fmla="*/ 15118 w 970063"/>
                <a:gd name="connsiteY566" fmla="*/ 79369 h 781090"/>
                <a:gd name="connsiteX567" fmla="*/ 16378 w 970063"/>
                <a:gd name="connsiteY567" fmla="*/ 80629 h 781090"/>
                <a:gd name="connsiteX568" fmla="*/ 21417 w 970063"/>
                <a:gd name="connsiteY568" fmla="*/ 83148 h 781090"/>
                <a:gd name="connsiteX569" fmla="*/ 35275 w 970063"/>
                <a:gd name="connsiteY569" fmla="*/ 89448 h 781090"/>
                <a:gd name="connsiteX570" fmla="*/ 41574 w 970063"/>
                <a:gd name="connsiteY570" fmla="*/ 90707 h 781090"/>
                <a:gd name="connsiteX571" fmla="*/ 44094 w 970063"/>
                <a:gd name="connsiteY571" fmla="*/ 90707 h 781090"/>
                <a:gd name="connsiteX572" fmla="*/ 47873 w 970063"/>
                <a:gd name="connsiteY572" fmla="*/ 91967 h 781090"/>
                <a:gd name="connsiteX573" fmla="*/ 52913 w 970063"/>
                <a:gd name="connsiteY573" fmla="*/ 93227 h 781090"/>
                <a:gd name="connsiteX574" fmla="*/ 56692 w 970063"/>
                <a:gd name="connsiteY574" fmla="*/ 93227 h 781090"/>
                <a:gd name="connsiteX575" fmla="*/ 62991 w 970063"/>
                <a:gd name="connsiteY575" fmla="*/ 93227 h 781090"/>
                <a:gd name="connsiteX576" fmla="*/ 66770 w 970063"/>
                <a:gd name="connsiteY576" fmla="*/ 93227 h 781090"/>
                <a:gd name="connsiteX577" fmla="*/ 66770 w 970063"/>
                <a:gd name="connsiteY577" fmla="*/ 93227 h 781090"/>
                <a:gd name="connsiteX578" fmla="*/ 70550 w 970063"/>
                <a:gd name="connsiteY578" fmla="*/ 93227 h 781090"/>
                <a:gd name="connsiteX579" fmla="*/ 79369 w 970063"/>
                <a:gd name="connsiteY579" fmla="*/ 91967 h 781090"/>
                <a:gd name="connsiteX580" fmla="*/ 86928 w 970063"/>
                <a:gd name="connsiteY580" fmla="*/ 90707 h 781090"/>
                <a:gd name="connsiteX581" fmla="*/ 93227 w 970063"/>
                <a:gd name="connsiteY581" fmla="*/ 88188 h 781090"/>
                <a:gd name="connsiteX582" fmla="*/ 97007 w 970063"/>
                <a:gd name="connsiteY582" fmla="*/ 86928 h 781090"/>
                <a:gd name="connsiteX583" fmla="*/ 97007 w 970063"/>
                <a:gd name="connsiteY583" fmla="*/ 86928 h 781090"/>
                <a:gd name="connsiteX584" fmla="*/ 98266 w 970063"/>
                <a:gd name="connsiteY584" fmla="*/ 85668 h 781090"/>
                <a:gd name="connsiteX585" fmla="*/ 99526 w 970063"/>
                <a:gd name="connsiteY585" fmla="*/ 84408 h 781090"/>
                <a:gd name="connsiteX586" fmla="*/ 99526 w 970063"/>
                <a:gd name="connsiteY586" fmla="*/ 84408 h 781090"/>
                <a:gd name="connsiteX587" fmla="*/ 104565 w 970063"/>
                <a:gd name="connsiteY587" fmla="*/ 81889 h 781090"/>
                <a:gd name="connsiteX588" fmla="*/ 105825 w 970063"/>
                <a:gd name="connsiteY588" fmla="*/ 81889 h 781090"/>
                <a:gd name="connsiteX589" fmla="*/ 112124 w 970063"/>
                <a:gd name="connsiteY589" fmla="*/ 78109 h 781090"/>
                <a:gd name="connsiteX590" fmla="*/ 118423 w 970063"/>
                <a:gd name="connsiteY590" fmla="*/ 74330 h 781090"/>
                <a:gd name="connsiteX591" fmla="*/ 124722 w 970063"/>
                <a:gd name="connsiteY591" fmla="*/ 68031 h 781090"/>
                <a:gd name="connsiteX592" fmla="*/ 127242 w 970063"/>
                <a:gd name="connsiteY592" fmla="*/ 64251 h 781090"/>
                <a:gd name="connsiteX593" fmla="*/ 127242 w 970063"/>
                <a:gd name="connsiteY593" fmla="*/ 64251 h 781090"/>
                <a:gd name="connsiteX594" fmla="*/ 128502 w 970063"/>
                <a:gd name="connsiteY594" fmla="*/ 61731 h 781090"/>
                <a:gd name="connsiteX595" fmla="*/ 133541 w 970063"/>
                <a:gd name="connsiteY595" fmla="*/ 51653 h 781090"/>
                <a:gd name="connsiteX596" fmla="*/ 134801 w 970063"/>
                <a:gd name="connsiteY596" fmla="*/ 49133 h 781090"/>
                <a:gd name="connsiteX597" fmla="*/ 134801 w 970063"/>
                <a:gd name="connsiteY597" fmla="*/ 49133 h 781090"/>
                <a:gd name="connsiteX598" fmla="*/ 134801 w 970063"/>
                <a:gd name="connsiteY598" fmla="*/ 49133 h 781090"/>
                <a:gd name="connsiteX599" fmla="*/ 134801 w 970063"/>
                <a:gd name="connsiteY599" fmla="*/ 49133 h 781090"/>
                <a:gd name="connsiteX600" fmla="*/ 134801 w 970063"/>
                <a:gd name="connsiteY600" fmla="*/ 49133 h 781090"/>
                <a:gd name="connsiteX601" fmla="*/ 134801 w 970063"/>
                <a:gd name="connsiteY601" fmla="*/ 49133 h 781090"/>
                <a:gd name="connsiteX602" fmla="*/ 134801 w 970063"/>
                <a:gd name="connsiteY602" fmla="*/ 49133 h 781090"/>
                <a:gd name="connsiteX603" fmla="*/ 139840 w 970063"/>
                <a:gd name="connsiteY603" fmla="*/ 35275 h 781090"/>
                <a:gd name="connsiteX604" fmla="*/ 139840 w 970063"/>
                <a:gd name="connsiteY604" fmla="*/ 34015 h 781090"/>
                <a:gd name="connsiteX605" fmla="*/ 141100 w 970063"/>
                <a:gd name="connsiteY605" fmla="*/ 28976 h 781090"/>
                <a:gd name="connsiteX606" fmla="*/ 142360 w 970063"/>
                <a:gd name="connsiteY606" fmla="*/ 22677 h 781090"/>
                <a:gd name="connsiteX607" fmla="*/ 142360 w 970063"/>
                <a:gd name="connsiteY607" fmla="*/ 16378 h 781090"/>
                <a:gd name="connsiteX608" fmla="*/ 142360 w 970063"/>
                <a:gd name="connsiteY608" fmla="*/ 15118 h 781090"/>
                <a:gd name="connsiteX609" fmla="*/ 142360 w 970063"/>
                <a:gd name="connsiteY609" fmla="*/ 15118 h 781090"/>
                <a:gd name="connsiteX610" fmla="*/ 142360 w 970063"/>
                <a:gd name="connsiteY610" fmla="*/ 15118 h 781090"/>
                <a:gd name="connsiteX611" fmla="*/ 142360 w 970063"/>
                <a:gd name="connsiteY611" fmla="*/ 12598 h 781090"/>
                <a:gd name="connsiteX612" fmla="*/ 141100 w 970063"/>
                <a:gd name="connsiteY612" fmla="*/ 5039 h 781090"/>
                <a:gd name="connsiteX613" fmla="*/ 139840 w 970063"/>
                <a:gd name="connsiteY613" fmla="*/ 0 h 781090"/>
                <a:gd name="connsiteX614" fmla="*/ 151179 w 970063"/>
                <a:gd name="connsiteY614" fmla="*/ 12598 h 78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</a:cxnLst>
              <a:rect l="l" t="t" r="r" b="b"/>
              <a:pathLst>
                <a:path w="970063" h="781090">
                  <a:moveTo>
                    <a:pt x="151179" y="12598"/>
                  </a:moveTo>
                  <a:cubicBezTo>
                    <a:pt x="153699" y="16378"/>
                    <a:pt x="154958" y="20157"/>
                    <a:pt x="157478" y="22677"/>
                  </a:cubicBezTo>
                  <a:cubicBezTo>
                    <a:pt x="159998" y="25196"/>
                    <a:pt x="162517" y="27716"/>
                    <a:pt x="166297" y="30236"/>
                  </a:cubicBezTo>
                  <a:cubicBezTo>
                    <a:pt x="168816" y="32755"/>
                    <a:pt x="171336" y="34015"/>
                    <a:pt x="173855" y="35275"/>
                  </a:cubicBezTo>
                  <a:cubicBezTo>
                    <a:pt x="177635" y="36535"/>
                    <a:pt x="181414" y="39055"/>
                    <a:pt x="185194" y="40314"/>
                  </a:cubicBezTo>
                  <a:cubicBezTo>
                    <a:pt x="187714" y="41574"/>
                    <a:pt x="191493" y="42834"/>
                    <a:pt x="194013" y="44094"/>
                  </a:cubicBezTo>
                  <a:cubicBezTo>
                    <a:pt x="196533" y="45354"/>
                    <a:pt x="200312" y="46613"/>
                    <a:pt x="204092" y="47873"/>
                  </a:cubicBezTo>
                  <a:cubicBezTo>
                    <a:pt x="204092" y="47873"/>
                    <a:pt x="205351" y="47873"/>
                    <a:pt x="205351" y="47873"/>
                  </a:cubicBezTo>
                  <a:cubicBezTo>
                    <a:pt x="205351" y="47873"/>
                    <a:pt x="205351" y="47873"/>
                    <a:pt x="205351" y="47873"/>
                  </a:cubicBezTo>
                  <a:cubicBezTo>
                    <a:pt x="209131" y="50393"/>
                    <a:pt x="212910" y="52913"/>
                    <a:pt x="216690" y="55432"/>
                  </a:cubicBezTo>
                  <a:cubicBezTo>
                    <a:pt x="219209" y="56692"/>
                    <a:pt x="222989" y="57952"/>
                    <a:pt x="225508" y="60472"/>
                  </a:cubicBezTo>
                  <a:lnTo>
                    <a:pt x="229288" y="62991"/>
                  </a:lnTo>
                  <a:lnTo>
                    <a:pt x="234327" y="65511"/>
                  </a:lnTo>
                  <a:cubicBezTo>
                    <a:pt x="240626" y="69290"/>
                    <a:pt x="248185" y="73070"/>
                    <a:pt x="255744" y="75589"/>
                  </a:cubicBezTo>
                  <a:cubicBezTo>
                    <a:pt x="262043" y="78109"/>
                    <a:pt x="267083" y="79369"/>
                    <a:pt x="272122" y="80629"/>
                  </a:cubicBezTo>
                  <a:cubicBezTo>
                    <a:pt x="277161" y="81889"/>
                    <a:pt x="282200" y="83148"/>
                    <a:pt x="287240" y="83148"/>
                  </a:cubicBezTo>
                  <a:lnTo>
                    <a:pt x="288499" y="83148"/>
                  </a:lnTo>
                  <a:cubicBezTo>
                    <a:pt x="291019" y="83148"/>
                    <a:pt x="293539" y="84408"/>
                    <a:pt x="294799" y="84408"/>
                  </a:cubicBezTo>
                  <a:cubicBezTo>
                    <a:pt x="297318" y="84408"/>
                    <a:pt x="298578" y="85668"/>
                    <a:pt x="301098" y="85668"/>
                  </a:cubicBezTo>
                  <a:lnTo>
                    <a:pt x="302358" y="85668"/>
                  </a:lnTo>
                  <a:cubicBezTo>
                    <a:pt x="303617" y="85668"/>
                    <a:pt x="303617" y="85668"/>
                    <a:pt x="304877" y="85668"/>
                  </a:cubicBezTo>
                  <a:cubicBezTo>
                    <a:pt x="307397" y="86928"/>
                    <a:pt x="309917" y="86928"/>
                    <a:pt x="312436" y="88188"/>
                  </a:cubicBezTo>
                  <a:lnTo>
                    <a:pt x="309917" y="86928"/>
                  </a:lnTo>
                  <a:cubicBezTo>
                    <a:pt x="314956" y="88188"/>
                    <a:pt x="318735" y="90707"/>
                    <a:pt x="323775" y="91967"/>
                  </a:cubicBezTo>
                  <a:cubicBezTo>
                    <a:pt x="326294" y="91967"/>
                    <a:pt x="327554" y="93227"/>
                    <a:pt x="330074" y="93227"/>
                  </a:cubicBezTo>
                  <a:cubicBezTo>
                    <a:pt x="332593" y="93227"/>
                    <a:pt x="333853" y="94487"/>
                    <a:pt x="336373" y="94487"/>
                  </a:cubicBezTo>
                  <a:cubicBezTo>
                    <a:pt x="338892" y="94487"/>
                    <a:pt x="341412" y="95747"/>
                    <a:pt x="343932" y="95747"/>
                  </a:cubicBezTo>
                  <a:cubicBezTo>
                    <a:pt x="347711" y="95747"/>
                    <a:pt x="350231" y="97006"/>
                    <a:pt x="354010" y="98266"/>
                  </a:cubicBezTo>
                  <a:cubicBezTo>
                    <a:pt x="356530" y="99526"/>
                    <a:pt x="360310" y="99526"/>
                    <a:pt x="362829" y="100786"/>
                  </a:cubicBezTo>
                  <a:cubicBezTo>
                    <a:pt x="365349" y="102046"/>
                    <a:pt x="369128" y="102046"/>
                    <a:pt x="371648" y="103305"/>
                  </a:cubicBezTo>
                  <a:cubicBezTo>
                    <a:pt x="374168" y="103305"/>
                    <a:pt x="376687" y="103305"/>
                    <a:pt x="379207" y="103305"/>
                  </a:cubicBezTo>
                  <a:cubicBezTo>
                    <a:pt x="380467" y="103305"/>
                    <a:pt x="381726" y="103305"/>
                    <a:pt x="384246" y="103305"/>
                  </a:cubicBezTo>
                  <a:cubicBezTo>
                    <a:pt x="388025" y="103305"/>
                    <a:pt x="390545" y="103305"/>
                    <a:pt x="394325" y="103305"/>
                  </a:cubicBezTo>
                  <a:cubicBezTo>
                    <a:pt x="401884" y="102046"/>
                    <a:pt x="408183" y="100786"/>
                    <a:pt x="415742" y="99526"/>
                  </a:cubicBezTo>
                  <a:cubicBezTo>
                    <a:pt x="417002" y="99526"/>
                    <a:pt x="418261" y="99526"/>
                    <a:pt x="419521" y="98266"/>
                  </a:cubicBezTo>
                  <a:cubicBezTo>
                    <a:pt x="423301" y="97006"/>
                    <a:pt x="427080" y="97006"/>
                    <a:pt x="430860" y="95747"/>
                  </a:cubicBezTo>
                  <a:cubicBezTo>
                    <a:pt x="433379" y="94487"/>
                    <a:pt x="437159" y="94487"/>
                    <a:pt x="439678" y="93227"/>
                  </a:cubicBezTo>
                  <a:cubicBezTo>
                    <a:pt x="445977" y="91967"/>
                    <a:pt x="452276" y="89448"/>
                    <a:pt x="458576" y="86928"/>
                  </a:cubicBezTo>
                  <a:lnTo>
                    <a:pt x="467395" y="84408"/>
                  </a:lnTo>
                  <a:cubicBezTo>
                    <a:pt x="469914" y="83148"/>
                    <a:pt x="472434" y="83148"/>
                    <a:pt x="474954" y="81889"/>
                  </a:cubicBezTo>
                  <a:cubicBezTo>
                    <a:pt x="477473" y="80629"/>
                    <a:pt x="481253" y="79369"/>
                    <a:pt x="482512" y="78109"/>
                  </a:cubicBezTo>
                  <a:cubicBezTo>
                    <a:pt x="483772" y="76849"/>
                    <a:pt x="485032" y="76849"/>
                    <a:pt x="486292" y="75589"/>
                  </a:cubicBezTo>
                  <a:cubicBezTo>
                    <a:pt x="486292" y="75589"/>
                    <a:pt x="486292" y="75589"/>
                    <a:pt x="486292" y="75589"/>
                  </a:cubicBezTo>
                  <a:lnTo>
                    <a:pt x="486292" y="75589"/>
                  </a:lnTo>
                  <a:cubicBezTo>
                    <a:pt x="486292" y="78109"/>
                    <a:pt x="486292" y="80629"/>
                    <a:pt x="487552" y="83148"/>
                  </a:cubicBezTo>
                  <a:cubicBezTo>
                    <a:pt x="487552" y="85668"/>
                    <a:pt x="488811" y="88188"/>
                    <a:pt x="490071" y="90707"/>
                  </a:cubicBezTo>
                  <a:cubicBezTo>
                    <a:pt x="491331" y="91967"/>
                    <a:pt x="491331" y="94487"/>
                    <a:pt x="492591" y="97006"/>
                  </a:cubicBezTo>
                  <a:cubicBezTo>
                    <a:pt x="493851" y="98266"/>
                    <a:pt x="495110" y="100786"/>
                    <a:pt x="497630" y="103305"/>
                  </a:cubicBezTo>
                  <a:cubicBezTo>
                    <a:pt x="498890" y="104565"/>
                    <a:pt x="501410" y="107085"/>
                    <a:pt x="503929" y="108345"/>
                  </a:cubicBezTo>
                  <a:cubicBezTo>
                    <a:pt x="508969" y="110864"/>
                    <a:pt x="512748" y="113384"/>
                    <a:pt x="516528" y="114644"/>
                  </a:cubicBezTo>
                  <a:cubicBezTo>
                    <a:pt x="519047" y="115904"/>
                    <a:pt x="521567" y="117164"/>
                    <a:pt x="524087" y="117164"/>
                  </a:cubicBezTo>
                  <a:cubicBezTo>
                    <a:pt x="526606" y="118424"/>
                    <a:pt x="529126" y="118424"/>
                    <a:pt x="531646" y="118424"/>
                  </a:cubicBezTo>
                  <a:cubicBezTo>
                    <a:pt x="531646" y="118424"/>
                    <a:pt x="532905" y="118424"/>
                    <a:pt x="532905" y="118424"/>
                  </a:cubicBezTo>
                  <a:cubicBezTo>
                    <a:pt x="536685" y="118424"/>
                    <a:pt x="539204" y="118424"/>
                    <a:pt x="541724" y="118424"/>
                  </a:cubicBezTo>
                  <a:cubicBezTo>
                    <a:pt x="544244" y="118424"/>
                    <a:pt x="548023" y="118424"/>
                    <a:pt x="551802" y="118424"/>
                  </a:cubicBezTo>
                  <a:cubicBezTo>
                    <a:pt x="558102" y="117164"/>
                    <a:pt x="564401" y="115904"/>
                    <a:pt x="569440" y="113384"/>
                  </a:cubicBezTo>
                  <a:cubicBezTo>
                    <a:pt x="571960" y="112124"/>
                    <a:pt x="574480" y="110864"/>
                    <a:pt x="575739" y="109605"/>
                  </a:cubicBezTo>
                  <a:lnTo>
                    <a:pt x="576999" y="108345"/>
                  </a:lnTo>
                  <a:cubicBezTo>
                    <a:pt x="579519" y="107085"/>
                    <a:pt x="583298" y="104565"/>
                    <a:pt x="585818" y="103305"/>
                  </a:cubicBezTo>
                  <a:cubicBezTo>
                    <a:pt x="590857" y="99526"/>
                    <a:pt x="594637" y="95747"/>
                    <a:pt x="598416" y="90707"/>
                  </a:cubicBezTo>
                  <a:cubicBezTo>
                    <a:pt x="599676" y="88188"/>
                    <a:pt x="602195" y="86928"/>
                    <a:pt x="603455" y="84408"/>
                  </a:cubicBezTo>
                  <a:cubicBezTo>
                    <a:pt x="604715" y="81889"/>
                    <a:pt x="605975" y="78109"/>
                    <a:pt x="607235" y="75589"/>
                  </a:cubicBezTo>
                  <a:cubicBezTo>
                    <a:pt x="607235" y="74330"/>
                    <a:pt x="608494" y="73070"/>
                    <a:pt x="608494" y="71810"/>
                  </a:cubicBezTo>
                  <a:lnTo>
                    <a:pt x="608494" y="70550"/>
                  </a:lnTo>
                  <a:cubicBezTo>
                    <a:pt x="608494" y="69290"/>
                    <a:pt x="608494" y="68031"/>
                    <a:pt x="608494" y="66771"/>
                  </a:cubicBezTo>
                  <a:cubicBezTo>
                    <a:pt x="608494" y="65511"/>
                    <a:pt x="608494" y="64251"/>
                    <a:pt x="608494" y="62991"/>
                  </a:cubicBezTo>
                  <a:lnTo>
                    <a:pt x="608494" y="62991"/>
                  </a:lnTo>
                  <a:lnTo>
                    <a:pt x="608494" y="62991"/>
                  </a:lnTo>
                  <a:cubicBezTo>
                    <a:pt x="609754" y="62991"/>
                    <a:pt x="611014" y="64251"/>
                    <a:pt x="612274" y="64251"/>
                  </a:cubicBezTo>
                  <a:lnTo>
                    <a:pt x="612274" y="64251"/>
                  </a:lnTo>
                  <a:lnTo>
                    <a:pt x="613534" y="64251"/>
                  </a:lnTo>
                  <a:lnTo>
                    <a:pt x="614794" y="64251"/>
                  </a:lnTo>
                  <a:lnTo>
                    <a:pt x="616054" y="64251"/>
                  </a:lnTo>
                  <a:cubicBezTo>
                    <a:pt x="619833" y="65511"/>
                    <a:pt x="623613" y="65511"/>
                    <a:pt x="626132" y="66771"/>
                  </a:cubicBezTo>
                  <a:cubicBezTo>
                    <a:pt x="627392" y="66771"/>
                    <a:pt x="628652" y="68031"/>
                    <a:pt x="629912" y="68031"/>
                  </a:cubicBezTo>
                  <a:lnTo>
                    <a:pt x="631172" y="68031"/>
                  </a:lnTo>
                  <a:lnTo>
                    <a:pt x="632431" y="68031"/>
                  </a:lnTo>
                  <a:lnTo>
                    <a:pt x="633691" y="68031"/>
                  </a:lnTo>
                  <a:cubicBezTo>
                    <a:pt x="636211" y="68031"/>
                    <a:pt x="637471" y="69290"/>
                    <a:pt x="639990" y="69290"/>
                  </a:cubicBezTo>
                  <a:cubicBezTo>
                    <a:pt x="641250" y="69290"/>
                    <a:pt x="642510" y="69290"/>
                    <a:pt x="643770" y="69290"/>
                  </a:cubicBezTo>
                  <a:cubicBezTo>
                    <a:pt x="647549" y="69290"/>
                    <a:pt x="652588" y="70550"/>
                    <a:pt x="656368" y="71810"/>
                  </a:cubicBezTo>
                  <a:cubicBezTo>
                    <a:pt x="660147" y="73070"/>
                    <a:pt x="663927" y="74330"/>
                    <a:pt x="668966" y="75589"/>
                  </a:cubicBezTo>
                  <a:cubicBezTo>
                    <a:pt x="668966" y="75589"/>
                    <a:pt x="670226" y="75589"/>
                    <a:pt x="670226" y="75589"/>
                  </a:cubicBezTo>
                  <a:cubicBezTo>
                    <a:pt x="674005" y="75589"/>
                    <a:pt x="676525" y="76849"/>
                    <a:pt x="680305" y="78109"/>
                  </a:cubicBezTo>
                  <a:cubicBezTo>
                    <a:pt x="686604" y="80629"/>
                    <a:pt x="694163" y="83148"/>
                    <a:pt x="702981" y="86928"/>
                  </a:cubicBezTo>
                  <a:cubicBezTo>
                    <a:pt x="706761" y="89448"/>
                    <a:pt x="711800" y="90707"/>
                    <a:pt x="714320" y="93227"/>
                  </a:cubicBezTo>
                  <a:lnTo>
                    <a:pt x="714320" y="93227"/>
                  </a:lnTo>
                  <a:cubicBezTo>
                    <a:pt x="716839" y="94487"/>
                    <a:pt x="719359" y="95747"/>
                    <a:pt x="721879" y="97006"/>
                  </a:cubicBezTo>
                  <a:cubicBezTo>
                    <a:pt x="729438" y="100786"/>
                    <a:pt x="735737" y="104565"/>
                    <a:pt x="740776" y="107085"/>
                  </a:cubicBezTo>
                  <a:cubicBezTo>
                    <a:pt x="744556" y="109605"/>
                    <a:pt x="748335" y="112124"/>
                    <a:pt x="750855" y="114644"/>
                  </a:cubicBezTo>
                  <a:cubicBezTo>
                    <a:pt x="753374" y="117164"/>
                    <a:pt x="755894" y="119683"/>
                    <a:pt x="758414" y="122203"/>
                  </a:cubicBezTo>
                  <a:cubicBezTo>
                    <a:pt x="763453" y="127242"/>
                    <a:pt x="767232" y="132281"/>
                    <a:pt x="772272" y="137321"/>
                  </a:cubicBezTo>
                  <a:cubicBezTo>
                    <a:pt x="773531" y="139840"/>
                    <a:pt x="776051" y="141100"/>
                    <a:pt x="777311" y="143620"/>
                  </a:cubicBezTo>
                  <a:cubicBezTo>
                    <a:pt x="779831" y="146140"/>
                    <a:pt x="782350" y="147399"/>
                    <a:pt x="783610" y="149919"/>
                  </a:cubicBezTo>
                  <a:cubicBezTo>
                    <a:pt x="786130" y="151179"/>
                    <a:pt x="788649" y="154958"/>
                    <a:pt x="791169" y="157478"/>
                  </a:cubicBezTo>
                  <a:cubicBezTo>
                    <a:pt x="792429" y="159998"/>
                    <a:pt x="794949" y="161257"/>
                    <a:pt x="796208" y="165037"/>
                  </a:cubicBezTo>
                  <a:cubicBezTo>
                    <a:pt x="801248" y="170076"/>
                    <a:pt x="805027" y="175116"/>
                    <a:pt x="808807" y="178895"/>
                  </a:cubicBezTo>
                  <a:lnTo>
                    <a:pt x="812586" y="183934"/>
                  </a:lnTo>
                  <a:lnTo>
                    <a:pt x="813846" y="185194"/>
                  </a:lnTo>
                  <a:lnTo>
                    <a:pt x="815106" y="186454"/>
                  </a:lnTo>
                  <a:lnTo>
                    <a:pt x="816365" y="187714"/>
                  </a:lnTo>
                  <a:cubicBezTo>
                    <a:pt x="818885" y="190233"/>
                    <a:pt x="820145" y="192753"/>
                    <a:pt x="822664" y="195273"/>
                  </a:cubicBezTo>
                  <a:cubicBezTo>
                    <a:pt x="826444" y="199052"/>
                    <a:pt x="830223" y="204091"/>
                    <a:pt x="834003" y="206611"/>
                  </a:cubicBezTo>
                  <a:lnTo>
                    <a:pt x="834003" y="206611"/>
                  </a:lnTo>
                  <a:cubicBezTo>
                    <a:pt x="835263" y="207871"/>
                    <a:pt x="835263" y="207871"/>
                    <a:pt x="836523" y="209131"/>
                  </a:cubicBezTo>
                  <a:lnTo>
                    <a:pt x="837782" y="210390"/>
                  </a:lnTo>
                  <a:cubicBezTo>
                    <a:pt x="840302" y="214170"/>
                    <a:pt x="844082" y="216690"/>
                    <a:pt x="846601" y="220469"/>
                  </a:cubicBezTo>
                  <a:cubicBezTo>
                    <a:pt x="847861" y="222989"/>
                    <a:pt x="850381" y="224249"/>
                    <a:pt x="851641" y="226768"/>
                  </a:cubicBezTo>
                  <a:cubicBezTo>
                    <a:pt x="855420" y="230548"/>
                    <a:pt x="859200" y="235587"/>
                    <a:pt x="861719" y="239366"/>
                  </a:cubicBezTo>
                  <a:lnTo>
                    <a:pt x="861719" y="239366"/>
                  </a:lnTo>
                  <a:lnTo>
                    <a:pt x="861719" y="239366"/>
                  </a:lnTo>
                  <a:lnTo>
                    <a:pt x="865499" y="243146"/>
                  </a:lnTo>
                  <a:cubicBezTo>
                    <a:pt x="866758" y="244406"/>
                    <a:pt x="868018" y="245666"/>
                    <a:pt x="869278" y="246925"/>
                  </a:cubicBezTo>
                  <a:lnTo>
                    <a:pt x="869278" y="246925"/>
                  </a:lnTo>
                  <a:lnTo>
                    <a:pt x="869278" y="246925"/>
                  </a:lnTo>
                  <a:lnTo>
                    <a:pt x="869278" y="246925"/>
                  </a:lnTo>
                  <a:cubicBezTo>
                    <a:pt x="871798" y="250705"/>
                    <a:pt x="875577" y="254484"/>
                    <a:pt x="878097" y="258264"/>
                  </a:cubicBezTo>
                  <a:cubicBezTo>
                    <a:pt x="881876" y="263303"/>
                    <a:pt x="885656" y="268342"/>
                    <a:pt x="888175" y="273382"/>
                  </a:cubicBezTo>
                  <a:lnTo>
                    <a:pt x="889435" y="274642"/>
                  </a:lnTo>
                  <a:lnTo>
                    <a:pt x="889435" y="275901"/>
                  </a:lnTo>
                  <a:cubicBezTo>
                    <a:pt x="889435" y="277161"/>
                    <a:pt x="890695" y="277161"/>
                    <a:pt x="890695" y="278421"/>
                  </a:cubicBezTo>
                  <a:cubicBezTo>
                    <a:pt x="894475" y="283460"/>
                    <a:pt x="898254" y="289759"/>
                    <a:pt x="902034" y="294799"/>
                  </a:cubicBezTo>
                  <a:lnTo>
                    <a:pt x="902034" y="296058"/>
                  </a:lnTo>
                  <a:lnTo>
                    <a:pt x="903293" y="297318"/>
                  </a:lnTo>
                  <a:cubicBezTo>
                    <a:pt x="904553" y="299838"/>
                    <a:pt x="907073" y="302358"/>
                    <a:pt x="908333" y="306137"/>
                  </a:cubicBezTo>
                  <a:cubicBezTo>
                    <a:pt x="909593" y="307397"/>
                    <a:pt x="910852" y="309917"/>
                    <a:pt x="912112" y="311176"/>
                  </a:cubicBezTo>
                  <a:lnTo>
                    <a:pt x="912112" y="311176"/>
                  </a:lnTo>
                  <a:cubicBezTo>
                    <a:pt x="913372" y="312436"/>
                    <a:pt x="913372" y="313696"/>
                    <a:pt x="914632" y="314956"/>
                  </a:cubicBezTo>
                  <a:cubicBezTo>
                    <a:pt x="918411" y="319995"/>
                    <a:pt x="922191" y="326294"/>
                    <a:pt x="925970" y="332593"/>
                  </a:cubicBezTo>
                  <a:cubicBezTo>
                    <a:pt x="932269" y="342672"/>
                    <a:pt x="938568" y="352751"/>
                    <a:pt x="943608" y="362829"/>
                  </a:cubicBezTo>
                  <a:lnTo>
                    <a:pt x="947387" y="369128"/>
                  </a:lnTo>
                  <a:cubicBezTo>
                    <a:pt x="947387" y="370388"/>
                    <a:pt x="948647" y="371648"/>
                    <a:pt x="948647" y="371648"/>
                  </a:cubicBezTo>
                  <a:lnTo>
                    <a:pt x="948647" y="371648"/>
                  </a:lnTo>
                  <a:lnTo>
                    <a:pt x="948647" y="371648"/>
                  </a:lnTo>
                  <a:cubicBezTo>
                    <a:pt x="951167" y="375427"/>
                    <a:pt x="953686" y="380467"/>
                    <a:pt x="956206" y="385506"/>
                  </a:cubicBezTo>
                  <a:lnTo>
                    <a:pt x="957466" y="388026"/>
                  </a:lnTo>
                  <a:lnTo>
                    <a:pt x="957466" y="388026"/>
                  </a:lnTo>
                  <a:lnTo>
                    <a:pt x="957466" y="388026"/>
                  </a:lnTo>
                  <a:cubicBezTo>
                    <a:pt x="958726" y="389286"/>
                    <a:pt x="958726" y="391805"/>
                    <a:pt x="959985" y="393065"/>
                  </a:cubicBezTo>
                  <a:cubicBezTo>
                    <a:pt x="961245" y="395585"/>
                    <a:pt x="962505" y="399364"/>
                    <a:pt x="963765" y="403143"/>
                  </a:cubicBezTo>
                  <a:lnTo>
                    <a:pt x="963765" y="403143"/>
                  </a:lnTo>
                  <a:cubicBezTo>
                    <a:pt x="965025" y="406923"/>
                    <a:pt x="966285" y="409443"/>
                    <a:pt x="966285" y="411962"/>
                  </a:cubicBezTo>
                  <a:cubicBezTo>
                    <a:pt x="967544" y="415742"/>
                    <a:pt x="967544" y="418261"/>
                    <a:pt x="968804" y="420781"/>
                  </a:cubicBezTo>
                  <a:cubicBezTo>
                    <a:pt x="970064" y="428340"/>
                    <a:pt x="971324" y="435899"/>
                    <a:pt x="971324" y="442198"/>
                  </a:cubicBezTo>
                  <a:cubicBezTo>
                    <a:pt x="971324" y="449757"/>
                    <a:pt x="970064" y="456056"/>
                    <a:pt x="968804" y="462355"/>
                  </a:cubicBezTo>
                  <a:cubicBezTo>
                    <a:pt x="968804" y="466135"/>
                    <a:pt x="967544" y="469914"/>
                    <a:pt x="966285" y="473694"/>
                  </a:cubicBezTo>
                  <a:cubicBezTo>
                    <a:pt x="965025" y="477473"/>
                    <a:pt x="963765" y="479993"/>
                    <a:pt x="961245" y="483772"/>
                  </a:cubicBezTo>
                  <a:cubicBezTo>
                    <a:pt x="961245" y="485032"/>
                    <a:pt x="959985" y="485032"/>
                    <a:pt x="958726" y="486292"/>
                  </a:cubicBezTo>
                  <a:lnTo>
                    <a:pt x="958726" y="486292"/>
                  </a:lnTo>
                  <a:cubicBezTo>
                    <a:pt x="959985" y="478733"/>
                    <a:pt x="959985" y="472434"/>
                    <a:pt x="959985" y="467395"/>
                  </a:cubicBezTo>
                  <a:cubicBezTo>
                    <a:pt x="959985" y="462355"/>
                    <a:pt x="959985" y="454796"/>
                    <a:pt x="959985" y="448497"/>
                  </a:cubicBezTo>
                  <a:cubicBezTo>
                    <a:pt x="959985" y="445978"/>
                    <a:pt x="958726" y="443458"/>
                    <a:pt x="958726" y="440938"/>
                  </a:cubicBezTo>
                  <a:lnTo>
                    <a:pt x="958726" y="440938"/>
                  </a:lnTo>
                  <a:lnTo>
                    <a:pt x="958726" y="440938"/>
                  </a:lnTo>
                  <a:cubicBezTo>
                    <a:pt x="957466" y="437159"/>
                    <a:pt x="956206" y="434639"/>
                    <a:pt x="956206" y="430860"/>
                  </a:cubicBezTo>
                  <a:cubicBezTo>
                    <a:pt x="954946" y="427080"/>
                    <a:pt x="952426" y="423301"/>
                    <a:pt x="951167" y="419521"/>
                  </a:cubicBezTo>
                  <a:cubicBezTo>
                    <a:pt x="949907" y="418261"/>
                    <a:pt x="948647" y="417002"/>
                    <a:pt x="947387" y="415742"/>
                  </a:cubicBezTo>
                  <a:cubicBezTo>
                    <a:pt x="944867" y="414482"/>
                    <a:pt x="942348" y="413222"/>
                    <a:pt x="939828" y="411962"/>
                  </a:cubicBezTo>
                  <a:lnTo>
                    <a:pt x="938568" y="410702"/>
                  </a:lnTo>
                  <a:cubicBezTo>
                    <a:pt x="936049" y="409443"/>
                    <a:pt x="933529" y="408183"/>
                    <a:pt x="931009" y="406923"/>
                  </a:cubicBezTo>
                  <a:cubicBezTo>
                    <a:pt x="928490" y="405663"/>
                    <a:pt x="927230" y="405663"/>
                    <a:pt x="924710" y="405663"/>
                  </a:cubicBezTo>
                  <a:lnTo>
                    <a:pt x="923450" y="405663"/>
                  </a:lnTo>
                  <a:cubicBezTo>
                    <a:pt x="919671" y="405663"/>
                    <a:pt x="915892" y="405663"/>
                    <a:pt x="912112" y="405663"/>
                  </a:cubicBezTo>
                  <a:cubicBezTo>
                    <a:pt x="908333" y="405663"/>
                    <a:pt x="903293" y="405663"/>
                    <a:pt x="899514" y="406923"/>
                  </a:cubicBezTo>
                  <a:cubicBezTo>
                    <a:pt x="891955" y="408183"/>
                    <a:pt x="885656" y="410702"/>
                    <a:pt x="878097" y="413222"/>
                  </a:cubicBezTo>
                  <a:cubicBezTo>
                    <a:pt x="871798" y="415742"/>
                    <a:pt x="865499" y="419521"/>
                    <a:pt x="860459" y="422041"/>
                  </a:cubicBezTo>
                  <a:cubicBezTo>
                    <a:pt x="857940" y="423301"/>
                    <a:pt x="856680" y="424560"/>
                    <a:pt x="854160" y="425820"/>
                  </a:cubicBezTo>
                  <a:lnTo>
                    <a:pt x="854160" y="425820"/>
                  </a:lnTo>
                  <a:cubicBezTo>
                    <a:pt x="852901" y="427080"/>
                    <a:pt x="851641" y="427080"/>
                    <a:pt x="850381" y="428340"/>
                  </a:cubicBezTo>
                  <a:cubicBezTo>
                    <a:pt x="847861" y="429600"/>
                    <a:pt x="845341" y="430860"/>
                    <a:pt x="841562" y="433379"/>
                  </a:cubicBezTo>
                  <a:cubicBezTo>
                    <a:pt x="840302" y="434639"/>
                    <a:pt x="837782" y="435899"/>
                    <a:pt x="836523" y="437159"/>
                  </a:cubicBezTo>
                  <a:cubicBezTo>
                    <a:pt x="835263" y="438419"/>
                    <a:pt x="832743" y="439678"/>
                    <a:pt x="831483" y="440938"/>
                  </a:cubicBezTo>
                  <a:cubicBezTo>
                    <a:pt x="826444" y="444718"/>
                    <a:pt x="822664" y="447237"/>
                    <a:pt x="820145" y="449757"/>
                  </a:cubicBez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cubicBezTo>
                    <a:pt x="820145" y="449757"/>
                    <a:pt x="820145" y="449757"/>
                    <a:pt x="820145" y="449757"/>
                  </a:cubicBezTo>
                  <a:lnTo>
                    <a:pt x="820145" y="449757"/>
                  </a:lnTo>
                  <a:lnTo>
                    <a:pt x="821405" y="449757"/>
                  </a:lnTo>
                  <a:lnTo>
                    <a:pt x="821405" y="449757"/>
                  </a:lnTo>
                  <a:cubicBezTo>
                    <a:pt x="820145" y="451017"/>
                    <a:pt x="818885" y="452277"/>
                    <a:pt x="817625" y="452277"/>
                  </a:cubicBez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6365" y="451017"/>
                  </a:lnTo>
                  <a:lnTo>
                    <a:pt x="815106" y="449757"/>
                  </a:lnTo>
                  <a:cubicBezTo>
                    <a:pt x="813846" y="447237"/>
                    <a:pt x="812586" y="445978"/>
                    <a:pt x="811326" y="443458"/>
                  </a:cubicBezTo>
                  <a:cubicBezTo>
                    <a:pt x="806287" y="437159"/>
                    <a:pt x="802508" y="430860"/>
                    <a:pt x="799988" y="425820"/>
                  </a:cubicBezTo>
                  <a:cubicBezTo>
                    <a:pt x="796208" y="420781"/>
                    <a:pt x="793689" y="415742"/>
                    <a:pt x="789909" y="410702"/>
                  </a:cubicBezTo>
                  <a:lnTo>
                    <a:pt x="789909" y="409443"/>
                  </a:lnTo>
                  <a:lnTo>
                    <a:pt x="789909" y="409443"/>
                  </a:lnTo>
                  <a:cubicBezTo>
                    <a:pt x="786130" y="403143"/>
                    <a:pt x="781090" y="396844"/>
                    <a:pt x="777311" y="389286"/>
                  </a:cubicBezTo>
                  <a:cubicBezTo>
                    <a:pt x="774791" y="385506"/>
                    <a:pt x="772272" y="380467"/>
                    <a:pt x="769752" y="376687"/>
                  </a:cubicBezTo>
                  <a:lnTo>
                    <a:pt x="769752" y="376687"/>
                  </a:lnTo>
                  <a:lnTo>
                    <a:pt x="768492" y="375427"/>
                  </a:lnTo>
                  <a:cubicBezTo>
                    <a:pt x="767232" y="374167"/>
                    <a:pt x="767232" y="372908"/>
                    <a:pt x="765972" y="371648"/>
                  </a:cubicBezTo>
                  <a:lnTo>
                    <a:pt x="765972" y="370388"/>
                  </a:lnTo>
                  <a:cubicBezTo>
                    <a:pt x="764713" y="367868"/>
                    <a:pt x="762193" y="365349"/>
                    <a:pt x="760933" y="362829"/>
                  </a:cubicBezTo>
                  <a:cubicBezTo>
                    <a:pt x="758414" y="360310"/>
                    <a:pt x="757154" y="356530"/>
                    <a:pt x="754634" y="354010"/>
                  </a:cubicBezTo>
                  <a:cubicBezTo>
                    <a:pt x="753374" y="352751"/>
                    <a:pt x="752115" y="350231"/>
                    <a:pt x="750855" y="348971"/>
                  </a:cubicBezTo>
                  <a:lnTo>
                    <a:pt x="750855" y="347711"/>
                  </a:lnTo>
                  <a:lnTo>
                    <a:pt x="749595" y="346451"/>
                  </a:lnTo>
                  <a:cubicBezTo>
                    <a:pt x="747075" y="343932"/>
                    <a:pt x="744556" y="340152"/>
                    <a:pt x="742036" y="336373"/>
                  </a:cubicBezTo>
                  <a:cubicBezTo>
                    <a:pt x="739516" y="333853"/>
                    <a:pt x="736997" y="330074"/>
                    <a:pt x="735737" y="326294"/>
                  </a:cubicBezTo>
                  <a:cubicBezTo>
                    <a:pt x="735737" y="326294"/>
                    <a:pt x="735737" y="325034"/>
                    <a:pt x="734477" y="325034"/>
                  </a:cubicBezTo>
                  <a:lnTo>
                    <a:pt x="734477" y="325034"/>
                  </a:lnTo>
                  <a:lnTo>
                    <a:pt x="734477" y="325034"/>
                  </a:lnTo>
                  <a:cubicBezTo>
                    <a:pt x="734477" y="323775"/>
                    <a:pt x="733217" y="323775"/>
                    <a:pt x="733217" y="322515"/>
                  </a:cubicBezTo>
                  <a:cubicBezTo>
                    <a:pt x="731957" y="321255"/>
                    <a:pt x="731957" y="319995"/>
                    <a:pt x="730698" y="319995"/>
                  </a:cubicBezTo>
                  <a:cubicBezTo>
                    <a:pt x="730698" y="319995"/>
                    <a:pt x="729438" y="318735"/>
                    <a:pt x="729438" y="318735"/>
                  </a:cubicBezTo>
                  <a:cubicBezTo>
                    <a:pt x="729438" y="317475"/>
                    <a:pt x="728178" y="317475"/>
                    <a:pt x="728178" y="316216"/>
                  </a:cubicBez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4956"/>
                  </a:lnTo>
                  <a:lnTo>
                    <a:pt x="726918" y="313696"/>
                  </a:lnTo>
                  <a:cubicBezTo>
                    <a:pt x="725658" y="312436"/>
                    <a:pt x="724398" y="309917"/>
                    <a:pt x="723138" y="308657"/>
                  </a:cubicBezTo>
                  <a:lnTo>
                    <a:pt x="721879" y="306137"/>
                  </a:lnTo>
                  <a:lnTo>
                    <a:pt x="721879" y="304877"/>
                  </a:lnTo>
                  <a:lnTo>
                    <a:pt x="720619" y="302358"/>
                  </a:lnTo>
                  <a:cubicBezTo>
                    <a:pt x="719359" y="301098"/>
                    <a:pt x="718099" y="298578"/>
                    <a:pt x="716839" y="297318"/>
                  </a:cubicBezTo>
                  <a:lnTo>
                    <a:pt x="715579" y="296058"/>
                  </a:lnTo>
                  <a:lnTo>
                    <a:pt x="715579" y="296058"/>
                  </a:lnTo>
                  <a:cubicBezTo>
                    <a:pt x="714320" y="294799"/>
                    <a:pt x="714320" y="294799"/>
                    <a:pt x="713060" y="293539"/>
                  </a:cubicBezTo>
                  <a:cubicBezTo>
                    <a:pt x="711800" y="292279"/>
                    <a:pt x="711800" y="291019"/>
                    <a:pt x="710540" y="291019"/>
                  </a:cubicBezTo>
                  <a:lnTo>
                    <a:pt x="709280" y="289759"/>
                  </a:lnTo>
                  <a:cubicBezTo>
                    <a:pt x="708021" y="288500"/>
                    <a:pt x="708021" y="288500"/>
                    <a:pt x="706761" y="287240"/>
                  </a:cubicBezTo>
                  <a:lnTo>
                    <a:pt x="705501" y="285980"/>
                  </a:lnTo>
                  <a:lnTo>
                    <a:pt x="704241" y="284720"/>
                  </a:lnTo>
                  <a:lnTo>
                    <a:pt x="704241" y="284720"/>
                  </a:lnTo>
                  <a:lnTo>
                    <a:pt x="702981" y="283460"/>
                  </a:lnTo>
                  <a:cubicBezTo>
                    <a:pt x="701722" y="282201"/>
                    <a:pt x="701722" y="282201"/>
                    <a:pt x="700462" y="280941"/>
                  </a:cubicBezTo>
                  <a:cubicBezTo>
                    <a:pt x="699202" y="279681"/>
                    <a:pt x="699202" y="279681"/>
                    <a:pt x="697942" y="278421"/>
                  </a:cubicBezTo>
                  <a:lnTo>
                    <a:pt x="697942" y="278421"/>
                  </a:lnTo>
                  <a:lnTo>
                    <a:pt x="697942" y="278421"/>
                  </a:lnTo>
                  <a:cubicBezTo>
                    <a:pt x="696682" y="278421"/>
                    <a:pt x="696682" y="277161"/>
                    <a:pt x="695423" y="277161"/>
                  </a:cubicBezTo>
                  <a:lnTo>
                    <a:pt x="695423" y="277161"/>
                  </a:lnTo>
                  <a:lnTo>
                    <a:pt x="695423" y="277161"/>
                  </a:lnTo>
                  <a:cubicBezTo>
                    <a:pt x="695423" y="277161"/>
                    <a:pt x="695423" y="275901"/>
                    <a:pt x="694163" y="275901"/>
                  </a:cubicBezTo>
                  <a:cubicBezTo>
                    <a:pt x="694163" y="275901"/>
                    <a:pt x="694163" y="275901"/>
                    <a:pt x="694163" y="275901"/>
                  </a:cubicBezTo>
                  <a:cubicBezTo>
                    <a:pt x="694163" y="275901"/>
                    <a:pt x="692903" y="275901"/>
                    <a:pt x="692903" y="275901"/>
                  </a:cubicBezTo>
                  <a:lnTo>
                    <a:pt x="692903" y="275901"/>
                  </a:lnTo>
                  <a:cubicBezTo>
                    <a:pt x="692903" y="275901"/>
                    <a:pt x="692903" y="277161"/>
                    <a:pt x="692903" y="277161"/>
                  </a:cubicBezTo>
                  <a:lnTo>
                    <a:pt x="692903" y="277161"/>
                  </a:lnTo>
                  <a:lnTo>
                    <a:pt x="692903" y="277161"/>
                  </a:lnTo>
                  <a:cubicBezTo>
                    <a:pt x="692903" y="277161"/>
                    <a:pt x="692903" y="277161"/>
                    <a:pt x="692903" y="277161"/>
                  </a:cubicBezTo>
                  <a:cubicBezTo>
                    <a:pt x="692903" y="277161"/>
                    <a:pt x="692903" y="278421"/>
                    <a:pt x="692903" y="278421"/>
                  </a:cubicBezTo>
                  <a:lnTo>
                    <a:pt x="692903" y="278421"/>
                  </a:lnTo>
                  <a:cubicBezTo>
                    <a:pt x="692903" y="279681"/>
                    <a:pt x="692903" y="279681"/>
                    <a:pt x="692903" y="280941"/>
                  </a:cubicBezTo>
                  <a:cubicBezTo>
                    <a:pt x="692903" y="282201"/>
                    <a:pt x="692903" y="283460"/>
                    <a:pt x="692903" y="283460"/>
                  </a:cubicBezTo>
                  <a:lnTo>
                    <a:pt x="692903" y="284720"/>
                  </a:lnTo>
                  <a:lnTo>
                    <a:pt x="692903" y="285980"/>
                  </a:lnTo>
                  <a:cubicBezTo>
                    <a:pt x="692903" y="287240"/>
                    <a:pt x="692903" y="288500"/>
                    <a:pt x="692903" y="289759"/>
                  </a:cubicBezTo>
                  <a:lnTo>
                    <a:pt x="692903" y="292279"/>
                  </a:lnTo>
                  <a:lnTo>
                    <a:pt x="692903" y="293539"/>
                  </a:lnTo>
                  <a:cubicBezTo>
                    <a:pt x="692903" y="294799"/>
                    <a:pt x="692903" y="296058"/>
                    <a:pt x="692903" y="297318"/>
                  </a:cubicBezTo>
                  <a:lnTo>
                    <a:pt x="692903" y="297318"/>
                  </a:lnTo>
                  <a:lnTo>
                    <a:pt x="692903" y="297318"/>
                  </a:lnTo>
                  <a:lnTo>
                    <a:pt x="692903" y="298578"/>
                  </a:lnTo>
                  <a:cubicBezTo>
                    <a:pt x="692903" y="299838"/>
                    <a:pt x="692903" y="299838"/>
                    <a:pt x="692903" y="301098"/>
                  </a:cubicBezTo>
                  <a:lnTo>
                    <a:pt x="692903" y="301098"/>
                  </a:lnTo>
                  <a:lnTo>
                    <a:pt x="692903" y="301098"/>
                  </a:lnTo>
                  <a:lnTo>
                    <a:pt x="692903" y="302358"/>
                  </a:lnTo>
                  <a:lnTo>
                    <a:pt x="692903" y="303618"/>
                  </a:lnTo>
                  <a:lnTo>
                    <a:pt x="692903" y="304877"/>
                  </a:lnTo>
                  <a:cubicBezTo>
                    <a:pt x="692903" y="306137"/>
                    <a:pt x="692903" y="307397"/>
                    <a:pt x="694163" y="308657"/>
                  </a:cubicBezTo>
                  <a:lnTo>
                    <a:pt x="694163" y="309917"/>
                  </a:lnTo>
                  <a:cubicBezTo>
                    <a:pt x="694163" y="311176"/>
                    <a:pt x="694163" y="312436"/>
                    <a:pt x="695423" y="312436"/>
                  </a:cubicBezTo>
                  <a:lnTo>
                    <a:pt x="695423" y="312436"/>
                  </a:lnTo>
                  <a:lnTo>
                    <a:pt x="695423" y="314956"/>
                  </a:lnTo>
                  <a:cubicBezTo>
                    <a:pt x="696682" y="318735"/>
                    <a:pt x="696682" y="322515"/>
                    <a:pt x="697942" y="326294"/>
                  </a:cubicBezTo>
                  <a:cubicBezTo>
                    <a:pt x="697942" y="327554"/>
                    <a:pt x="697942" y="328814"/>
                    <a:pt x="699202" y="330074"/>
                  </a:cubicBezTo>
                  <a:lnTo>
                    <a:pt x="699202" y="331334"/>
                  </a:lnTo>
                  <a:cubicBezTo>
                    <a:pt x="699202" y="333853"/>
                    <a:pt x="700462" y="335113"/>
                    <a:pt x="700462" y="337633"/>
                  </a:cubicBezTo>
                  <a:cubicBezTo>
                    <a:pt x="700462" y="338893"/>
                    <a:pt x="701722" y="340152"/>
                    <a:pt x="701722" y="342672"/>
                  </a:cubicBezTo>
                  <a:lnTo>
                    <a:pt x="701722" y="342672"/>
                  </a:lnTo>
                  <a:lnTo>
                    <a:pt x="701722" y="343932"/>
                  </a:lnTo>
                  <a:lnTo>
                    <a:pt x="702981" y="347711"/>
                  </a:lnTo>
                  <a:cubicBezTo>
                    <a:pt x="702981" y="348971"/>
                    <a:pt x="702981" y="348971"/>
                    <a:pt x="702981" y="350231"/>
                  </a:cubicBezTo>
                  <a:cubicBezTo>
                    <a:pt x="702981" y="350231"/>
                    <a:pt x="702981" y="351491"/>
                    <a:pt x="702981" y="351491"/>
                  </a:cubicBezTo>
                  <a:cubicBezTo>
                    <a:pt x="702981" y="352751"/>
                    <a:pt x="702981" y="354010"/>
                    <a:pt x="702981" y="355270"/>
                  </a:cubicBezTo>
                  <a:cubicBezTo>
                    <a:pt x="702981" y="357790"/>
                    <a:pt x="702981" y="359050"/>
                    <a:pt x="704241" y="361569"/>
                  </a:cubicBezTo>
                  <a:lnTo>
                    <a:pt x="704241" y="362829"/>
                  </a:lnTo>
                  <a:cubicBezTo>
                    <a:pt x="705501" y="367868"/>
                    <a:pt x="705501" y="372908"/>
                    <a:pt x="706761" y="377947"/>
                  </a:cubicBezTo>
                  <a:lnTo>
                    <a:pt x="706761" y="377947"/>
                  </a:lnTo>
                  <a:cubicBezTo>
                    <a:pt x="706761" y="380467"/>
                    <a:pt x="708021" y="384246"/>
                    <a:pt x="708021" y="388026"/>
                  </a:cubicBezTo>
                  <a:cubicBezTo>
                    <a:pt x="708021" y="389286"/>
                    <a:pt x="708021" y="391805"/>
                    <a:pt x="708021" y="393065"/>
                  </a:cubicBezTo>
                  <a:lnTo>
                    <a:pt x="708021" y="394325"/>
                  </a:lnTo>
                  <a:lnTo>
                    <a:pt x="708021" y="395585"/>
                  </a:lnTo>
                  <a:cubicBezTo>
                    <a:pt x="708021" y="396844"/>
                    <a:pt x="708021" y="396844"/>
                    <a:pt x="708021" y="398104"/>
                  </a:cubicBezTo>
                  <a:cubicBezTo>
                    <a:pt x="708021" y="399364"/>
                    <a:pt x="708021" y="401884"/>
                    <a:pt x="708021" y="403143"/>
                  </a:cubicBezTo>
                  <a:lnTo>
                    <a:pt x="708021" y="404403"/>
                  </a:lnTo>
                  <a:cubicBezTo>
                    <a:pt x="708021" y="405663"/>
                    <a:pt x="708021" y="408183"/>
                    <a:pt x="708021" y="409443"/>
                  </a:cubicBezTo>
                  <a:cubicBezTo>
                    <a:pt x="708021" y="413222"/>
                    <a:pt x="709280" y="415742"/>
                    <a:pt x="709280" y="419521"/>
                  </a:cubicBezTo>
                  <a:cubicBezTo>
                    <a:pt x="709280" y="422041"/>
                    <a:pt x="710540" y="425820"/>
                    <a:pt x="710540" y="430860"/>
                  </a:cubicBezTo>
                  <a:lnTo>
                    <a:pt x="710540" y="434639"/>
                  </a:lnTo>
                  <a:lnTo>
                    <a:pt x="710540" y="435899"/>
                  </a:lnTo>
                  <a:cubicBezTo>
                    <a:pt x="710540" y="437159"/>
                    <a:pt x="710540" y="439678"/>
                    <a:pt x="711800" y="440938"/>
                  </a:cubicBezTo>
                  <a:cubicBezTo>
                    <a:pt x="711800" y="443458"/>
                    <a:pt x="713060" y="447237"/>
                    <a:pt x="713060" y="449757"/>
                  </a:cubicBezTo>
                  <a:lnTo>
                    <a:pt x="713060" y="449757"/>
                  </a:lnTo>
                  <a:lnTo>
                    <a:pt x="713060" y="449757"/>
                  </a:lnTo>
                  <a:lnTo>
                    <a:pt x="713060" y="449757"/>
                  </a:lnTo>
                  <a:cubicBezTo>
                    <a:pt x="713060" y="451017"/>
                    <a:pt x="714320" y="453536"/>
                    <a:pt x="714320" y="454796"/>
                  </a:cubicBezTo>
                  <a:lnTo>
                    <a:pt x="714320" y="454796"/>
                  </a:lnTo>
                  <a:cubicBezTo>
                    <a:pt x="714320" y="456056"/>
                    <a:pt x="715579" y="457316"/>
                    <a:pt x="715579" y="459836"/>
                  </a:cubicBezTo>
                  <a:cubicBezTo>
                    <a:pt x="715579" y="461095"/>
                    <a:pt x="716839" y="461095"/>
                    <a:pt x="716839" y="461095"/>
                  </a:cubicBezTo>
                  <a:cubicBezTo>
                    <a:pt x="716839" y="461095"/>
                    <a:pt x="718099" y="461095"/>
                    <a:pt x="718099" y="461095"/>
                  </a:cubicBezTo>
                  <a:cubicBezTo>
                    <a:pt x="718099" y="461095"/>
                    <a:pt x="719359" y="461095"/>
                    <a:pt x="719359" y="461095"/>
                  </a:cubicBezTo>
                  <a:cubicBezTo>
                    <a:pt x="719359" y="461095"/>
                    <a:pt x="719359" y="461095"/>
                    <a:pt x="720619" y="461095"/>
                  </a:cubicBezTo>
                  <a:cubicBezTo>
                    <a:pt x="720619" y="461095"/>
                    <a:pt x="721879" y="461095"/>
                    <a:pt x="721879" y="459836"/>
                  </a:cubicBezTo>
                  <a:cubicBezTo>
                    <a:pt x="721879" y="463615"/>
                    <a:pt x="721879" y="466135"/>
                    <a:pt x="721879" y="468654"/>
                  </a:cubicBezTo>
                  <a:cubicBezTo>
                    <a:pt x="721879" y="469914"/>
                    <a:pt x="721879" y="472434"/>
                    <a:pt x="721879" y="473694"/>
                  </a:cubicBezTo>
                  <a:lnTo>
                    <a:pt x="721879" y="474953"/>
                  </a:lnTo>
                  <a:lnTo>
                    <a:pt x="721879" y="476213"/>
                  </a:lnTo>
                  <a:lnTo>
                    <a:pt x="721879" y="477473"/>
                  </a:lnTo>
                  <a:lnTo>
                    <a:pt x="721879" y="478733"/>
                  </a:lnTo>
                  <a:cubicBezTo>
                    <a:pt x="721879" y="481252"/>
                    <a:pt x="721879" y="482512"/>
                    <a:pt x="721879" y="485032"/>
                  </a:cubicBezTo>
                  <a:lnTo>
                    <a:pt x="721879" y="487552"/>
                  </a:lnTo>
                  <a:lnTo>
                    <a:pt x="721879" y="490071"/>
                  </a:lnTo>
                  <a:lnTo>
                    <a:pt x="721879" y="492591"/>
                  </a:lnTo>
                  <a:cubicBezTo>
                    <a:pt x="721879" y="497630"/>
                    <a:pt x="720619" y="503929"/>
                    <a:pt x="720619" y="510228"/>
                  </a:cubicBezTo>
                  <a:cubicBezTo>
                    <a:pt x="720619" y="517787"/>
                    <a:pt x="719359" y="526606"/>
                    <a:pt x="719359" y="534165"/>
                  </a:cubicBezTo>
                  <a:lnTo>
                    <a:pt x="719359" y="534165"/>
                  </a:lnTo>
                  <a:lnTo>
                    <a:pt x="719359" y="534165"/>
                  </a:lnTo>
                  <a:cubicBezTo>
                    <a:pt x="716839" y="536685"/>
                    <a:pt x="713060" y="539204"/>
                    <a:pt x="710540" y="541724"/>
                  </a:cubicBezTo>
                  <a:cubicBezTo>
                    <a:pt x="700462" y="550543"/>
                    <a:pt x="692903" y="559362"/>
                    <a:pt x="686604" y="566921"/>
                  </a:cubicBezTo>
                  <a:lnTo>
                    <a:pt x="684084" y="569440"/>
                  </a:lnTo>
                  <a:cubicBezTo>
                    <a:pt x="677785" y="576999"/>
                    <a:pt x="670226" y="584558"/>
                    <a:pt x="663927" y="593377"/>
                  </a:cubicBezTo>
                  <a:cubicBezTo>
                    <a:pt x="661407" y="597156"/>
                    <a:pt x="656368" y="603456"/>
                    <a:pt x="652588" y="608495"/>
                  </a:cubicBezTo>
                  <a:cubicBezTo>
                    <a:pt x="648809" y="613534"/>
                    <a:pt x="646289" y="619833"/>
                    <a:pt x="642510" y="623613"/>
                  </a:cubicBezTo>
                  <a:cubicBezTo>
                    <a:pt x="639990" y="628652"/>
                    <a:pt x="637471" y="632431"/>
                    <a:pt x="634951" y="637471"/>
                  </a:cubicBezTo>
                  <a:lnTo>
                    <a:pt x="634951" y="637471"/>
                  </a:lnTo>
                  <a:cubicBezTo>
                    <a:pt x="633691" y="639990"/>
                    <a:pt x="632431" y="642510"/>
                    <a:pt x="629912" y="646289"/>
                  </a:cubicBezTo>
                  <a:cubicBezTo>
                    <a:pt x="628652" y="647549"/>
                    <a:pt x="628652" y="650069"/>
                    <a:pt x="627392" y="651329"/>
                  </a:cubicBezTo>
                  <a:lnTo>
                    <a:pt x="627392" y="651329"/>
                  </a:lnTo>
                  <a:cubicBezTo>
                    <a:pt x="627392" y="652589"/>
                    <a:pt x="626132" y="652589"/>
                    <a:pt x="626132" y="653848"/>
                  </a:cubicBezTo>
                  <a:cubicBezTo>
                    <a:pt x="623613" y="658888"/>
                    <a:pt x="622353" y="663927"/>
                    <a:pt x="619833" y="667706"/>
                  </a:cubicBezTo>
                  <a:lnTo>
                    <a:pt x="619833" y="667706"/>
                  </a:lnTo>
                  <a:lnTo>
                    <a:pt x="619833" y="668966"/>
                  </a:lnTo>
                  <a:cubicBezTo>
                    <a:pt x="618573" y="671486"/>
                    <a:pt x="617313" y="675265"/>
                    <a:pt x="617313" y="677785"/>
                  </a:cubicBezTo>
                  <a:lnTo>
                    <a:pt x="617313" y="679045"/>
                  </a:lnTo>
                  <a:lnTo>
                    <a:pt x="617313" y="679045"/>
                  </a:lnTo>
                  <a:cubicBezTo>
                    <a:pt x="616054" y="681565"/>
                    <a:pt x="616054" y="684084"/>
                    <a:pt x="614794" y="686604"/>
                  </a:cubicBezTo>
                  <a:cubicBezTo>
                    <a:pt x="614794" y="687864"/>
                    <a:pt x="614794" y="689123"/>
                    <a:pt x="614794" y="691643"/>
                  </a:cubicBezTo>
                  <a:lnTo>
                    <a:pt x="614794" y="694163"/>
                  </a:lnTo>
                  <a:lnTo>
                    <a:pt x="614794" y="696682"/>
                  </a:lnTo>
                  <a:cubicBezTo>
                    <a:pt x="614794" y="697942"/>
                    <a:pt x="614794" y="700462"/>
                    <a:pt x="614794" y="701722"/>
                  </a:cubicBezTo>
                  <a:lnTo>
                    <a:pt x="614794" y="701722"/>
                  </a:lnTo>
                  <a:lnTo>
                    <a:pt x="614794" y="701722"/>
                  </a:lnTo>
                  <a:lnTo>
                    <a:pt x="614794" y="704241"/>
                  </a:lnTo>
                  <a:cubicBezTo>
                    <a:pt x="614794" y="706761"/>
                    <a:pt x="614794" y="708021"/>
                    <a:pt x="614794" y="710540"/>
                  </a:cubicBezTo>
                  <a:lnTo>
                    <a:pt x="614794" y="713060"/>
                  </a:lnTo>
                  <a:cubicBezTo>
                    <a:pt x="614794" y="715580"/>
                    <a:pt x="614794" y="718099"/>
                    <a:pt x="614794" y="720619"/>
                  </a:cubicBezTo>
                  <a:cubicBezTo>
                    <a:pt x="616054" y="728178"/>
                    <a:pt x="616054" y="733217"/>
                    <a:pt x="618573" y="738257"/>
                  </a:cubicBezTo>
                  <a:lnTo>
                    <a:pt x="618573" y="739516"/>
                  </a:lnTo>
                  <a:cubicBezTo>
                    <a:pt x="619833" y="743296"/>
                    <a:pt x="619833" y="745815"/>
                    <a:pt x="622353" y="749595"/>
                  </a:cubicBezTo>
                  <a:cubicBezTo>
                    <a:pt x="623613" y="752114"/>
                    <a:pt x="624872" y="755894"/>
                    <a:pt x="626132" y="758414"/>
                  </a:cubicBezTo>
                  <a:cubicBezTo>
                    <a:pt x="626132" y="759674"/>
                    <a:pt x="627392" y="760933"/>
                    <a:pt x="628652" y="762193"/>
                  </a:cubicBezTo>
                  <a:cubicBezTo>
                    <a:pt x="628652" y="763453"/>
                    <a:pt x="629912" y="763453"/>
                    <a:pt x="629912" y="764713"/>
                  </a:cubicBezTo>
                  <a:lnTo>
                    <a:pt x="629912" y="765973"/>
                  </a:lnTo>
                  <a:cubicBezTo>
                    <a:pt x="632431" y="768492"/>
                    <a:pt x="633691" y="771012"/>
                    <a:pt x="636211" y="773532"/>
                  </a:cubicBezTo>
                  <a:lnTo>
                    <a:pt x="636211" y="773532"/>
                  </a:lnTo>
                  <a:cubicBezTo>
                    <a:pt x="637471" y="774791"/>
                    <a:pt x="637471" y="774791"/>
                    <a:pt x="638731" y="776051"/>
                  </a:cubicBezTo>
                  <a:cubicBezTo>
                    <a:pt x="639990" y="777311"/>
                    <a:pt x="641250" y="778571"/>
                    <a:pt x="642510" y="778571"/>
                  </a:cubicBezTo>
                  <a:lnTo>
                    <a:pt x="643770" y="778571"/>
                  </a:lnTo>
                  <a:cubicBezTo>
                    <a:pt x="645030" y="778571"/>
                    <a:pt x="646289" y="779831"/>
                    <a:pt x="646289" y="779831"/>
                  </a:cubicBezTo>
                  <a:cubicBezTo>
                    <a:pt x="648809" y="781090"/>
                    <a:pt x="651329" y="782350"/>
                    <a:pt x="653848" y="783610"/>
                  </a:cubicBezTo>
                  <a:lnTo>
                    <a:pt x="653848" y="783610"/>
                  </a:lnTo>
                  <a:cubicBezTo>
                    <a:pt x="656368" y="784870"/>
                    <a:pt x="660147" y="786130"/>
                    <a:pt x="662667" y="786130"/>
                  </a:cubicBezTo>
                  <a:cubicBezTo>
                    <a:pt x="662667" y="786130"/>
                    <a:pt x="662667" y="786130"/>
                    <a:pt x="662667" y="786130"/>
                  </a:cubicBezTo>
                  <a:lnTo>
                    <a:pt x="662667" y="786130"/>
                  </a:lnTo>
                  <a:lnTo>
                    <a:pt x="662667" y="786130"/>
                  </a:lnTo>
                  <a:cubicBezTo>
                    <a:pt x="662667" y="786130"/>
                    <a:pt x="661407" y="786130"/>
                    <a:pt x="661407" y="786130"/>
                  </a:cubicBezTo>
                  <a:lnTo>
                    <a:pt x="660147" y="786130"/>
                  </a:lnTo>
                  <a:cubicBezTo>
                    <a:pt x="658887" y="786130"/>
                    <a:pt x="657628" y="786130"/>
                    <a:pt x="656368" y="786130"/>
                  </a:cubicBezTo>
                  <a:cubicBezTo>
                    <a:pt x="655108" y="786130"/>
                    <a:pt x="652588" y="786130"/>
                    <a:pt x="651329" y="786130"/>
                  </a:cubicBezTo>
                  <a:cubicBezTo>
                    <a:pt x="645030" y="786130"/>
                    <a:pt x="638731" y="787390"/>
                    <a:pt x="631172" y="787390"/>
                  </a:cubicBezTo>
                  <a:cubicBezTo>
                    <a:pt x="622353" y="787390"/>
                    <a:pt x="612274" y="787390"/>
                    <a:pt x="603455" y="787390"/>
                  </a:cubicBezTo>
                  <a:cubicBezTo>
                    <a:pt x="600936" y="787390"/>
                    <a:pt x="598416" y="787390"/>
                    <a:pt x="595896" y="787390"/>
                  </a:cubicBezTo>
                  <a:lnTo>
                    <a:pt x="593377" y="787390"/>
                  </a:lnTo>
                  <a:lnTo>
                    <a:pt x="593377" y="787390"/>
                  </a:lnTo>
                  <a:cubicBezTo>
                    <a:pt x="590857" y="787390"/>
                    <a:pt x="589597" y="787390"/>
                    <a:pt x="587078" y="787390"/>
                  </a:cubicBezTo>
                  <a:cubicBezTo>
                    <a:pt x="584558" y="787390"/>
                    <a:pt x="580779" y="787390"/>
                    <a:pt x="578259" y="787390"/>
                  </a:cubicBezTo>
                  <a:cubicBezTo>
                    <a:pt x="576999" y="787390"/>
                    <a:pt x="575739" y="787390"/>
                    <a:pt x="573220" y="787390"/>
                  </a:cubicBezTo>
                  <a:lnTo>
                    <a:pt x="573220" y="787390"/>
                  </a:lnTo>
                  <a:lnTo>
                    <a:pt x="573220" y="787390"/>
                  </a:lnTo>
                  <a:cubicBezTo>
                    <a:pt x="569440" y="787390"/>
                    <a:pt x="564401" y="787390"/>
                    <a:pt x="560621" y="787390"/>
                  </a:cubicBezTo>
                  <a:cubicBezTo>
                    <a:pt x="558102" y="787390"/>
                    <a:pt x="556842" y="787390"/>
                    <a:pt x="554322" y="787390"/>
                  </a:cubicBezTo>
                  <a:lnTo>
                    <a:pt x="553062" y="787390"/>
                  </a:lnTo>
                  <a:cubicBezTo>
                    <a:pt x="550543" y="787390"/>
                    <a:pt x="545503" y="787390"/>
                    <a:pt x="541724" y="787390"/>
                  </a:cubicBezTo>
                  <a:lnTo>
                    <a:pt x="536685" y="787390"/>
                  </a:lnTo>
                  <a:lnTo>
                    <a:pt x="535425" y="787390"/>
                  </a:lnTo>
                  <a:lnTo>
                    <a:pt x="535425" y="787390"/>
                  </a:lnTo>
                  <a:lnTo>
                    <a:pt x="535425" y="787390"/>
                  </a:lnTo>
                  <a:cubicBezTo>
                    <a:pt x="531646" y="787390"/>
                    <a:pt x="527866" y="787390"/>
                    <a:pt x="524087" y="787390"/>
                  </a:cubicBezTo>
                  <a:cubicBezTo>
                    <a:pt x="521567" y="787390"/>
                    <a:pt x="519047" y="787390"/>
                    <a:pt x="516528" y="787390"/>
                  </a:cubicBezTo>
                  <a:cubicBezTo>
                    <a:pt x="512748" y="787390"/>
                    <a:pt x="510228" y="787390"/>
                    <a:pt x="506449" y="787390"/>
                  </a:cubicBezTo>
                  <a:cubicBezTo>
                    <a:pt x="501410" y="787390"/>
                    <a:pt x="495110" y="787390"/>
                    <a:pt x="488811" y="786130"/>
                  </a:cubicBezTo>
                  <a:cubicBezTo>
                    <a:pt x="488811" y="786130"/>
                    <a:pt x="487552" y="786130"/>
                    <a:pt x="487552" y="786130"/>
                  </a:cubicBezTo>
                  <a:cubicBezTo>
                    <a:pt x="485032" y="786130"/>
                    <a:pt x="481253" y="786130"/>
                    <a:pt x="478733" y="784870"/>
                  </a:cubicBezTo>
                  <a:lnTo>
                    <a:pt x="477473" y="784870"/>
                  </a:lnTo>
                  <a:lnTo>
                    <a:pt x="477473" y="784870"/>
                  </a:lnTo>
                  <a:cubicBezTo>
                    <a:pt x="474954" y="784870"/>
                    <a:pt x="472434" y="784870"/>
                    <a:pt x="471174" y="783610"/>
                  </a:cubicBezTo>
                  <a:cubicBezTo>
                    <a:pt x="469914" y="783610"/>
                    <a:pt x="469914" y="783610"/>
                    <a:pt x="468654" y="783610"/>
                  </a:cubicBezTo>
                  <a:cubicBezTo>
                    <a:pt x="466135" y="783610"/>
                    <a:pt x="463615" y="783610"/>
                    <a:pt x="461095" y="783610"/>
                  </a:cubicBezTo>
                  <a:cubicBezTo>
                    <a:pt x="458576" y="783610"/>
                    <a:pt x="456056" y="783610"/>
                    <a:pt x="454796" y="783610"/>
                  </a:cubicBezTo>
                  <a:lnTo>
                    <a:pt x="453536" y="783610"/>
                  </a:lnTo>
                  <a:lnTo>
                    <a:pt x="452276" y="783610"/>
                  </a:lnTo>
                  <a:cubicBezTo>
                    <a:pt x="451017" y="783610"/>
                    <a:pt x="449757" y="783610"/>
                    <a:pt x="448497" y="783610"/>
                  </a:cubicBezTo>
                  <a:lnTo>
                    <a:pt x="448497" y="783610"/>
                  </a:lnTo>
                  <a:cubicBezTo>
                    <a:pt x="447237" y="783610"/>
                    <a:pt x="444717" y="783610"/>
                    <a:pt x="443458" y="783610"/>
                  </a:cubicBezTo>
                  <a:cubicBezTo>
                    <a:pt x="440938" y="783610"/>
                    <a:pt x="439678" y="783610"/>
                    <a:pt x="437159" y="783610"/>
                  </a:cubicBezTo>
                  <a:cubicBezTo>
                    <a:pt x="435899" y="783610"/>
                    <a:pt x="435899" y="783610"/>
                    <a:pt x="434639" y="783610"/>
                  </a:cubicBezTo>
                  <a:lnTo>
                    <a:pt x="434639" y="783610"/>
                  </a:lnTo>
                  <a:cubicBezTo>
                    <a:pt x="434639" y="783610"/>
                    <a:pt x="433379" y="783610"/>
                    <a:pt x="433379" y="783610"/>
                  </a:cubicBezTo>
                  <a:cubicBezTo>
                    <a:pt x="430860" y="783610"/>
                    <a:pt x="427080" y="783610"/>
                    <a:pt x="423301" y="783610"/>
                  </a:cubicBezTo>
                  <a:cubicBezTo>
                    <a:pt x="420781" y="783610"/>
                    <a:pt x="417002" y="783610"/>
                    <a:pt x="414482" y="783610"/>
                  </a:cubicBezTo>
                  <a:lnTo>
                    <a:pt x="414482" y="783610"/>
                  </a:lnTo>
                  <a:lnTo>
                    <a:pt x="413222" y="783610"/>
                  </a:lnTo>
                  <a:cubicBezTo>
                    <a:pt x="410702" y="783610"/>
                    <a:pt x="408183" y="783610"/>
                    <a:pt x="405663" y="783610"/>
                  </a:cubicBezTo>
                  <a:lnTo>
                    <a:pt x="405663" y="783610"/>
                  </a:lnTo>
                  <a:lnTo>
                    <a:pt x="405663" y="783610"/>
                  </a:lnTo>
                  <a:cubicBezTo>
                    <a:pt x="396844" y="784870"/>
                    <a:pt x="386766" y="784870"/>
                    <a:pt x="376687" y="784870"/>
                  </a:cubicBezTo>
                  <a:cubicBezTo>
                    <a:pt x="370388" y="784870"/>
                    <a:pt x="364089" y="784870"/>
                    <a:pt x="359050" y="784870"/>
                  </a:cubicBezTo>
                  <a:cubicBezTo>
                    <a:pt x="359050" y="784870"/>
                    <a:pt x="357790" y="784870"/>
                    <a:pt x="357790" y="784870"/>
                  </a:cubicBezTo>
                  <a:lnTo>
                    <a:pt x="356530" y="784870"/>
                  </a:lnTo>
                  <a:lnTo>
                    <a:pt x="356530" y="784870"/>
                  </a:lnTo>
                  <a:lnTo>
                    <a:pt x="355270" y="784870"/>
                  </a:lnTo>
                  <a:cubicBezTo>
                    <a:pt x="354010" y="784870"/>
                    <a:pt x="351491" y="784870"/>
                    <a:pt x="350231" y="784870"/>
                  </a:cubicBezTo>
                  <a:cubicBezTo>
                    <a:pt x="348971" y="784870"/>
                    <a:pt x="347711" y="784870"/>
                    <a:pt x="346451" y="784870"/>
                  </a:cubicBezTo>
                  <a:cubicBezTo>
                    <a:pt x="345192" y="784870"/>
                    <a:pt x="343932" y="784870"/>
                    <a:pt x="342672" y="784870"/>
                  </a:cubicBezTo>
                  <a:lnTo>
                    <a:pt x="342672" y="784870"/>
                  </a:lnTo>
                  <a:cubicBezTo>
                    <a:pt x="341412" y="784870"/>
                    <a:pt x="340152" y="784870"/>
                    <a:pt x="340152" y="783610"/>
                  </a:cubicBezTo>
                  <a:cubicBezTo>
                    <a:pt x="338892" y="783610"/>
                    <a:pt x="338892" y="782350"/>
                    <a:pt x="337632" y="782350"/>
                  </a:cubicBezTo>
                  <a:cubicBezTo>
                    <a:pt x="336373" y="781090"/>
                    <a:pt x="335113" y="781090"/>
                    <a:pt x="335113" y="779831"/>
                  </a:cubicBezTo>
                  <a:cubicBezTo>
                    <a:pt x="333853" y="778571"/>
                    <a:pt x="333853" y="777311"/>
                    <a:pt x="333853" y="774791"/>
                  </a:cubicBezTo>
                  <a:cubicBezTo>
                    <a:pt x="333853" y="773532"/>
                    <a:pt x="333853" y="771012"/>
                    <a:pt x="333853" y="769752"/>
                  </a:cubicBezTo>
                  <a:cubicBezTo>
                    <a:pt x="333853" y="768492"/>
                    <a:pt x="333853" y="765973"/>
                    <a:pt x="332593" y="764713"/>
                  </a:cubicBezTo>
                  <a:lnTo>
                    <a:pt x="332593" y="764713"/>
                  </a:lnTo>
                  <a:cubicBezTo>
                    <a:pt x="332593" y="763453"/>
                    <a:pt x="332593" y="760933"/>
                    <a:pt x="332593" y="759674"/>
                  </a:cubicBezTo>
                  <a:lnTo>
                    <a:pt x="332593" y="759674"/>
                  </a:lnTo>
                  <a:lnTo>
                    <a:pt x="332593" y="759674"/>
                  </a:lnTo>
                  <a:cubicBezTo>
                    <a:pt x="332593" y="758414"/>
                    <a:pt x="332593" y="757154"/>
                    <a:pt x="332593" y="755894"/>
                  </a:cubicBezTo>
                  <a:cubicBezTo>
                    <a:pt x="332593" y="754634"/>
                    <a:pt x="332593" y="753374"/>
                    <a:pt x="332593" y="752114"/>
                  </a:cubicBezTo>
                  <a:cubicBezTo>
                    <a:pt x="331333" y="742036"/>
                    <a:pt x="331333" y="733217"/>
                    <a:pt x="330074" y="724398"/>
                  </a:cubicBezTo>
                  <a:cubicBezTo>
                    <a:pt x="330074" y="719359"/>
                    <a:pt x="328814" y="713060"/>
                    <a:pt x="328814" y="705501"/>
                  </a:cubicBezTo>
                  <a:cubicBezTo>
                    <a:pt x="328814" y="702981"/>
                    <a:pt x="328814" y="699202"/>
                    <a:pt x="328814" y="696682"/>
                  </a:cubicBezTo>
                  <a:cubicBezTo>
                    <a:pt x="328814" y="692903"/>
                    <a:pt x="328814" y="689123"/>
                    <a:pt x="328814" y="684084"/>
                  </a:cubicBezTo>
                  <a:cubicBezTo>
                    <a:pt x="328814" y="681565"/>
                    <a:pt x="328814" y="677785"/>
                    <a:pt x="328814" y="675265"/>
                  </a:cubicBezTo>
                  <a:cubicBezTo>
                    <a:pt x="328814" y="670226"/>
                    <a:pt x="328814" y="666447"/>
                    <a:pt x="328814" y="661407"/>
                  </a:cubicBezTo>
                  <a:cubicBezTo>
                    <a:pt x="328814" y="646289"/>
                    <a:pt x="328814" y="631172"/>
                    <a:pt x="327554" y="617313"/>
                  </a:cubicBezTo>
                  <a:lnTo>
                    <a:pt x="327554" y="614794"/>
                  </a:lnTo>
                  <a:cubicBezTo>
                    <a:pt x="327554" y="607235"/>
                    <a:pt x="327554" y="599676"/>
                    <a:pt x="326294" y="592117"/>
                  </a:cubicBezTo>
                  <a:cubicBezTo>
                    <a:pt x="326294" y="587078"/>
                    <a:pt x="326294" y="583298"/>
                    <a:pt x="326294" y="578259"/>
                  </a:cubicBezTo>
                  <a:cubicBezTo>
                    <a:pt x="326294" y="575739"/>
                    <a:pt x="326294" y="573220"/>
                    <a:pt x="326294" y="570700"/>
                  </a:cubicBezTo>
                  <a:cubicBezTo>
                    <a:pt x="326294" y="563141"/>
                    <a:pt x="326294" y="555582"/>
                    <a:pt x="326294" y="548023"/>
                  </a:cubicBezTo>
                  <a:cubicBezTo>
                    <a:pt x="326294" y="545504"/>
                    <a:pt x="326294" y="542984"/>
                    <a:pt x="326294" y="540464"/>
                  </a:cubicBezTo>
                  <a:cubicBezTo>
                    <a:pt x="326294" y="535425"/>
                    <a:pt x="326294" y="530386"/>
                    <a:pt x="326294" y="525346"/>
                  </a:cubicBezTo>
                  <a:cubicBezTo>
                    <a:pt x="326294" y="520307"/>
                    <a:pt x="326294" y="514008"/>
                    <a:pt x="326294" y="508969"/>
                  </a:cubicBezTo>
                  <a:cubicBezTo>
                    <a:pt x="326294" y="506449"/>
                    <a:pt x="326294" y="503929"/>
                    <a:pt x="326294" y="501410"/>
                  </a:cubicBezTo>
                  <a:cubicBezTo>
                    <a:pt x="326294" y="493851"/>
                    <a:pt x="326294" y="486292"/>
                    <a:pt x="326294" y="479993"/>
                  </a:cubicBezTo>
                  <a:cubicBezTo>
                    <a:pt x="326294" y="473694"/>
                    <a:pt x="326294" y="468654"/>
                    <a:pt x="326294" y="462355"/>
                  </a:cubicBezTo>
                  <a:cubicBezTo>
                    <a:pt x="326294" y="452277"/>
                    <a:pt x="325034" y="443458"/>
                    <a:pt x="326294" y="433379"/>
                  </a:cubicBezTo>
                  <a:lnTo>
                    <a:pt x="326294" y="433379"/>
                  </a:lnTo>
                  <a:cubicBezTo>
                    <a:pt x="326294" y="425820"/>
                    <a:pt x="326294" y="418261"/>
                    <a:pt x="326294" y="410702"/>
                  </a:cubicBezTo>
                  <a:cubicBezTo>
                    <a:pt x="326294" y="405663"/>
                    <a:pt x="326294" y="400624"/>
                    <a:pt x="326294" y="396844"/>
                  </a:cubicBezTo>
                  <a:cubicBezTo>
                    <a:pt x="326294" y="394325"/>
                    <a:pt x="326294" y="390545"/>
                    <a:pt x="326294" y="388026"/>
                  </a:cubicBezTo>
                  <a:cubicBezTo>
                    <a:pt x="326294" y="384246"/>
                    <a:pt x="326294" y="380467"/>
                    <a:pt x="326294" y="377947"/>
                  </a:cubicBezTo>
                  <a:cubicBezTo>
                    <a:pt x="326294" y="374167"/>
                    <a:pt x="326294" y="369128"/>
                    <a:pt x="326294" y="365349"/>
                  </a:cubicBezTo>
                  <a:cubicBezTo>
                    <a:pt x="326294" y="362829"/>
                    <a:pt x="326294" y="359050"/>
                    <a:pt x="326294" y="356530"/>
                  </a:cubicBezTo>
                  <a:cubicBezTo>
                    <a:pt x="326294" y="355270"/>
                    <a:pt x="326294" y="354010"/>
                    <a:pt x="326294" y="352751"/>
                  </a:cubicBezTo>
                  <a:cubicBezTo>
                    <a:pt x="326294" y="348971"/>
                    <a:pt x="326294" y="343932"/>
                    <a:pt x="326294" y="340152"/>
                  </a:cubicBezTo>
                  <a:cubicBezTo>
                    <a:pt x="326294" y="335113"/>
                    <a:pt x="326294" y="331334"/>
                    <a:pt x="326294" y="326294"/>
                  </a:cubicBezTo>
                  <a:cubicBezTo>
                    <a:pt x="326294" y="323775"/>
                    <a:pt x="326294" y="321255"/>
                    <a:pt x="326294" y="318735"/>
                  </a:cubicBezTo>
                  <a:cubicBezTo>
                    <a:pt x="326294" y="312436"/>
                    <a:pt x="326294" y="306137"/>
                    <a:pt x="326294" y="299838"/>
                  </a:cubicBezTo>
                  <a:lnTo>
                    <a:pt x="326294" y="296058"/>
                  </a:lnTo>
                  <a:cubicBezTo>
                    <a:pt x="326294" y="291019"/>
                    <a:pt x="326294" y="285980"/>
                    <a:pt x="326294" y="279681"/>
                  </a:cubicBezTo>
                  <a:cubicBezTo>
                    <a:pt x="326294" y="279681"/>
                    <a:pt x="326294" y="279681"/>
                    <a:pt x="327554" y="279681"/>
                  </a:cubicBezTo>
                  <a:cubicBezTo>
                    <a:pt x="328814" y="279681"/>
                    <a:pt x="328814" y="279681"/>
                    <a:pt x="328814" y="278421"/>
                  </a:cubicBezTo>
                  <a:cubicBezTo>
                    <a:pt x="328814" y="277161"/>
                    <a:pt x="330074" y="277161"/>
                    <a:pt x="330074" y="275901"/>
                  </a:cubicBezTo>
                  <a:cubicBezTo>
                    <a:pt x="330074" y="274642"/>
                    <a:pt x="330074" y="274642"/>
                    <a:pt x="328814" y="273382"/>
                  </a:cubicBezTo>
                  <a:lnTo>
                    <a:pt x="328814" y="273382"/>
                  </a:lnTo>
                  <a:lnTo>
                    <a:pt x="328814" y="273382"/>
                  </a:lnTo>
                  <a:lnTo>
                    <a:pt x="328814" y="273382"/>
                  </a:lnTo>
                  <a:cubicBezTo>
                    <a:pt x="328814" y="270862"/>
                    <a:pt x="328814" y="267083"/>
                    <a:pt x="328814" y="264563"/>
                  </a:cubicBezTo>
                  <a:cubicBezTo>
                    <a:pt x="328814" y="260783"/>
                    <a:pt x="328814" y="255744"/>
                    <a:pt x="330074" y="251965"/>
                  </a:cubicBezTo>
                  <a:cubicBezTo>
                    <a:pt x="330074" y="248185"/>
                    <a:pt x="331333" y="243146"/>
                    <a:pt x="331333" y="238107"/>
                  </a:cubicBezTo>
                  <a:cubicBezTo>
                    <a:pt x="331333" y="236847"/>
                    <a:pt x="331333" y="235587"/>
                    <a:pt x="331333" y="234327"/>
                  </a:cubicBezTo>
                  <a:cubicBezTo>
                    <a:pt x="331333" y="233067"/>
                    <a:pt x="331333" y="231808"/>
                    <a:pt x="331333" y="231808"/>
                  </a:cubicBezTo>
                  <a:cubicBezTo>
                    <a:pt x="331333" y="230548"/>
                    <a:pt x="331333" y="230548"/>
                    <a:pt x="331333" y="229288"/>
                  </a:cubicBezTo>
                  <a:cubicBezTo>
                    <a:pt x="331333" y="228028"/>
                    <a:pt x="331333" y="226768"/>
                    <a:pt x="331333" y="225508"/>
                  </a:cubicBezTo>
                  <a:cubicBezTo>
                    <a:pt x="331333" y="222989"/>
                    <a:pt x="331333" y="221729"/>
                    <a:pt x="331333" y="219209"/>
                  </a:cubicBezTo>
                  <a:lnTo>
                    <a:pt x="331333" y="216690"/>
                  </a:lnTo>
                  <a:cubicBezTo>
                    <a:pt x="331333" y="215430"/>
                    <a:pt x="331333" y="214170"/>
                    <a:pt x="331333" y="212910"/>
                  </a:cubicBezTo>
                  <a:cubicBezTo>
                    <a:pt x="331333" y="211650"/>
                    <a:pt x="331333" y="211650"/>
                    <a:pt x="331333" y="210390"/>
                  </a:cubicBezTo>
                  <a:cubicBezTo>
                    <a:pt x="331333" y="209131"/>
                    <a:pt x="331333" y="207871"/>
                    <a:pt x="331333" y="206611"/>
                  </a:cubicBezTo>
                  <a:cubicBezTo>
                    <a:pt x="331333" y="205351"/>
                    <a:pt x="331333" y="204091"/>
                    <a:pt x="331333" y="204091"/>
                  </a:cubicBezTo>
                  <a:cubicBezTo>
                    <a:pt x="331333" y="202832"/>
                    <a:pt x="331333" y="201572"/>
                    <a:pt x="331333" y="200312"/>
                  </a:cubicBezTo>
                  <a:cubicBezTo>
                    <a:pt x="331333" y="200312"/>
                    <a:pt x="331333" y="199052"/>
                    <a:pt x="331333" y="199052"/>
                  </a:cubicBezTo>
                  <a:cubicBezTo>
                    <a:pt x="331333" y="199052"/>
                    <a:pt x="331333" y="197792"/>
                    <a:pt x="331333" y="197792"/>
                  </a:cubicBezTo>
                  <a:cubicBezTo>
                    <a:pt x="331333" y="196533"/>
                    <a:pt x="331333" y="196533"/>
                    <a:pt x="331333" y="195273"/>
                  </a:cubicBezTo>
                  <a:cubicBezTo>
                    <a:pt x="331333" y="195273"/>
                    <a:pt x="331333" y="195273"/>
                    <a:pt x="330074" y="195273"/>
                  </a:cubicBezTo>
                  <a:cubicBezTo>
                    <a:pt x="330074" y="195273"/>
                    <a:pt x="328814" y="195273"/>
                    <a:pt x="328814" y="195273"/>
                  </a:cubicBezTo>
                  <a:cubicBezTo>
                    <a:pt x="328814" y="195273"/>
                    <a:pt x="328814" y="195273"/>
                    <a:pt x="327554" y="195273"/>
                  </a:cubicBezTo>
                  <a:cubicBezTo>
                    <a:pt x="327554" y="195273"/>
                    <a:pt x="327554" y="195273"/>
                    <a:pt x="327554" y="195273"/>
                  </a:cubicBezTo>
                  <a:lnTo>
                    <a:pt x="327554" y="195273"/>
                  </a:lnTo>
                  <a:cubicBezTo>
                    <a:pt x="327554" y="195273"/>
                    <a:pt x="326294" y="195273"/>
                    <a:pt x="326294" y="195273"/>
                  </a:cubicBezTo>
                  <a:cubicBezTo>
                    <a:pt x="325034" y="195273"/>
                    <a:pt x="323775" y="196533"/>
                    <a:pt x="323775" y="196533"/>
                  </a:cubicBezTo>
                  <a:cubicBezTo>
                    <a:pt x="322515" y="196533"/>
                    <a:pt x="322515" y="197792"/>
                    <a:pt x="321255" y="197792"/>
                  </a:cubicBezTo>
                  <a:cubicBezTo>
                    <a:pt x="319995" y="197792"/>
                    <a:pt x="318735" y="199052"/>
                    <a:pt x="317476" y="199052"/>
                  </a:cubicBezTo>
                  <a:cubicBezTo>
                    <a:pt x="314956" y="200312"/>
                    <a:pt x="313696" y="200312"/>
                    <a:pt x="311177" y="201572"/>
                  </a:cubicBezTo>
                  <a:lnTo>
                    <a:pt x="311177" y="201572"/>
                  </a:lnTo>
                  <a:cubicBezTo>
                    <a:pt x="308657" y="202832"/>
                    <a:pt x="307397" y="202832"/>
                    <a:pt x="304877" y="204091"/>
                  </a:cubicBezTo>
                  <a:cubicBezTo>
                    <a:pt x="303617" y="204091"/>
                    <a:pt x="302358" y="205351"/>
                    <a:pt x="301098" y="205351"/>
                  </a:cubicBezTo>
                  <a:cubicBezTo>
                    <a:pt x="299838" y="205351"/>
                    <a:pt x="298578" y="206611"/>
                    <a:pt x="298578" y="206611"/>
                  </a:cubicBezTo>
                  <a:lnTo>
                    <a:pt x="298578" y="206611"/>
                  </a:lnTo>
                  <a:cubicBezTo>
                    <a:pt x="296058" y="206611"/>
                    <a:pt x="294799" y="207871"/>
                    <a:pt x="292279" y="207871"/>
                  </a:cubicBezTo>
                  <a:cubicBezTo>
                    <a:pt x="291019" y="207871"/>
                    <a:pt x="289759" y="207871"/>
                    <a:pt x="288499" y="209131"/>
                  </a:cubicBezTo>
                  <a:cubicBezTo>
                    <a:pt x="287240" y="209131"/>
                    <a:pt x="285980" y="209131"/>
                    <a:pt x="285980" y="209131"/>
                  </a:cubicBezTo>
                  <a:cubicBezTo>
                    <a:pt x="283460" y="209131"/>
                    <a:pt x="282200" y="210390"/>
                    <a:pt x="279681" y="210390"/>
                  </a:cubicBezTo>
                  <a:cubicBezTo>
                    <a:pt x="274641" y="211650"/>
                    <a:pt x="269602" y="211650"/>
                    <a:pt x="264563" y="212910"/>
                  </a:cubicBezTo>
                  <a:lnTo>
                    <a:pt x="263303" y="212910"/>
                  </a:lnTo>
                  <a:cubicBezTo>
                    <a:pt x="262043" y="212910"/>
                    <a:pt x="259524" y="212910"/>
                    <a:pt x="258264" y="214170"/>
                  </a:cubicBezTo>
                  <a:cubicBezTo>
                    <a:pt x="257004" y="214170"/>
                    <a:pt x="255744" y="214170"/>
                    <a:pt x="254484" y="214170"/>
                  </a:cubicBezTo>
                  <a:cubicBezTo>
                    <a:pt x="253225" y="214170"/>
                    <a:pt x="251965" y="214170"/>
                    <a:pt x="250705" y="214170"/>
                  </a:cubicBezTo>
                  <a:cubicBezTo>
                    <a:pt x="249445" y="214170"/>
                    <a:pt x="248185" y="214170"/>
                    <a:pt x="246925" y="214170"/>
                  </a:cubicBezTo>
                  <a:cubicBezTo>
                    <a:pt x="245666" y="214170"/>
                    <a:pt x="245666" y="214170"/>
                    <a:pt x="244406" y="214170"/>
                  </a:cubicBezTo>
                  <a:lnTo>
                    <a:pt x="244406" y="214170"/>
                  </a:lnTo>
                  <a:cubicBezTo>
                    <a:pt x="241886" y="214170"/>
                    <a:pt x="240626" y="214170"/>
                    <a:pt x="236847" y="214170"/>
                  </a:cubicBezTo>
                  <a:cubicBezTo>
                    <a:pt x="231807" y="214170"/>
                    <a:pt x="228028" y="215430"/>
                    <a:pt x="222989" y="215430"/>
                  </a:cubicBezTo>
                  <a:cubicBezTo>
                    <a:pt x="220469" y="215430"/>
                    <a:pt x="217949" y="216690"/>
                    <a:pt x="215430" y="216690"/>
                  </a:cubicBezTo>
                  <a:cubicBezTo>
                    <a:pt x="214170" y="216690"/>
                    <a:pt x="211650" y="216690"/>
                    <a:pt x="209131" y="217949"/>
                  </a:cubicBezTo>
                  <a:cubicBezTo>
                    <a:pt x="209131" y="217949"/>
                    <a:pt x="207871" y="217949"/>
                    <a:pt x="207871" y="217949"/>
                  </a:cubicBezTo>
                  <a:lnTo>
                    <a:pt x="207871" y="217949"/>
                  </a:lnTo>
                  <a:cubicBezTo>
                    <a:pt x="207871" y="217949"/>
                    <a:pt x="206611" y="217949"/>
                    <a:pt x="206611" y="217949"/>
                  </a:cubicBezTo>
                  <a:cubicBezTo>
                    <a:pt x="204092" y="216690"/>
                    <a:pt x="201572" y="216690"/>
                    <a:pt x="200312" y="215430"/>
                  </a:cubicBezTo>
                  <a:lnTo>
                    <a:pt x="200312" y="215430"/>
                  </a:lnTo>
                  <a:cubicBezTo>
                    <a:pt x="199052" y="215430"/>
                    <a:pt x="199052" y="215430"/>
                    <a:pt x="197792" y="215430"/>
                  </a:cubicBezTo>
                  <a:cubicBezTo>
                    <a:pt x="196533" y="215430"/>
                    <a:pt x="195273" y="215430"/>
                    <a:pt x="194013" y="215430"/>
                  </a:cubicBezTo>
                  <a:cubicBezTo>
                    <a:pt x="194013" y="215430"/>
                    <a:pt x="194013" y="215430"/>
                    <a:pt x="194013" y="215430"/>
                  </a:cubicBezTo>
                  <a:cubicBezTo>
                    <a:pt x="192753" y="215430"/>
                    <a:pt x="192753" y="215430"/>
                    <a:pt x="191493" y="216690"/>
                  </a:cubicBezTo>
                  <a:cubicBezTo>
                    <a:pt x="191493" y="216690"/>
                    <a:pt x="191493" y="216690"/>
                    <a:pt x="191493" y="216690"/>
                  </a:cubicBezTo>
                  <a:cubicBezTo>
                    <a:pt x="191493" y="216690"/>
                    <a:pt x="191493" y="216690"/>
                    <a:pt x="190233" y="216690"/>
                  </a:cubicBezTo>
                  <a:cubicBezTo>
                    <a:pt x="187714" y="215430"/>
                    <a:pt x="183934" y="214170"/>
                    <a:pt x="181414" y="212910"/>
                  </a:cubicBezTo>
                  <a:cubicBezTo>
                    <a:pt x="178895" y="211650"/>
                    <a:pt x="177635" y="211650"/>
                    <a:pt x="175115" y="210390"/>
                  </a:cubicBezTo>
                  <a:cubicBezTo>
                    <a:pt x="173855" y="210390"/>
                    <a:pt x="173855" y="209131"/>
                    <a:pt x="172596" y="209131"/>
                  </a:cubicBezTo>
                  <a:cubicBezTo>
                    <a:pt x="170076" y="207871"/>
                    <a:pt x="167556" y="205351"/>
                    <a:pt x="165037" y="204091"/>
                  </a:cubicBezTo>
                  <a:cubicBezTo>
                    <a:pt x="162517" y="202832"/>
                    <a:pt x="158738" y="200312"/>
                    <a:pt x="154958" y="199052"/>
                  </a:cubicBezTo>
                  <a:cubicBezTo>
                    <a:pt x="152439" y="197792"/>
                    <a:pt x="148659" y="195273"/>
                    <a:pt x="146140" y="194013"/>
                  </a:cubicBezTo>
                  <a:cubicBezTo>
                    <a:pt x="143620" y="192753"/>
                    <a:pt x="141100" y="191493"/>
                    <a:pt x="138581" y="190233"/>
                  </a:cubicBezTo>
                  <a:cubicBezTo>
                    <a:pt x="127242" y="182674"/>
                    <a:pt x="113384" y="175116"/>
                    <a:pt x="99526" y="165037"/>
                  </a:cubicBezTo>
                  <a:lnTo>
                    <a:pt x="99526" y="165037"/>
                  </a:lnTo>
                  <a:cubicBezTo>
                    <a:pt x="93227" y="159998"/>
                    <a:pt x="85668" y="156218"/>
                    <a:pt x="79369" y="151179"/>
                  </a:cubicBezTo>
                  <a:cubicBezTo>
                    <a:pt x="74329" y="147399"/>
                    <a:pt x="69290" y="142360"/>
                    <a:pt x="64251" y="138581"/>
                  </a:cubicBezTo>
                  <a:lnTo>
                    <a:pt x="60471" y="136061"/>
                  </a:lnTo>
                  <a:cubicBezTo>
                    <a:pt x="55432" y="132281"/>
                    <a:pt x="49133" y="127242"/>
                    <a:pt x="42834" y="120943"/>
                  </a:cubicBezTo>
                  <a:lnTo>
                    <a:pt x="41574" y="120943"/>
                  </a:lnTo>
                  <a:cubicBezTo>
                    <a:pt x="36535" y="115904"/>
                    <a:pt x="30236" y="112124"/>
                    <a:pt x="25196" y="105825"/>
                  </a:cubicBezTo>
                  <a:cubicBezTo>
                    <a:pt x="22677" y="103305"/>
                    <a:pt x="20157" y="99526"/>
                    <a:pt x="17637" y="95747"/>
                  </a:cubicBezTo>
                  <a:cubicBezTo>
                    <a:pt x="15118" y="91967"/>
                    <a:pt x="12598" y="89448"/>
                    <a:pt x="11338" y="85668"/>
                  </a:cubicBezTo>
                  <a:cubicBezTo>
                    <a:pt x="7559" y="80629"/>
                    <a:pt x="5039" y="74330"/>
                    <a:pt x="1260" y="69290"/>
                  </a:cubicBezTo>
                  <a:cubicBezTo>
                    <a:pt x="1260" y="68031"/>
                    <a:pt x="0" y="68031"/>
                    <a:pt x="0" y="66771"/>
                  </a:cubicBezTo>
                  <a:cubicBezTo>
                    <a:pt x="3779" y="69290"/>
                    <a:pt x="6299" y="71810"/>
                    <a:pt x="8819" y="74330"/>
                  </a:cubicBezTo>
                  <a:cubicBezTo>
                    <a:pt x="11338" y="75589"/>
                    <a:pt x="13858" y="78109"/>
                    <a:pt x="15118" y="79369"/>
                  </a:cubicBezTo>
                  <a:lnTo>
                    <a:pt x="16378" y="80629"/>
                  </a:lnTo>
                  <a:cubicBezTo>
                    <a:pt x="17637" y="81889"/>
                    <a:pt x="18897" y="81889"/>
                    <a:pt x="21417" y="83148"/>
                  </a:cubicBezTo>
                  <a:cubicBezTo>
                    <a:pt x="26456" y="85668"/>
                    <a:pt x="30236" y="88188"/>
                    <a:pt x="35275" y="89448"/>
                  </a:cubicBezTo>
                  <a:cubicBezTo>
                    <a:pt x="37795" y="89448"/>
                    <a:pt x="39055" y="90707"/>
                    <a:pt x="41574" y="90707"/>
                  </a:cubicBezTo>
                  <a:cubicBezTo>
                    <a:pt x="42834" y="90707"/>
                    <a:pt x="42834" y="90707"/>
                    <a:pt x="44094" y="90707"/>
                  </a:cubicBezTo>
                  <a:cubicBezTo>
                    <a:pt x="45354" y="90707"/>
                    <a:pt x="46614" y="90707"/>
                    <a:pt x="47873" y="91967"/>
                  </a:cubicBezTo>
                  <a:cubicBezTo>
                    <a:pt x="49133" y="91967"/>
                    <a:pt x="51653" y="91967"/>
                    <a:pt x="52913" y="93227"/>
                  </a:cubicBezTo>
                  <a:cubicBezTo>
                    <a:pt x="54172" y="93227"/>
                    <a:pt x="55432" y="93227"/>
                    <a:pt x="56692" y="93227"/>
                  </a:cubicBezTo>
                  <a:cubicBezTo>
                    <a:pt x="59212" y="93227"/>
                    <a:pt x="61731" y="93227"/>
                    <a:pt x="62991" y="93227"/>
                  </a:cubicBezTo>
                  <a:cubicBezTo>
                    <a:pt x="64251" y="93227"/>
                    <a:pt x="65511" y="93227"/>
                    <a:pt x="66770" y="93227"/>
                  </a:cubicBezTo>
                  <a:lnTo>
                    <a:pt x="66770" y="93227"/>
                  </a:lnTo>
                  <a:cubicBezTo>
                    <a:pt x="68030" y="93227"/>
                    <a:pt x="69290" y="93227"/>
                    <a:pt x="70550" y="93227"/>
                  </a:cubicBezTo>
                  <a:cubicBezTo>
                    <a:pt x="73070" y="93227"/>
                    <a:pt x="76849" y="91967"/>
                    <a:pt x="79369" y="91967"/>
                  </a:cubicBezTo>
                  <a:cubicBezTo>
                    <a:pt x="81889" y="91967"/>
                    <a:pt x="84408" y="90707"/>
                    <a:pt x="86928" y="90707"/>
                  </a:cubicBezTo>
                  <a:cubicBezTo>
                    <a:pt x="89448" y="89448"/>
                    <a:pt x="91967" y="89448"/>
                    <a:pt x="93227" y="88188"/>
                  </a:cubicBezTo>
                  <a:cubicBezTo>
                    <a:pt x="94487" y="88188"/>
                    <a:pt x="95747" y="86928"/>
                    <a:pt x="97007" y="86928"/>
                  </a:cubicBezTo>
                  <a:lnTo>
                    <a:pt x="97007" y="86928"/>
                  </a:lnTo>
                  <a:cubicBezTo>
                    <a:pt x="97007" y="86928"/>
                    <a:pt x="98266" y="86928"/>
                    <a:pt x="98266" y="85668"/>
                  </a:cubicBezTo>
                  <a:lnTo>
                    <a:pt x="99526" y="84408"/>
                  </a:lnTo>
                  <a:lnTo>
                    <a:pt x="99526" y="84408"/>
                  </a:lnTo>
                  <a:cubicBezTo>
                    <a:pt x="100786" y="84408"/>
                    <a:pt x="102046" y="83148"/>
                    <a:pt x="104565" y="81889"/>
                  </a:cubicBezTo>
                  <a:lnTo>
                    <a:pt x="105825" y="81889"/>
                  </a:lnTo>
                  <a:cubicBezTo>
                    <a:pt x="108345" y="80629"/>
                    <a:pt x="110864" y="79369"/>
                    <a:pt x="112124" y="78109"/>
                  </a:cubicBezTo>
                  <a:cubicBezTo>
                    <a:pt x="114644" y="76849"/>
                    <a:pt x="115904" y="75589"/>
                    <a:pt x="118423" y="74330"/>
                  </a:cubicBezTo>
                  <a:cubicBezTo>
                    <a:pt x="120943" y="73070"/>
                    <a:pt x="122203" y="70550"/>
                    <a:pt x="124722" y="68031"/>
                  </a:cubicBezTo>
                  <a:cubicBezTo>
                    <a:pt x="125982" y="66771"/>
                    <a:pt x="127242" y="65511"/>
                    <a:pt x="127242" y="64251"/>
                  </a:cubicBezTo>
                  <a:lnTo>
                    <a:pt x="127242" y="64251"/>
                  </a:lnTo>
                  <a:cubicBezTo>
                    <a:pt x="127242" y="62991"/>
                    <a:pt x="128502" y="62991"/>
                    <a:pt x="128502" y="61731"/>
                  </a:cubicBezTo>
                  <a:cubicBezTo>
                    <a:pt x="131022" y="57952"/>
                    <a:pt x="132281" y="55432"/>
                    <a:pt x="133541" y="51653"/>
                  </a:cubicBezTo>
                  <a:cubicBezTo>
                    <a:pt x="133541" y="50393"/>
                    <a:pt x="133541" y="5039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cubicBezTo>
                    <a:pt x="134801" y="49133"/>
                    <a:pt x="134801" y="4913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lnTo>
                    <a:pt x="134801" y="49133"/>
                  </a:lnTo>
                  <a:cubicBezTo>
                    <a:pt x="136061" y="45354"/>
                    <a:pt x="138581" y="40314"/>
                    <a:pt x="139840" y="35275"/>
                  </a:cubicBezTo>
                  <a:lnTo>
                    <a:pt x="139840" y="34015"/>
                  </a:lnTo>
                  <a:cubicBezTo>
                    <a:pt x="139840" y="32755"/>
                    <a:pt x="141100" y="30236"/>
                    <a:pt x="141100" y="28976"/>
                  </a:cubicBezTo>
                  <a:cubicBezTo>
                    <a:pt x="141100" y="26456"/>
                    <a:pt x="142360" y="23937"/>
                    <a:pt x="142360" y="22677"/>
                  </a:cubicBezTo>
                  <a:cubicBezTo>
                    <a:pt x="142360" y="20157"/>
                    <a:pt x="142360" y="17638"/>
                    <a:pt x="142360" y="16378"/>
                  </a:cubicBezTo>
                  <a:cubicBezTo>
                    <a:pt x="142360" y="16378"/>
                    <a:pt x="142360" y="16378"/>
                    <a:pt x="142360" y="15118"/>
                  </a:cubicBezTo>
                  <a:lnTo>
                    <a:pt x="142360" y="15118"/>
                  </a:lnTo>
                  <a:lnTo>
                    <a:pt x="142360" y="15118"/>
                  </a:lnTo>
                  <a:cubicBezTo>
                    <a:pt x="142360" y="13858"/>
                    <a:pt x="142360" y="13858"/>
                    <a:pt x="142360" y="12598"/>
                  </a:cubicBezTo>
                  <a:cubicBezTo>
                    <a:pt x="142360" y="10079"/>
                    <a:pt x="141100" y="7559"/>
                    <a:pt x="141100" y="5039"/>
                  </a:cubicBezTo>
                  <a:cubicBezTo>
                    <a:pt x="141100" y="3780"/>
                    <a:pt x="141100" y="1260"/>
                    <a:pt x="139840" y="0"/>
                  </a:cubicBezTo>
                  <a:cubicBezTo>
                    <a:pt x="149919" y="11339"/>
                    <a:pt x="151179" y="12598"/>
                    <a:pt x="151179" y="12598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/>
            <p:cNvSpPr/>
            <p:nvPr/>
          </p:nvSpPr>
          <p:spPr>
            <a:xfrm>
              <a:off x="9945481" y="4147956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/>
            <p:cNvSpPr/>
            <p:nvPr/>
          </p:nvSpPr>
          <p:spPr>
            <a:xfrm>
              <a:off x="9595403" y="3615974"/>
              <a:ext cx="171607" cy="77223"/>
            </a:xfrm>
            <a:custGeom>
              <a:avLst/>
              <a:gdLst>
                <a:gd name="connsiteX0" fmla="*/ 5039 w 251964"/>
                <a:gd name="connsiteY0" fmla="*/ 6299 h 113384"/>
                <a:gd name="connsiteX1" fmla="*/ 15118 w 251964"/>
                <a:gd name="connsiteY1" fmla="*/ 11339 h 113384"/>
                <a:gd name="connsiteX2" fmla="*/ 25196 w 251964"/>
                <a:gd name="connsiteY2" fmla="*/ 16378 h 113384"/>
                <a:gd name="connsiteX3" fmla="*/ 44094 w 251964"/>
                <a:gd name="connsiteY3" fmla="*/ 26456 h 113384"/>
                <a:gd name="connsiteX4" fmla="*/ 52912 w 251964"/>
                <a:gd name="connsiteY4" fmla="*/ 31496 h 113384"/>
                <a:gd name="connsiteX5" fmla="*/ 73070 w 251964"/>
                <a:gd name="connsiteY5" fmla="*/ 40315 h 113384"/>
                <a:gd name="connsiteX6" fmla="*/ 93227 w 251964"/>
                <a:gd name="connsiteY6" fmla="*/ 49133 h 113384"/>
                <a:gd name="connsiteX7" fmla="*/ 113384 w 251964"/>
                <a:gd name="connsiteY7" fmla="*/ 57952 h 113384"/>
                <a:gd name="connsiteX8" fmla="*/ 123463 w 251964"/>
                <a:gd name="connsiteY8" fmla="*/ 61731 h 113384"/>
                <a:gd name="connsiteX9" fmla="*/ 133541 w 251964"/>
                <a:gd name="connsiteY9" fmla="*/ 65511 h 113384"/>
                <a:gd name="connsiteX10" fmla="*/ 154958 w 251964"/>
                <a:gd name="connsiteY10" fmla="*/ 74330 h 113384"/>
                <a:gd name="connsiteX11" fmla="*/ 165037 w 251964"/>
                <a:gd name="connsiteY11" fmla="*/ 78109 h 113384"/>
                <a:gd name="connsiteX12" fmla="*/ 175115 w 251964"/>
                <a:gd name="connsiteY12" fmla="*/ 81889 h 113384"/>
                <a:gd name="connsiteX13" fmla="*/ 196532 w 251964"/>
                <a:gd name="connsiteY13" fmla="*/ 89448 h 113384"/>
                <a:gd name="connsiteX14" fmla="*/ 216689 w 251964"/>
                <a:gd name="connsiteY14" fmla="*/ 97007 h 113384"/>
                <a:gd name="connsiteX15" fmla="*/ 250705 w 251964"/>
                <a:gd name="connsiteY15" fmla="*/ 109605 h 113384"/>
                <a:gd name="connsiteX16" fmla="*/ 255744 w 251964"/>
                <a:gd name="connsiteY16" fmla="*/ 115904 h 113384"/>
                <a:gd name="connsiteX17" fmla="*/ 253224 w 251964"/>
                <a:gd name="connsiteY17" fmla="*/ 119683 h 113384"/>
                <a:gd name="connsiteX18" fmla="*/ 248185 w 251964"/>
                <a:gd name="connsiteY18" fmla="*/ 120943 h 113384"/>
                <a:gd name="connsiteX19" fmla="*/ 236847 w 251964"/>
                <a:gd name="connsiteY19" fmla="*/ 118424 h 113384"/>
                <a:gd name="connsiteX20" fmla="*/ 226768 w 251964"/>
                <a:gd name="connsiteY20" fmla="*/ 114644 h 113384"/>
                <a:gd name="connsiteX21" fmla="*/ 206611 w 251964"/>
                <a:gd name="connsiteY21" fmla="*/ 107085 h 113384"/>
                <a:gd name="connsiteX22" fmla="*/ 165037 w 251964"/>
                <a:gd name="connsiteY22" fmla="*/ 93227 h 113384"/>
                <a:gd name="connsiteX23" fmla="*/ 144880 w 251964"/>
                <a:gd name="connsiteY23" fmla="*/ 85668 h 113384"/>
                <a:gd name="connsiteX24" fmla="*/ 123463 w 251964"/>
                <a:gd name="connsiteY24" fmla="*/ 76849 h 113384"/>
                <a:gd name="connsiteX25" fmla="*/ 103305 w 251964"/>
                <a:gd name="connsiteY25" fmla="*/ 69290 h 113384"/>
                <a:gd name="connsiteX26" fmla="*/ 83148 w 251964"/>
                <a:gd name="connsiteY26" fmla="*/ 59212 h 113384"/>
                <a:gd name="connsiteX27" fmla="*/ 62991 w 251964"/>
                <a:gd name="connsiteY27" fmla="*/ 50393 h 113384"/>
                <a:gd name="connsiteX28" fmla="*/ 42834 w 251964"/>
                <a:gd name="connsiteY28" fmla="*/ 40315 h 113384"/>
                <a:gd name="connsiteX29" fmla="*/ 23937 w 251964"/>
                <a:gd name="connsiteY29" fmla="*/ 28976 h 113384"/>
                <a:gd name="connsiteX30" fmla="*/ 5039 w 251964"/>
                <a:gd name="connsiteY30" fmla="*/ 17638 h 113384"/>
                <a:gd name="connsiteX31" fmla="*/ 0 w 251964"/>
                <a:gd name="connsiteY31" fmla="*/ 15118 h 113384"/>
                <a:gd name="connsiteX32" fmla="*/ 1260 w 251964"/>
                <a:gd name="connsiteY32" fmla="*/ 8819 h 113384"/>
                <a:gd name="connsiteX33" fmla="*/ 1260 w 251964"/>
                <a:gd name="connsiteY33" fmla="*/ 2520 h 113384"/>
                <a:gd name="connsiteX34" fmla="*/ 1260 w 251964"/>
                <a:gd name="connsiteY34" fmla="*/ 1260 h 113384"/>
                <a:gd name="connsiteX35" fmla="*/ 1260 w 251964"/>
                <a:gd name="connsiteY35" fmla="*/ 1260 h 113384"/>
                <a:gd name="connsiteX36" fmla="*/ 1260 w 251964"/>
                <a:gd name="connsiteY36" fmla="*/ 1260 h 113384"/>
                <a:gd name="connsiteX37" fmla="*/ 1260 w 251964"/>
                <a:gd name="connsiteY37" fmla="*/ 0 h 113384"/>
                <a:gd name="connsiteX38" fmla="*/ 5039 w 251964"/>
                <a:gd name="connsiteY38" fmla="*/ 6299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1964" h="113384">
                  <a:moveTo>
                    <a:pt x="5039" y="6299"/>
                  </a:moveTo>
                  <a:cubicBezTo>
                    <a:pt x="8819" y="7559"/>
                    <a:pt x="11338" y="10079"/>
                    <a:pt x="15118" y="11339"/>
                  </a:cubicBezTo>
                  <a:cubicBezTo>
                    <a:pt x="18897" y="12598"/>
                    <a:pt x="21417" y="15118"/>
                    <a:pt x="25196" y="16378"/>
                  </a:cubicBezTo>
                  <a:cubicBezTo>
                    <a:pt x="31496" y="20157"/>
                    <a:pt x="37795" y="22677"/>
                    <a:pt x="44094" y="26456"/>
                  </a:cubicBezTo>
                  <a:cubicBezTo>
                    <a:pt x="46613" y="27716"/>
                    <a:pt x="49133" y="28976"/>
                    <a:pt x="52912" y="31496"/>
                  </a:cubicBezTo>
                  <a:cubicBezTo>
                    <a:pt x="59211" y="34015"/>
                    <a:pt x="65511" y="37795"/>
                    <a:pt x="73070" y="40315"/>
                  </a:cubicBezTo>
                  <a:cubicBezTo>
                    <a:pt x="79369" y="42834"/>
                    <a:pt x="86928" y="46614"/>
                    <a:pt x="93227" y="49133"/>
                  </a:cubicBezTo>
                  <a:cubicBezTo>
                    <a:pt x="99526" y="52913"/>
                    <a:pt x="107085" y="55432"/>
                    <a:pt x="113384" y="57952"/>
                  </a:cubicBezTo>
                  <a:cubicBezTo>
                    <a:pt x="117163" y="59212"/>
                    <a:pt x="119683" y="60472"/>
                    <a:pt x="123463" y="61731"/>
                  </a:cubicBezTo>
                  <a:cubicBezTo>
                    <a:pt x="127242" y="62991"/>
                    <a:pt x="129762" y="64251"/>
                    <a:pt x="133541" y="65511"/>
                  </a:cubicBezTo>
                  <a:cubicBezTo>
                    <a:pt x="141100" y="68031"/>
                    <a:pt x="147399" y="71810"/>
                    <a:pt x="154958" y="74330"/>
                  </a:cubicBezTo>
                  <a:cubicBezTo>
                    <a:pt x="158737" y="75589"/>
                    <a:pt x="161257" y="76849"/>
                    <a:pt x="165037" y="78109"/>
                  </a:cubicBezTo>
                  <a:cubicBezTo>
                    <a:pt x="168816" y="79369"/>
                    <a:pt x="171336" y="80629"/>
                    <a:pt x="175115" y="81889"/>
                  </a:cubicBezTo>
                  <a:cubicBezTo>
                    <a:pt x="182674" y="84408"/>
                    <a:pt x="188973" y="86928"/>
                    <a:pt x="196532" y="89448"/>
                  </a:cubicBezTo>
                  <a:cubicBezTo>
                    <a:pt x="202831" y="91967"/>
                    <a:pt x="210390" y="94487"/>
                    <a:pt x="216689" y="97007"/>
                  </a:cubicBezTo>
                  <a:cubicBezTo>
                    <a:pt x="228028" y="100786"/>
                    <a:pt x="239366" y="105825"/>
                    <a:pt x="250705" y="109605"/>
                  </a:cubicBezTo>
                  <a:cubicBezTo>
                    <a:pt x="253224" y="110864"/>
                    <a:pt x="255744" y="113384"/>
                    <a:pt x="255744" y="115904"/>
                  </a:cubicBezTo>
                  <a:cubicBezTo>
                    <a:pt x="255744" y="117164"/>
                    <a:pt x="254484" y="119683"/>
                    <a:pt x="253224" y="119683"/>
                  </a:cubicBezTo>
                  <a:cubicBezTo>
                    <a:pt x="251965" y="120943"/>
                    <a:pt x="249445" y="120943"/>
                    <a:pt x="248185" y="120943"/>
                  </a:cubicBezTo>
                  <a:cubicBezTo>
                    <a:pt x="244406" y="119683"/>
                    <a:pt x="240626" y="119683"/>
                    <a:pt x="236847" y="118424"/>
                  </a:cubicBezTo>
                  <a:cubicBezTo>
                    <a:pt x="233067" y="117164"/>
                    <a:pt x="230548" y="115904"/>
                    <a:pt x="226768" y="114644"/>
                  </a:cubicBezTo>
                  <a:cubicBezTo>
                    <a:pt x="220469" y="112124"/>
                    <a:pt x="212910" y="109605"/>
                    <a:pt x="206611" y="107085"/>
                  </a:cubicBezTo>
                  <a:cubicBezTo>
                    <a:pt x="192753" y="102046"/>
                    <a:pt x="178895" y="97007"/>
                    <a:pt x="165037" y="93227"/>
                  </a:cubicBezTo>
                  <a:cubicBezTo>
                    <a:pt x="158737" y="90707"/>
                    <a:pt x="151179" y="88188"/>
                    <a:pt x="144880" y="85668"/>
                  </a:cubicBezTo>
                  <a:cubicBezTo>
                    <a:pt x="137321" y="83148"/>
                    <a:pt x="131022" y="79369"/>
                    <a:pt x="123463" y="76849"/>
                  </a:cubicBezTo>
                  <a:cubicBezTo>
                    <a:pt x="117163" y="74330"/>
                    <a:pt x="109604" y="71810"/>
                    <a:pt x="103305" y="69290"/>
                  </a:cubicBezTo>
                  <a:cubicBezTo>
                    <a:pt x="97006" y="66771"/>
                    <a:pt x="89447" y="62991"/>
                    <a:pt x="83148" y="59212"/>
                  </a:cubicBezTo>
                  <a:cubicBezTo>
                    <a:pt x="76849" y="56692"/>
                    <a:pt x="70550" y="52913"/>
                    <a:pt x="62991" y="50393"/>
                  </a:cubicBezTo>
                  <a:cubicBezTo>
                    <a:pt x="55432" y="47873"/>
                    <a:pt x="49133" y="44094"/>
                    <a:pt x="42834" y="40315"/>
                  </a:cubicBezTo>
                  <a:cubicBezTo>
                    <a:pt x="36535" y="36535"/>
                    <a:pt x="30236" y="32755"/>
                    <a:pt x="23937" y="28976"/>
                  </a:cubicBezTo>
                  <a:cubicBezTo>
                    <a:pt x="17637" y="25196"/>
                    <a:pt x="11338" y="21417"/>
                    <a:pt x="5039" y="17638"/>
                  </a:cubicBezTo>
                  <a:cubicBezTo>
                    <a:pt x="3779" y="16378"/>
                    <a:pt x="1260" y="16378"/>
                    <a:pt x="0" y="15118"/>
                  </a:cubicBezTo>
                  <a:cubicBezTo>
                    <a:pt x="0" y="12598"/>
                    <a:pt x="0" y="10079"/>
                    <a:pt x="1260" y="8819"/>
                  </a:cubicBezTo>
                  <a:cubicBezTo>
                    <a:pt x="1260" y="6299"/>
                    <a:pt x="1260" y="3780"/>
                    <a:pt x="1260" y="2520"/>
                  </a:cubicBezTo>
                  <a:cubicBezTo>
                    <a:pt x="1260" y="2520"/>
                    <a:pt x="1260" y="2520"/>
                    <a:pt x="1260" y="1260"/>
                  </a:cubicBezTo>
                  <a:lnTo>
                    <a:pt x="1260" y="1260"/>
                  </a:lnTo>
                  <a:lnTo>
                    <a:pt x="1260" y="1260"/>
                  </a:lnTo>
                  <a:cubicBezTo>
                    <a:pt x="1260" y="1260"/>
                    <a:pt x="1260" y="0"/>
                    <a:pt x="1260" y="0"/>
                  </a:cubicBezTo>
                  <a:cubicBezTo>
                    <a:pt x="0" y="3780"/>
                    <a:pt x="2519" y="5039"/>
                    <a:pt x="5039" y="629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/>
            <p:cNvSpPr/>
            <p:nvPr/>
          </p:nvSpPr>
          <p:spPr>
            <a:xfrm>
              <a:off x="9592829" y="3610825"/>
              <a:ext cx="180187" cy="68643"/>
            </a:xfrm>
            <a:custGeom>
              <a:avLst/>
              <a:gdLst>
                <a:gd name="connsiteX0" fmla="*/ 8819 w 264562"/>
                <a:gd name="connsiteY0" fmla="*/ 5039 h 100785"/>
                <a:gd name="connsiteX1" fmla="*/ 0 w 264562"/>
                <a:gd name="connsiteY1" fmla="*/ 0 h 100785"/>
                <a:gd name="connsiteX2" fmla="*/ 0 w 264562"/>
                <a:gd name="connsiteY2" fmla="*/ 1260 h 100785"/>
                <a:gd name="connsiteX3" fmla="*/ 1260 w 264562"/>
                <a:gd name="connsiteY3" fmla="*/ 8819 h 100785"/>
                <a:gd name="connsiteX4" fmla="*/ 1260 w 264562"/>
                <a:gd name="connsiteY4" fmla="*/ 11338 h 100785"/>
                <a:gd name="connsiteX5" fmla="*/ 1260 w 264562"/>
                <a:gd name="connsiteY5" fmla="*/ 11338 h 100785"/>
                <a:gd name="connsiteX6" fmla="*/ 1260 w 264562"/>
                <a:gd name="connsiteY6" fmla="*/ 11338 h 100785"/>
                <a:gd name="connsiteX7" fmla="*/ 1260 w 264562"/>
                <a:gd name="connsiteY7" fmla="*/ 12598 h 100785"/>
                <a:gd name="connsiteX8" fmla="*/ 1260 w 264562"/>
                <a:gd name="connsiteY8" fmla="*/ 18897 h 100785"/>
                <a:gd name="connsiteX9" fmla="*/ 1260 w 264562"/>
                <a:gd name="connsiteY9" fmla="*/ 22677 h 100785"/>
                <a:gd name="connsiteX10" fmla="*/ 7559 w 264562"/>
                <a:gd name="connsiteY10" fmla="*/ 26456 h 100785"/>
                <a:gd name="connsiteX11" fmla="*/ 27716 w 264562"/>
                <a:gd name="connsiteY11" fmla="*/ 37795 h 100785"/>
                <a:gd name="connsiteX12" fmla="*/ 45354 w 264562"/>
                <a:gd name="connsiteY12" fmla="*/ 47873 h 100785"/>
                <a:gd name="connsiteX13" fmla="*/ 68030 w 264562"/>
                <a:gd name="connsiteY13" fmla="*/ 59212 h 100785"/>
                <a:gd name="connsiteX14" fmla="*/ 89448 w 264562"/>
                <a:gd name="connsiteY14" fmla="*/ 68030 h 100785"/>
                <a:gd name="connsiteX15" fmla="*/ 109605 w 264562"/>
                <a:gd name="connsiteY15" fmla="*/ 76849 h 100785"/>
                <a:gd name="connsiteX16" fmla="*/ 129762 w 264562"/>
                <a:gd name="connsiteY16" fmla="*/ 84408 h 100785"/>
                <a:gd name="connsiteX17" fmla="*/ 141100 w 264562"/>
                <a:gd name="connsiteY17" fmla="*/ 88188 h 100785"/>
                <a:gd name="connsiteX18" fmla="*/ 151179 w 264562"/>
                <a:gd name="connsiteY18" fmla="*/ 91967 h 100785"/>
                <a:gd name="connsiteX19" fmla="*/ 163777 w 264562"/>
                <a:gd name="connsiteY19" fmla="*/ 95746 h 100785"/>
                <a:gd name="connsiteX20" fmla="*/ 173856 w 264562"/>
                <a:gd name="connsiteY20" fmla="*/ 98266 h 100785"/>
                <a:gd name="connsiteX21" fmla="*/ 195273 w 264562"/>
                <a:gd name="connsiteY21" fmla="*/ 102046 h 100785"/>
                <a:gd name="connsiteX22" fmla="*/ 215430 w 264562"/>
                <a:gd name="connsiteY22" fmla="*/ 105825 h 100785"/>
                <a:gd name="connsiteX23" fmla="*/ 215430 w 264562"/>
                <a:gd name="connsiteY23" fmla="*/ 105825 h 100785"/>
                <a:gd name="connsiteX24" fmla="*/ 215430 w 264562"/>
                <a:gd name="connsiteY24" fmla="*/ 105825 h 100785"/>
                <a:gd name="connsiteX25" fmla="*/ 215430 w 264562"/>
                <a:gd name="connsiteY25" fmla="*/ 105825 h 100785"/>
                <a:gd name="connsiteX26" fmla="*/ 216690 w 264562"/>
                <a:gd name="connsiteY26" fmla="*/ 105825 h 100785"/>
                <a:gd name="connsiteX27" fmla="*/ 219209 w 264562"/>
                <a:gd name="connsiteY27" fmla="*/ 105825 h 100785"/>
                <a:gd name="connsiteX28" fmla="*/ 217950 w 264562"/>
                <a:gd name="connsiteY28" fmla="*/ 105825 h 100785"/>
                <a:gd name="connsiteX29" fmla="*/ 236847 w 264562"/>
                <a:gd name="connsiteY29" fmla="*/ 109605 h 100785"/>
                <a:gd name="connsiteX30" fmla="*/ 244406 w 264562"/>
                <a:gd name="connsiteY30" fmla="*/ 110864 h 100785"/>
                <a:gd name="connsiteX31" fmla="*/ 250705 w 264562"/>
                <a:gd name="connsiteY31" fmla="*/ 112124 h 100785"/>
                <a:gd name="connsiteX32" fmla="*/ 265823 w 264562"/>
                <a:gd name="connsiteY32" fmla="*/ 112124 h 100785"/>
                <a:gd name="connsiteX33" fmla="*/ 269602 w 264562"/>
                <a:gd name="connsiteY33" fmla="*/ 110864 h 100785"/>
                <a:gd name="connsiteX34" fmla="*/ 272122 w 264562"/>
                <a:gd name="connsiteY34" fmla="*/ 107085 h 100785"/>
                <a:gd name="connsiteX35" fmla="*/ 267083 w 264562"/>
                <a:gd name="connsiteY35" fmla="*/ 100786 h 100785"/>
                <a:gd name="connsiteX36" fmla="*/ 255744 w 264562"/>
                <a:gd name="connsiteY36" fmla="*/ 100786 h 100785"/>
                <a:gd name="connsiteX37" fmla="*/ 246925 w 264562"/>
                <a:gd name="connsiteY37" fmla="*/ 99526 h 100785"/>
                <a:gd name="connsiteX38" fmla="*/ 231807 w 264562"/>
                <a:gd name="connsiteY38" fmla="*/ 95746 h 100785"/>
                <a:gd name="connsiteX39" fmla="*/ 210391 w 264562"/>
                <a:gd name="connsiteY39" fmla="*/ 90707 h 100785"/>
                <a:gd name="connsiteX40" fmla="*/ 200312 w 264562"/>
                <a:gd name="connsiteY40" fmla="*/ 88188 h 100785"/>
                <a:gd name="connsiteX41" fmla="*/ 191493 w 264562"/>
                <a:gd name="connsiteY41" fmla="*/ 85668 h 100785"/>
                <a:gd name="connsiteX42" fmla="*/ 187714 w 264562"/>
                <a:gd name="connsiteY42" fmla="*/ 84408 h 100785"/>
                <a:gd name="connsiteX43" fmla="*/ 181414 w 264562"/>
                <a:gd name="connsiteY43" fmla="*/ 83148 h 100785"/>
                <a:gd name="connsiteX44" fmla="*/ 175115 w 264562"/>
                <a:gd name="connsiteY44" fmla="*/ 81889 h 100785"/>
                <a:gd name="connsiteX45" fmla="*/ 161258 w 264562"/>
                <a:gd name="connsiteY45" fmla="*/ 76849 h 100785"/>
                <a:gd name="connsiteX46" fmla="*/ 163777 w 264562"/>
                <a:gd name="connsiteY46" fmla="*/ 78109 h 100785"/>
                <a:gd name="connsiteX47" fmla="*/ 148659 w 264562"/>
                <a:gd name="connsiteY47" fmla="*/ 73070 h 100785"/>
                <a:gd name="connsiteX48" fmla="*/ 149919 w 264562"/>
                <a:gd name="connsiteY48" fmla="*/ 73070 h 100785"/>
                <a:gd name="connsiteX49" fmla="*/ 136061 w 264562"/>
                <a:gd name="connsiteY49" fmla="*/ 68030 h 100785"/>
                <a:gd name="connsiteX50" fmla="*/ 124722 w 264562"/>
                <a:gd name="connsiteY50" fmla="*/ 64251 h 100785"/>
                <a:gd name="connsiteX51" fmla="*/ 115904 w 264562"/>
                <a:gd name="connsiteY51" fmla="*/ 60472 h 100785"/>
                <a:gd name="connsiteX52" fmla="*/ 95747 w 264562"/>
                <a:gd name="connsiteY52" fmla="*/ 52913 h 100785"/>
                <a:gd name="connsiteX53" fmla="*/ 86928 w 264562"/>
                <a:gd name="connsiteY53" fmla="*/ 49133 h 100785"/>
                <a:gd name="connsiteX54" fmla="*/ 78109 w 264562"/>
                <a:gd name="connsiteY54" fmla="*/ 45354 h 100785"/>
                <a:gd name="connsiteX55" fmla="*/ 60472 w 264562"/>
                <a:gd name="connsiteY55" fmla="*/ 36535 h 100785"/>
                <a:gd name="connsiteX56" fmla="*/ 46614 w 264562"/>
                <a:gd name="connsiteY56" fmla="*/ 28976 h 100785"/>
                <a:gd name="connsiteX57" fmla="*/ 39055 w 264562"/>
                <a:gd name="connsiteY57" fmla="*/ 25196 h 100785"/>
                <a:gd name="connsiteX58" fmla="*/ 30236 w 264562"/>
                <a:gd name="connsiteY58" fmla="*/ 20157 h 100785"/>
                <a:gd name="connsiteX59" fmla="*/ 30236 w 264562"/>
                <a:gd name="connsiteY59" fmla="*/ 20157 h 100785"/>
                <a:gd name="connsiteX60" fmla="*/ 26456 w 264562"/>
                <a:gd name="connsiteY60" fmla="*/ 17637 h 100785"/>
                <a:gd name="connsiteX61" fmla="*/ 17637 w 264562"/>
                <a:gd name="connsiteY61" fmla="*/ 12598 h 100785"/>
                <a:gd name="connsiteX62" fmla="*/ 8819 w 264562"/>
                <a:gd name="connsiteY62" fmla="*/ 5039 h 100785"/>
                <a:gd name="connsiteX63" fmla="*/ 8819 w 264562"/>
                <a:gd name="connsiteY63" fmla="*/ 5039 h 100785"/>
                <a:gd name="connsiteX64" fmla="*/ 214170 w 264562"/>
                <a:gd name="connsiteY64" fmla="*/ 104565 h 100785"/>
                <a:gd name="connsiteX65" fmla="*/ 214170 w 264562"/>
                <a:gd name="connsiteY65" fmla="*/ 104565 h 100785"/>
                <a:gd name="connsiteX66" fmla="*/ 214170 w 264562"/>
                <a:gd name="connsiteY66" fmla="*/ 10456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64562" h="100785">
                  <a:moveTo>
                    <a:pt x="8819" y="5039"/>
                  </a:moveTo>
                  <a:cubicBezTo>
                    <a:pt x="6299" y="3780"/>
                    <a:pt x="252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0" y="3780"/>
                    <a:pt x="1260" y="6299"/>
                    <a:pt x="1260" y="8819"/>
                  </a:cubicBezTo>
                  <a:cubicBezTo>
                    <a:pt x="1260" y="10079"/>
                    <a:pt x="1260" y="10079"/>
                    <a:pt x="1260" y="11338"/>
                  </a:cubicBezTo>
                  <a:lnTo>
                    <a:pt x="1260" y="11338"/>
                  </a:lnTo>
                  <a:lnTo>
                    <a:pt x="1260" y="11338"/>
                  </a:lnTo>
                  <a:cubicBezTo>
                    <a:pt x="1260" y="11338"/>
                    <a:pt x="1260" y="11338"/>
                    <a:pt x="1260" y="12598"/>
                  </a:cubicBezTo>
                  <a:cubicBezTo>
                    <a:pt x="1260" y="13858"/>
                    <a:pt x="1260" y="16378"/>
                    <a:pt x="1260" y="18897"/>
                  </a:cubicBezTo>
                  <a:cubicBezTo>
                    <a:pt x="1260" y="20157"/>
                    <a:pt x="1260" y="21417"/>
                    <a:pt x="1260" y="22677"/>
                  </a:cubicBezTo>
                  <a:cubicBezTo>
                    <a:pt x="3780" y="23937"/>
                    <a:pt x="6299" y="25196"/>
                    <a:pt x="7559" y="26456"/>
                  </a:cubicBezTo>
                  <a:cubicBezTo>
                    <a:pt x="13858" y="30236"/>
                    <a:pt x="20157" y="34015"/>
                    <a:pt x="27716" y="37795"/>
                  </a:cubicBezTo>
                  <a:cubicBezTo>
                    <a:pt x="34015" y="41574"/>
                    <a:pt x="40314" y="44094"/>
                    <a:pt x="45354" y="47873"/>
                  </a:cubicBezTo>
                  <a:cubicBezTo>
                    <a:pt x="52913" y="51653"/>
                    <a:pt x="60472" y="55432"/>
                    <a:pt x="68030" y="59212"/>
                  </a:cubicBezTo>
                  <a:cubicBezTo>
                    <a:pt x="75589" y="61731"/>
                    <a:pt x="81889" y="65511"/>
                    <a:pt x="89448" y="68030"/>
                  </a:cubicBezTo>
                  <a:cubicBezTo>
                    <a:pt x="95747" y="70550"/>
                    <a:pt x="103306" y="74330"/>
                    <a:pt x="109605" y="76849"/>
                  </a:cubicBezTo>
                  <a:cubicBezTo>
                    <a:pt x="115904" y="79369"/>
                    <a:pt x="123463" y="81889"/>
                    <a:pt x="129762" y="84408"/>
                  </a:cubicBezTo>
                  <a:cubicBezTo>
                    <a:pt x="133541" y="85668"/>
                    <a:pt x="137321" y="86928"/>
                    <a:pt x="141100" y="88188"/>
                  </a:cubicBezTo>
                  <a:cubicBezTo>
                    <a:pt x="143620" y="89447"/>
                    <a:pt x="147399" y="90707"/>
                    <a:pt x="151179" y="91967"/>
                  </a:cubicBezTo>
                  <a:cubicBezTo>
                    <a:pt x="154958" y="93227"/>
                    <a:pt x="159998" y="94487"/>
                    <a:pt x="163777" y="95746"/>
                  </a:cubicBezTo>
                  <a:cubicBezTo>
                    <a:pt x="167557" y="97006"/>
                    <a:pt x="170076" y="97006"/>
                    <a:pt x="173856" y="98266"/>
                  </a:cubicBezTo>
                  <a:cubicBezTo>
                    <a:pt x="181414" y="99526"/>
                    <a:pt x="187714" y="100786"/>
                    <a:pt x="195273" y="102046"/>
                  </a:cubicBezTo>
                  <a:cubicBezTo>
                    <a:pt x="201572" y="103305"/>
                    <a:pt x="209131" y="10456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lnTo>
                    <a:pt x="215430" y="105825"/>
                  </a:lnTo>
                  <a:cubicBezTo>
                    <a:pt x="215430" y="105825"/>
                    <a:pt x="215430" y="105825"/>
                    <a:pt x="216690" y="105825"/>
                  </a:cubicBezTo>
                  <a:cubicBezTo>
                    <a:pt x="217950" y="105825"/>
                    <a:pt x="217950" y="105825"/>
                    <a:pt x="219209" y="105825"/>
                  </a:cubicBezTo>
                  <a:cubicBezTo>
                    <a:pt x="219209" y="105825"/>
                    <a:pt x="217950" y="105825"/>
                    <a:pt x="217950" y="105825"/>
                  </a:cubicBezTo>
                  <a:cubicBezTo>
                    <a:pt x="224249" y="107085"/>
                    <a:pt x="230548" y="108345"/>
                    <a:pt x="236847" y="109605"/>
                  </a:cubicBezTo>
                  <a:cubicBezTo>
                    <a:pt x="239366" y="109605"/>
                    <a:pt x="241886" y="110864"/>
                    <a:pt x="244406" y="110864"/>
                  </a:cubicBezTo>
                  <a:cubicBezTo>
                    <a:pt x="246925" y="110864"/>
                    <a:pt x="248185" y="110864"/>
                    <a:pt x="250705" y="112124"/>
                  </a:cubicBezTo>
                  <a:cubicBezTo>
                    <a:pt x="255744" y="112124"/>
                    <a:pt x="260784" y="112124"/>
                    <a:pt x="265823" y="112124"/>
                  </a:cubicBezTo>
                  <a:cubicBezTo>
                    <a:pt x="267083" y="112124"/>
                    <a:pt x="268343" y="112124"/>
                    <a:pt x="269602" y="110864"/>
                  </a:cubicBezTo>
                  <a:cubicBezTo>
                    <a:pt x="270862" y="109605"/>
                    <a:pt x="270862" y="108345"/>
                    <a:pt x="272122" y="107085"/>
                  </a:cubicBezTo>
                  <a:cubicBezTo>
                    <a:pt x="272122" y="104565"/>
                    <a:pt x="269602" y="100786"/>
                    <a:pt x="267083" y="100786"/>
                  </a:cubicBezTo>
                  <a:cubicBezTo>
                    <a:pt x="263303" y="100786"/>
                    <a:pt x="259524" y="100786"/>
                    <a:pt x="255744" y="100786"/>
                  </a:cubicBezTo>
                  <a:cubicBezTo>
                    <a:pt x="253225" y="100786"/>
                    <a:pt x="249445" y="100786"/>
                    <a:pt x="246925" y="99526"/>
                  </a:cubicBezTo>
                  <a:cubicBezTo>
                    <a:pt x="241886" y="98266"/>
                    <a:pt x="236847" y="97006"/>
                    <a:pt x="231807" y="95746"/>
                  </a:cubicBezTo>
                  <a:cubicBezTo>
                    <a:pt x="224249" y="94487"/>
                    <a:pt x="217950" y="91967"/>
                    <a:pt x="210391" y="90707"/>
                  </a:cubicBezTo>
                  <a:cubicBezTo>
                    <a:pt x="206611" y="89447"/>
                    <a:pt x="204092" y="89447"/>
                    <a:pt x="200312" y="88188"/>
                  </a:cubicBezTo>
                  <a:cubicBezTo>
                    <a:pt x="197792" y="86928"/>
                    <a:pt x="195273" y="86928"/>
                    <a:pt x="191493" y="85668"/>
                  </a:cubicBezTo>
                  <a:cubicBezTo>
                    <a:pt x="190233" y="85668"/>
                    <a:pt x="188973" y="85668"/>
                    <a:pt x="187714" y="84408"/>
                  </a:cubicBezTo>
                  <a:cubicBezTo>
                    <a:pt x="185194" y="84408"/>
                    <a:pt x="183934" y="83148"/>
                    <a:pt x="181414" y="83148"/>
                  </a:cubicBezTo>
                  <a:cubicBezTo>
                    <a:pt x="178895" y="83148"/>
                    <a:pt x="177635" y="81889"/>
                    <a:pt x="175115" y="81889"/>
                  </a:cubicBezTo>
                  <a:cubicBezTo>
                    <a:pt x="170076" y="80629"/>
                    <a:pt x="165037" y="79369"/>
                    <a:pt x="161258" y="76849"/>
                  </a:cubicBezTo>
                  <a:lnTo>
                    <a:pt x="163777" y="78109"/>
                  </a:lnTo>
                  <a:cubicBezTo>
                    <a:pt x="158738" y="76849"/>
                    <a:pt x="153699" y="74330"/>
                    <a:pt x="148659" y="73070"/>
                  </a:cubicBezTo>
                  <a:cubicBezTo>
                    <a:pt x="148659" y="73070"/>
                    <a:pt x="148659" y="73070"/>
                    <a:pt x="149919" y="73070"/>
                  </a:cubicBezTo>
                  <a:cubicBezTo>
                    <a:pt x="144880" y="71810"/>
                    <a:pt x="141100" y="70550"/>
                    <a:pt x="136061" y="68030"/>
                  </a:cubicBezTo>
                  <a:cubicBezTo>
                    <a:pt x="132281" y="66771"/>
                    <a:pt x="128502" y="65511"/>
                    <a:pt x="124722" y="64251"/>
                  </a:cubicBezTo>
                  <a:cubicBezTo>
                    <a:pt x="122203" y="62991"/>
                    <a:pt x="118423" y="61731"/>
                    <a:pt x="115904" y="60472"/>
                  </a:cubicBezTo>
                  <a:cubicBezTo>
                    <a:pt x="109605" y="57952"/>
                    <a:pt x="103306" y="55432"/>
                    <a:pt x="95747" y="52913"/>
                  </a:cubicBezTo>
                  <a:cubicBezTo>
                    <a:pt x="93227" y="51653"/>
                    <a:pt x="89448" y="50393"/>
                    <a:pt x="86928" y="49133"/>
                  </a:cubicBezTo>
                  <a:cubicBezTo>
                    <a:pt x="83148" y="47873"/>
                    <a:pt x="80629" y="46613"/>
                    <a:pt x="78109" y="45354"/>
                  </a:cubicBezTo>
                  <a:cubicBezTo>
                    <a:pt x="71810" y="42834"/>
                    <a:pt x="66771" y="39054"/>
                    <a:pt x="60472" y="36535"/>
                  </a:cubicBezTo>
                  <a:cubicBezTo>
                    <a:pt x="55432" y="34015"/>
                    <a:pt x="51653" y="31496"/>
                    <a:pt x="46614" y="28976"/>
                  </a:cubicBezTo>
                  <a:cubicBezTo>
                    <a:pt x="44094" y="27716"/>
                    <a:pt x="41574" y="26456"/>
                    <a:pt x="39055" y="25196"/>
                  </a:cubicBezTo>
                  <a:cubicBezTo>
                    <a:pt x="36535" y="23937"/>
                    <a:pt x="32755" y="21417"/>
                    <a:pt x="30236" y="20157"/>
                  </a:cubicBezTo>
                  <a:lnTo>
                    <a:pt x="30236" y="20157"/>
                  </a:lnTo>
                  <a:cubicBezTo>
                    <a:pt x="28976" y="18897"/>
                    <a:pt x="27716" y="18897"/>
                    <a:pt x="26456" y="17637"/>
                  </a:cubicBezTo>
                  <a:cubicBezTo>
                    <a:pt x="23937" y="16378"/>
                    <a:pt x="20157" y="13858"/>
                    <a:pt x="17637" y="12598"/>
                  </a:cubicBezTo>
                  <a:cubicBezTo>
                    <a:pt x="13858" y="10079"/>
                    <a:pt x="11338" y="7559"/>
                    <a:pt x="8819" y="5039"/>
                  </a:cubicBezTo>
                  <a:cubicBezTo>
                    <a:pt x="10079" y="5039"/>
                    <a:pt x="8819" y="5039"/>
                    <a:pt x="8819" y="5039"/>
                  </a:cubicBezTo>
                  <a:moveTo>
                    <a:pt x="214170" y="104565"/>
                  </a:moveTo>
                  <a:cubicBezTo>
                    <a:pt x="214170" y="104565"/>
                    <a:pt x="214170" y="104565"/>
                    <a:pt x="214170" y="104565"/>
                  </a:cubicBezTo>
                  <a:cubicBezTo>
                    <a:pt x="214170" y="104565"/>
                    <a:pt x="214170" y="104565"/>
                    <a:pt x="214170" y="104565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/>
            <p:cNvSpPr/>
            <p:nvPr/>
          </p:nvSpPr>
          <p:spPr>
            <a:xfrm>
              <a:off x="9822401" y="3591949"/>
              <a:ext cx="17160" cy="85803"/>
            </a:xfrm>
            <a:custGeom>
              <a:avLst/>
              <a:gdLst>
                <a:gd name="connsiteX0" fmla="*/ 20717 w 25196"/>
                <a:gd name="connsiteY0" fmla="*/ 0 h 125982"/>
                <a:gd name="connsiteX1" fmla="*/ 20717 w 25196"/>
                <a:gd name="connsiteY1" fmla="*/ 0 h 125982"/>
                <a:gd name="connsiteX2" fmla="*/ 15678 w 25196"/>
                <a:gd name="connsiteY2" fmla="*/ 2520 h 125982"/>
                <a:gd name="connsiteX3" fmla="*/ 14418 w 25196"/>
                <a:gd name="connsiteY3" fmla="*/ 5039 h 125982"/>
                <a:gd name="connsiteX4" fmla="*/ 14418 w 25196"/>
                <a:gd name="connsiteY4" fmla="*/ 7559 h 125982"/>
                <a:gd name="connsiteX5" fmla="*/ 13158 w 25196"/>
                <a:gd name="connsiteY5" fmla="*/ 12598 h 125982"/>
                <a:gd name="connsiteX6" fmla="*/ 10638 w 25196"/>
                <a:gd name="connsiteY6" fmla="*/ 22677 h 125982"/>
                <a:gd name="connsiteX7" fmla="*/ 6859 w 25196"/>
                <a:gd name="connsiteY7" fmla="*/ 44094 h 125982"/>
                <a:gd name="connsiteX8" fmla="*/ 3079 w 25196"/>
                <a:gd name="connsiteY8" fmla="*/ 61731 h 125982"/>
                <a:gd name="connsiteX9" fmla="*/ 1819 w 25196"/>
                <a:gd name="connsiteY9" fmla="*/ 70550 h 125982"/>
                <a:gd name="connsiteX10" fmla="*/ 560 w 25196"/>
                <a:gd name="connsiteY10" fmla="*/ 79369 h 125982"/>
                <a:gd name="connsiteX11" fmla="*/ 560 w 25196"/>
                <a:gd name="connsiteY11" fmla="*/ 99526 h 125982"/>
                <a:gd name="connsiteX12" fmla="*/ 1819 w 25196"/>
                <a:gd name="connsiteY12" fmla="*/ 105825 h 125982"/>
                <a:gd name="connsiteX13" fmla="*/ 3079 w 25196"/>
                <a:gd name="connsiteY13" fmla="*/ 109605 h 125982"/>
                <a:gd name="connsiteX14" fmla="*/ 5599 w 25196"/>
                <a:gd name="connsiteY14" fmla="*/ 113384 h 125982"/>
                <a:gd name="connsiteX15" fmla="*/ 6859 w 25196"/>
                <a:gd name="connsiteY15" fmla="*/ 114644 h 125982"/>
                <a:gd name="connsiteX16" fmla="*/ 9378 w 25196"/>
                <a:gd name="connsiteY16" fmla="*/ 117163 h 125982"/>
                <a:gd name="connsiteX17" fmla="*/ 11898 w 25196"/>
                <a:gd name="connsiteY17" fmla="*/ 119683 h 125982"/>
                <a:gd name="connsiteX18" fmla="*/ 14418 w 25196"/>
                <a:gd name="connsiteY18" fmla="*/ 122203 h 125982"/>
                <a:gd name="connsiteX19" fmla="*/ 16938 w 25196"/>
                <a:gd name="connsiteY19" fmla="*/ 123463 h 125982"/>
                <a:gd name="connsiteX20" fmla="*/ 23237 w 25196"/>
                <a:gd name="connsiteY20" fmla="*/ 127242 h 125982"/>
                <a:gd name="connsiteX21" fmla="*/ 28276 w 25196"/>
                <a:gd name="connsiteY21" fmla="*/ 129762 h 125982"/>
                <a:gd name="connsiteX22" fmla="*/ 34575 w 25196"/>
                <a:gd name="connsiteY22" fmla="*/ 127242 h 125982"/>
                <a:gd name="connsiteX23" fmla="*/ 32056 w 25196"/>
                <a:gd name="connsiteY23" fmla="*/ 120943 h 125982"/>
                <a:gd name="connsiteX24" fmla="*/ 25756 w 25196"/>
                <a:gd name="connsiteY24" fmla="*/ 118423 h 125982"/>
                <a:gd name="connsiteX25" fmla="*/ 20717 w 25196"/>
                <a:gd name="connsiteY25" fmla="*/ 114644 h 125982"/>
                <a:gd name="connsiteX26" fmla="*/ 16938 w 25196"/>
                <a:gd name="connsiteY26" fmla="*/ 109605 h 125982"/>
                <a:gd name="connsiteX27" fmla="*/ 13158 w 25196"/>
                <a:gd name="connsiteY27" fmla="*/ 105825 h 125982"/>
                <a:gd name="connsiteX28" fmla="*/ 11898 w 25196"/>
                <a:gd name="connsiteY28" fmla="*/ 103305 h 125982"/>
                <a:gd name="connsiteX29" fmla="*/ 10638 w 25196"/>
                <a:gd name="connsiteY29" fmla="*/ 98266 h 125982"/>
                <a:gd name="connsiteX30" fmla="*/ 10638 w 25196"/>
                <a:gd name="connsiteY30" fmla="*/ 93227 h 125982"/>
                <a:gd name="connsiteX31" fmla="*/ 14418 w 25196"/>
                <a:gd name="connsiteY31" fmla="*/ 69290 h 125982"/>
                <a:gd name="connsiteX32" fmla="*/ 14418 w 25196"/>
                <a:gd name="connsiteY32" fmla="*/ 68030 h 125982"/>
                <a:gd name="connsiteX33" fmla="*/ 15678 w 25196"/>
                <a:gd name="connsiteY33" fmla="*/ 62991 h 125982"/>
                <a:gd name="connsiteX34" fmla="*/ 15678 w 25196"/>
                <a:gd name="connsiteY34" fmla="*/ 64251 h 125982"/>
                <a:gd name="connsiteX35" fmla="*/ 16938 w 25196"/>
                <a:gd name="connsiteY35" fmla="*/ 60471 h 125982"/>
                <a:gd name="connsiteX36" fmla="*/ 20717 w 25196"/>
                <a:gd name="connsiteY36" fmla="*/ 45354 h 125982"/>
                <a:gd name="connsiteX37" fmla="*/ 23237 w 25196"/>
                <a:gd name="connsiteY37" fmla="*/ 31496 h 125982"/>
                <a:gd name="connsiteX38" fmla="*/ 25756 w 25196"/>
                <a:gd name="connsiteY38" fmla="*/ 18897 h 125982"/>
                <a:gd name="connsiteX39" fmla="*/ 27016 w 25196"/>
                <a:gd name="connsiteY39" fmla="*/ 12598 h 125982"/>
                <a:gd name="connsiteX40" fmla="*/ 27016 w 25196"/>
                <a:gd name="connsiteY40" fmla="*/ 6299 h 125982"/>
                <a:gd name="connsiteX41" fmla="*/ 25756 w 25196"/>
                <a:gd name="connsiteY41" fmla="*/ 3779 h 125982"/>
                <a:gd name="connsiteX42" fmla="*/ 24497 w 25196"/>
                <a:gd name="connsiteY42" fmla="*/ 2520 h 125982"/>
                <a:gd name="connsiteX43" fmla="*/ 20717 w 25196"/>
                <a:gd name="connsiteY43" fmla="*/ 0 h 125982"/>
                <a:gd name="connsiteX44" fmla="*/ 14418 w 25196"/>
                <a:gd name="connsiteY44" fmla="*/ 66770 h 125982"/>
                <a:gd name="connsiteX45" fmla="*/ 14418 w 25196"/>
                <a:gd name="connsiteY45" fmla="*/ 68030 h 125982"/>
                <a:gd name="connsiteX46" fmla="*/ 14418 w 25196"/>
                <a:gd name="connsiteY46" fmla="*/ 6677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5196" h="125982">
                  <a:moveTo>
                    <a:pt x="20717" y="0"/>
                  </a:moveTo>
                  <a:cubicBezTo>
                    <a:pt x="20717" y="0"/>
                    <a:pt x="20717" y="0"/>
                    <a:pt x="20717" y="0"/>
                  </a:cubicBezTo>
                  <a:cubicBezTo>
                    <a:pt x="18197" y="0"/>
                    <a:pt x="16938" y="1260"/>
                    <a:pt x="15678" y="2520"/>
                  </a:cubicBezTo>
                  <a:cubicBezTo>
                    <a:pt x="14418" y="3779"/>
                    <a:pt x="14418" y="5039"/>
                    <a:pt x="14418" y="5039"/>
                  </a:cubicBezTo>
                  <a:lnTo>
                    <a:pt x="14418" y="7559"/>
                  </a:lnTo>
                  <a:cubicBezTo>
                    <a:pt x="14418" y="8819"/>
                    <a:pt x="13158" y="11338"/>
                    <a:pt x="13158" y="12598"/>
                  </a:cubicBezTo>
                  <a:cubicBezTo>
                    <a:pt x="11898" y="16378"/>
                    <a:pt x="11898" y="18897"/>
                    <a:pt x="10638" y="22677"/>
                  </a:cubicBezTo>
                  <a:cubicBezTo>
                    <a:pt x="9378" y="28976"/>
                    <a:pt x="8119" y="36535"/>
                    <a:pt x="6859" y="44094"/>
                  </a:cubicBezTo>
                  <a:cubicBezTo>
                    <a:pt x="5599" y="50393"/>
                    <a:pt x="4339" y="56692"/>
                    <a:pt x="3079" y="61731"/>
                  </a:cubicBezTo>
                  <a:cubicBezTo>
                    <a:pt x="3079" y="64251"/>
                    <a:pt x="1819" y="66770"/>
                    <a:pt x="1819" y="70550"/>
                  </a:cubicBezTo>
                  <a:cubicBezTo>
                    <a:pt x="1819" y="73070"/>
                    <a:pt x="560" y="76849"/>
                    <a:pt x="560" y="79369"/>
                  </a:cubicBezTo>
                  <a:cubicBezTo>
                    <a:pt x="560" y="85668"/>
                    <a:pt x="-700" y="91967"/>
                    <a:pt x="560" y="99526"/>
                  </a:cubicBezTo>
                  <a:cubicBezTo>
                    <a:pt x="560" y="102046"/>
                    <a:pt x="1819" y="103305"/>
                    <a:pt x="1819" y="105825"/>
                  </a:cubicBezTo>
                  <a:cubicBezTo>
                    <a:pt x="1819" y="107085"/>
                    <a:pt x="3079" y="108345"/>
                    <a:pt x="3079" y="109605"/>
                  </a:cubicBezTo>
                  <a:cubicBezTo>
                    <a:pt x="3079" y="110864"/>
                    <a:pt x="4339" y="112124"/>
                    <a:pt x="5599" y="113384"/>
                  </a:cubicBezTo>
                  <a:cubicBezTo>
                    <a:pt x="5599" y="113384"/>
                    <a:pt x="6859" y="114644"/>
                    <a:pt x="6859" y="114644"/>
                  </a:cubicBezTo>
                  <a:cubicBezTo>
                    <a:pt x="8119" y="115904"/>
                    <a:pt x="8119" y="115904"/>
                    <a:pt x="9378" y="117163"/>
                  </a:cubicBezTo>
                  <a:cubicBezTo>
                    <a:pt x="10638" y="118423"/>
                    <a:pt x="10638" y="118423"/>
                    <a:pt x="11898" y="119683"/>
                  </a:cubicBezTo>
                  <a:cubicBezTo>
                    <a:pt x="13158" y="120943"/>
                    <a:pt x="14418" y="122203"/>
                    <a:pt x="14418" y="122203"/>
                  </a:cubicBezTo>
                  <a:cubicBezTo>
                    <a:pt x="15678" y="122203"/>
                    <a:pt x="15678" y="123463"/>
                    <a:pt x="16938" y="123463"/>
                  </a:cubicBezTo>
                  <a:cubicBezTo>
                    <a:pt x="19457" y="124722"/>
                    <a:pt x="20717" y="125982"/>
                    <a:pt x="23237" y="127242"/>
                  </a:cubicBezTo>
                  <a:cubicBezTo>
                    <a:pt x="24497" y="128502"/>
                    <a:pt x="27016" y="128502"/>
                    <a:pt x="28276" y="129762"/>
                  </a:cubicBezTo>
                  <a:cubicBezTo>
                    <a:pt x="30796" y="131022"/>
                    <a:pt x="34575" y="129762"/>
                    <a:pt x="34575" y="127242"/>
                  </a:cubicBezTo>
                  <a:cubicBezTo>
                    <a:pt x="35835" y="124722"/>
                    <a:pt x="34575" y="122203"/>
                    <a:pt x="32056" y="120943"/>
                  </a:cubicBezTo>
                  <a:cubicBezTo>
                    <a:pt x="29536" y="119683"/>
                    <a:pt x="28276" y="119683"/>
                    <a:pt x="25756" y="118423"/>
                  </a:cubicBezTo>
                  <a:cubicBezTo>
                    <a:pt x="24497" y="117163"/>
                    <a:pt x="21977" y="115904"/>
                    <a:pt x="20717" y="114644"/>
                  </a:cubicBezTo>
                  <a:cubicBezTo>
                    <a:pt x="19457" y="113384"/>
                    <a:pt x="18197" y="112124"/>
                    <a:pt x="16938" y="109605"/>
                  </a:cubicBezTo>
                  <a:cubicBezTo>
                    <a:pt x="15678" y="108345"/>
                    <a:pt x="14418" y="107085"/>
                    <a:pt x="13158" y="105825"/>
                  </a:cubicBezTo>
                  <a:cubicBezTo>
                    <a:pt x="13158" y="104565"/>
                    <a:pt x="11898" y="104565"/>
                    <a:pt x="11898" y="103305"/>
                  </a:cubicBezTo>
                  <a:cubicBezTo>
                    <a:pt x="11898" y="102046"/>
                    <a:pt x="10638" y="99526"/>
                    <a:pt x="10638" y="98266"/>
                  </a:cubicBezTo>
                  <a:cubicBezTo>
                    <a:pt x="10638" y="97006"/>
                    <a:pt x="10638" y="95746"/>
                    <a:pt x="10638" y="93227"/>
                  </a:cubicBezTo>
                  <a:cubicBezTo>
                    <a:pt x="10638" y="84408"/>
                    <a:pt x="11898" y="76849"/>
                    <a:pt x="14418" y="69290"/>
                  </a:cubicBezTo>
                  <a:cubicBezTo>
                    <a:pt x="14418" y="69290"/>
                    <a:pt x="14418" y="68030"/>
                    <a:pt x="14418" y="68030"/>
                  </a:cubicBezTo>
                  <a:cubicBezTo>
                    <a:pt x="14418" y="66770"/>
                    <a:pt x="15678" y="65511"/>
                    <a:pt x="15678" y="62991"/>
                  </a:cubicBezTo>
                  <a:cubicBezTo>
                    <a:pt x="15678" y="62991"/>
                    <a:pt x="15678" y="64251"/>
                    <a:pt x="15678" y="64251"/>
                  </a:cubicBezTo>
                  <a:cubicBezTo>
                    <a:pt x="15678" y="62991"/>
                    <a:pt x="15678" y="61731"/>
                    <a:pt x="16938" y="60471"/>
                  </a:cubicBezTo>
                  <a:cubicBezTo>
                    <a:pt x="18197" y="55432"/>
                    <a:pt x="19457" y="50393"/>
                    <a:pt x="20717" y="45354"/>
                  </a:cubicBezTo>
                  <a:cubicBezTo>
                    <a:pt x="21977" y="40314"/>
                    <a:pt x="21977" y="36535"/>
                    <a:pt x="23237" y="31496"/>
                  </a:cubicBezTo>
                  <a:cubicBezTo>
                    <a:pt x="24497" y="27716"/>
                    <a:pt x="24497" y="22677"/>
                    <a:pt x="25756" y="18897"/>
                  </a:cubicBezTo>
                  <a:cubicBezTo>
                    <a:pt x="25756" y="16378"/>
                    <a:pt x="27016" y="13858"/>
                    <a:pt x="27016" y="12598"/>
                  </a:cubicBezTo>
                  <a:cubicBezTo>
                    <a:pt x="27016" y="10078"/>
                    <a:pt x="28276" y="7559"/>
                    <a:pt x="27016" y="6299"/>
                  </a:cubicBezTo>
                  <a:cubicBezTo>
                    <a:pt x="27016" y="5039"/>
                    <a:pt x="27016" y="3779"/>
                    <a:pt x="25756" y="3779"/>
                  </a:cubicBezTo>
                  <a:cubicBezTo>
                    <a:pt x="25756" y="3779"/>
                    <a:pt x="24497" y="2520"/>
                    <a:pt x="24497" y="2520"/>
                  </a:cubicBezTo>
                  <a:cubicBezTo>
                    <a:pt x="21977" y="1260"/>
                    <a:pt x="21977" y="0"/>
                    <a:pt x="20717" y="0"/>
                  </a:cubicBezTo>
                  <a:moveTo>
                    <a:pt x="14418" y="66770"/>
                  </a:moveTo>
                  <a:cubicBezTo>
                    <a:pt x="14418" y="66770"/>
                    <a:pt x="14418" y="68030"/>
                    <a:pt x="14418" y="68030"/>
                  </a:cubicBezTo>
                  <a:cubicBezTo>
                    <a:pt x="14418" y="68030"/>
                    <a:pt x="14418" y="66770"/>
                    <a:pt x="14418" y="6677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/>
            <p:cNvSpPr/>
            <p:nvPr/>
          </p:nvSpPr>
          <p:spPr>
            <a:xfrm>
              <a:off x="9625434" y="3740389"/>
              <a:ext cx="94384" cy="51482"/>
            </a:xfrm>
            <a:custGeom>
              <a:avLst/>
              <a:gdLst>
                <a:gd name="connsiteX0" fmla="*/ 139840 w 138580"/>
                <a:gd name="connsiteY0" fmla="*/ 1260 h 75589"/>
                <a:gd name="connsiteX1" fmla="*/ 139840 w 138580"/>
                <a:gd name="connsiteY1" fmla="*/ 3780 h 75589"/>
                <a:gd name="connsiteX2" fmla="*/ 139840 w 138580"/>
                <a:gd name="connsiteY2" fmla="*/ 5039 h 75589"/>
                <a:gd name="connsiteX3" fmla="*/ 139840 w 138580"/>
                <a:gd name="connsiteY3" fmla="*/ 6299 h 75589"/>
                <a:gd name="connsiteX4" fmla="*/ 139840 w 138580"/>
                <a:gd name="connsiteY4" fmla="*/ 10079 h 75589"/>
                <a:gd name="connsiteX5" fmla="*/ 139840 w 138580"/>
                <a:gd name="connsiteY5" fmla="*/ 12598 h 75589"/>
                <a:gd name="connsiteX6" fmla="*/ 139840 w 138580"/>
                <a:gd name="connsiteY6" fmla="*/ 16378 h 75589"/>
                <a:gd name="connsiteX7" fmla="*/ 139840 w 138580"/>
                <a:gd name="connsiteY7" fmla="*/ 18897 h 75589"/>
                <a:gd name="connsiteX8" fmla="*/ 139840 w 138580"/>
                <a:gd name="connsiteY8" fmla="*/ 22677 h 75589"/>
                <a:gd name="connsiteX9" fmla="*/ 139840 w 138580"/>
                <a:gd name="connsiteY9" fmla="*/ 25196 h 75589"/>
                <a:gd name="connsiteX10" fmla="*/ 139840 w 138580"/>
                <a:gd name="connsiteY10" fmla="*/ 31496 h 75589"/>
                <a:gd name="connsiteX11" fmla="*/ 139840 w 138580"/>
                <a:gd name="connsiteY11" fmla="*/ 35275 h 75589"/>
                <a:gd name="connsiteX12" fmla="*/ 139840 w 138580"/>
                <a:gd name="connsiteY12" fmla="*/ 37795 h 75589"/>
                <a:gd name="connsiteX13" fmla="*/ 139840 w 138580"/>
                <a:gd name="connsiteY13" fmla="*/ 40315 h 75589"/>
                <a:gd name="connsiteX14" fmla="*/ 139840 w 138580"/>
                <a:gd name="connsiteY14" fmla="*/ 44094 h 75589"/>
                <a:gd name="connsiteX15" fmla="*/ 138581 w 138580"/>
                <a:gd name="connsiteY15" fmla="*/ 57952 h 75589"/>
                <a:gd name="connsiteX16" fmla="*/ 137321 w 138580"/>
                <a:gd name="connsiteY16" fmla="*/ 70550 h 75589"/>
                <a:gd name="connsiteX17" fmla="*/ 137321 w 138580"/>
                <a:gd name="connsiteY17" fmla="*/ 79369 h 75589"/>
                <a:gd name="connsiteX18" fmla="*/ 137321 w 138580"/>
                <a:gd name="connsiteY18" fmla="*/ 79369 h 75589"/>
                <a:gd name="connsiteX19" fmla="*/ 137321 w 138580"/>
                <a:gd name="connsiteY19" fmla="*/ 79369 h 75589"/>
                <a:gd name="connsiteX20" fmla="*/ 137321 w 138580"/>
                <a:gd name="connsiteY20" fmla="*/ 79369 h 75589"/>
                <a:gd name="connsiteX21" fmla="*/ 138581 w 138580"/>
                <a:gd name="connsiteY21" fmla="*/ 81889 h 75589"/>
                <a:gd name="connsiteX22" fmla="*/ 137321 w 138580"/>
                <a:gd name="connsiteY22" fmla="*/ 84408 h 75589"/>
                <a:gd name="connsiteX23" fmla="*/ 136061 w 138580"/>
                <a:gd name="connsiteY23" fmla="*/ 85668 h 75589"/>
                <a:gd name="connsiteX24" fmla="*/ 134801 w 138580"/>
                <a:gd name="connsiteY24" fmla="*/ 85668 h 75589"/>
                <a:gd name="connsiteX25" fmla="*/ 134801 w 138580"/>
                <a:gd name="connsiteY25" fmla="*/ 85668 h 75589"/>
                <a:gd name="connsiteX26" fmla="*/ 134801 w 138580"/>
                <a:gd name="connsiteY26" fmla="*/ 85668 h 75589"/>
                <a:gd name="connsiteX27" fmla="*/ 133541 w 138580"/>
                <a:gd name="connsiteY27" fmla="*/ 84408 h 75589"/>
                <a:gd name="connsiteX28" fmla="*/ 132281 w 138580"/>
                <a:gd name="connsiteY28" fmla="*/ 84408 h 75589"/>
                <a:gd name="connsiteX29" fmla="*/ 131022 w 138580"/>
                <a:gd name="connsiteY29" fmla="*/ 84408 h 75589"/>
                <a:gd name="connsiteX30" fmla="*/ 131022 w 138580"/>
                <a:gd name="connsiteY30" fmla="*/ 84408 h 75589"/>
                <a:gd name="connsiteX31" fmla="*/ 131022 w 138580"/>
                <a:gd name="connsiteY31" fmla="*/ 84408 h 75589"/>
                <a:gd name="connsiteX32" fmla="*/ 131022 w 138580"/>
                <a:gd name="connsiteY32" fmla="*/ 84408 h 75589"/>
                <a:gd name="connsiteX33" fmla="*/ 131022 w 138580"/>
                <a:gd name="connsiteY33" fmla="*/ 84408 h 75589"/>
                <a:gd name="connsiteX34" fmla="*/ 131022 w 138580"/>
                <a:gd name="connsiteY34" fmla="*/ 84408 h 75589"/>
                <a:gd name="connsiteX35" fmla="*/ 131022 w 138580"/>
                <a:gd name="connsiteY35" fmla="*/ 84408 h 75589"/>
                <a:gd name="connsiteX36" fmla="*/ 131022 w 138580"/>
                <a:gd name="connsiteY36" fmla="*/ 84408 h 75589"/>
                <a:gd name="connsiteX37" fmla="*/ 123463 w 138580"/>
                <a:gd name="connsiteY37" fmla="*/ 79369 h 75589"/>
                <a:gd name="connsiteX38" fmla="*/ 120943 w 138580"/>
                <a:gd name="connsiteY38" fmla="*/ 78109 h 75589"/>
                <a:gd name="connsiteX39" fmla="*/ 119683 w 138580"/>
                <a:gd name="connsiteY39" fmla="*/ 78109 h 75589"/>
                <a:gd name="connsiteX40" fmla="*/ 118423 w 138580"/>
                <a:gd name="connsiteY40" fmla="*/ 78109 h 75589"/>
                <a:gd name="connsiteX41" fmla="*/ 117163 w 138580"/>
                <a:gd name="connsiteY41" fmla="*/ 78109 h 75589"/>
                <a:gd name="connsiteX42" fmla="*/ 115904 w 138580"/>
                <a:gd name="connsiteY42" fmla="*/ 76849 h 75589"/>
                <a:gd name="connsiteX43" fmla="*/ 114644 w 138580"/>
                <a:gd name="connsiteY43" fmla="*/ 75589 h 75589"/>
                <a:gd name="connsiteX44" fmla="*/ 105825 w 138580"/>
                <a:gd name="connsiteY44" fmla="*/ 71810 h 75589"/>
                <a:gd name="connsiteX45" fmla="*/ 100786 w 138580"/>
                <a:gd name="connsiteY45" fmla="*/ 70550 h 75589"/>
                <a:gd name="connsiteX46" fmla="*/ 94487 w 138580"/>
                <a:gd name="connsiteY46" fmla="*/ 68031 h 75589"/>
                <a:gd name="connsiteX47" fmla="*/ 93227 w 138580"/>
                <a:gd name="connsiteY47" fmla="*/ 66771 h 75589"/>
                <a:gd name="connsiteX48" fmla="*/ 90707 w 138580"/>
                <a:gd name="connsiteY48" fmla="*/ 65511 h 75589"/>
                <a:gd name="connsiteX49" fmla="*/ 78109 w 138580"/>
                <a:gd name="connsiteY49" fmla="*/ 60472 h 75589"/>
                <a:gd name="connsiteX50" fmla="*/ 64251 w 138580"/>
                <a:gd name="connsiteY50" fmla="*/ 54172 h 75589"/>
                <a:gd name="connsiteX51" fmla="*/ 56692 w 138580"/>
                <a:gd name="connsiteY51" fmla="*/ 50393 h 75589"/>
                <a:gd name="connsiteX52" fmla="*/ 47873 w 138580"/>
                <a:gd name="connsiteY52" fmla="*/ 46614 h 75589"/>
                <a:gd name="connsiteX53" fmla="*/ 31496 w 138580"/>
                <a:gd name="connsiteY53" fmla="*/ 39055 h 75589"/>
                <a:gd name="connsiteX54" fmla="*/ 22677 w 138580"/>
                <a:gd name="connsiteY54" fmla="*/ 35275 h 75589"/>
                <a:gd name="connsiteX55" fmla="*/ 22677 w 138580"/>
                <a:gd name="connsiteY55" fmla="*/ 35275 h 75589"/>
                <a:gd name="connsiteX56" fmla="*/ 7559 w 138580"/>
                <a:gd name="connsiteY56" fmla="*/ 26456 h 75589"/>
                <a:gd name="connsiteX57" fmla="*/ 0 w 138580"/>
                <a:gd name="connsiteY57" fmla="*/ 21417 h 75589"/>
                <a:gd name="connsiteX58" fmla="*/ 0 w 138580"/>
                <a:gd name="connsiteY58" fmla="*/ 21417 h 75589"/>
                <a:gd name="connsiteX59" fmla="*/ 2519 w 138580"/>
                <a:gd name="connsiteY59" fmla="*/ 20157 h 75589"/>
                <a:gd name="connsiteX60" fmla="*/ 2519 w 138580"/>
                <a:gd name="connsiteY60" fmla="*/ 20157 h 75589"/>
                <a:gd name="connsiteX61" fmla="*/ 6299 w 138580"/>
                <a:gd name="connsiteY61" fmla="*/ 20157 h 75589"/>
                <a:gd name="connsiteX62" fmla="*/ 8819 w 138580"/>
                <a:gd name="connsiteY62" fmla="*/ 20157 h 75589"/>
                <a:gd name="connsiteX63" fmla="*/ 8819 w 138580"/>
                <a:gd name="connsiteY63" fmla="*/ 20157 h 75589"/>
                <a:gd name="connsiteX64" fmla="*/ 15118 w 138580"/>
                <a:gd name="connsiteY64" fmla="*/ 22677 h 75589"/>
                <a:gd name="connsiteX65" fmla="*/ 16378 w 138580"/>
                <a:gd name="connsiteY65" fmla="*/ 22677 h 75589"/>
                <a:gd name="connsiteX66" fmla="*/ 17637 w 138580"/>
                <a:gd name="connsiteY66" fmla="*/ 22677 h 75589"/>
                <a:gd name="connsiteX67" fmla="*/ 18897 w 138580"/>
                <a:gd name="connsiteY67" fmla="*/ 22677 h 75589"/>
                <a:gd name="connsiteX68" fmla="*/ 25196 w 138580"/>
                <a:gd name="connsiteY68" fmla="*/ 21417 h 75589"/>
                <a:gd name="connsiteX69" fmla="*/ 32755 w 138580"/>
                <a:gd name="connsiteY69" fmla="*/ 20157 h 75589"/>
                <a:gd name="connsiteX70" fmla="*/ 46613 w 138580"/>
                <a:gd name="connsiteY70" fmla="*/ 18897 h 75589"/>
                <a:gd name="connsiteX71" fmla="*/ 54172 w 138580"/>
                <a:gd name="connsiteY71" fmla="*/ 18897 h 75589"/>
                <a:gd name="connsiteX72" fmla="*/ 54172 w 138580"/>
                <a:gd name="connsiteY72" fmla="*/ 18897 h 75589"/>
                <a:gd name="connsiteX73" fmla="*/ 56692 w 138580"/>
                <a:gd name="connsiteY73" fmla="*/ 18897 h 75589"/>
                <a:gd name="connsiteX74" fmla="*/ 60471 w 138580"/>
                <a:gd name="connsiteY74" fmla="*/ 18897 h 75589"/>
                <a:gd name="connsiteX75" fmla="*/ 64251 w 138580"/>
                <a:gd name="connsiteY75" fmla="*/ 18897 h 75589"/>
                <a:gd name="connsiteX76" fmla="*/ 68030 w 138580"/>
                <a:gd name="connsiteY76" fmla="*/ 18897 h 75589"/>
                <a:gd name="connsiteX77" fmla="*/ 73070 w 138580"/>
                <a:gd name="connsiteY77" fmla="*/ 17638 h 75589"/>
                <a:gd name="connsiteX78" fmla="*/ 74329 w 138580"/>
                <a:gd name="connsiteY78" fmla="*/ 17638 h 75589"/>
                <a:gd name="connsiteX79" fmla="*/ 89447 w 138580"/>
                <a:gd name="connsiteY79" fmla="*/ 15118 h 75589"/>
                <a:gd name="connsiteX80" fmla="*/ 95746 w 138580"/>
                <a:gd name="connsiteY80" fmla="*/ 13858 h 75589"/>
                <a:gd name="connsiteX81" fmla="*/ 98266 w 138580"/>
                <a:gd name="connsiteY81" fmla="*/ 13858 h 75589"/>
                <a:gd name="connsiteX82" fmla="*/ 102045 w 138580"/>
                <a:gd name="connsiteY82" fmla="*/ 12598 h 75589"/>
                <a:gd name="connsiteX83" fmla="*/ 108344 w 138580"/>
                <a:gd name="connsiteY83" fmla="*/ 11339 h 75589"/>
                <a:gd name="connsiteX84" fmla="*/ 108344 w 138580"/>
                <a:gd name="connsiteY84" fmla="*/ 11339 h 75589"/>
                <a:gd name="connsiteX85" fmla="*/ 110864 w 138580"/>
                <a:gd name="connsiteY85" fmla="*/ 10079 h 75589"/>
                <a:gd name="connsiteX86" fmla="*/ 114644 w 138580"/>
                <a:gd name="connsiteY86" fmla="*/ 8819 h 75589"/>
                <a:gd name="connsiteX87" fmla="*/ 120943 w 138580"/>
                <a:gd name="connsiteY87" fmla="*/ 6299 h 75589"/>
                <a:gd name="connsiteX88" fmla="*/ 120943 w 138580"/>
                <a:gd name="connsiteY88" fmla="*/ 6299 h 75589"/>
                <a:gd name="connsiteX89" fmla="*/ 127242 w 138580"/>
                <a:gd name="connsiteY89" fmla="*/ 3780 h 75589"/>
                <a:gd name="connsiteX90" fmla="*/ 131022 w 138580"/>
                <a:gd name="connsiteY90" fmla="*/ 2520 h 75589"/>
                <a:gd name="connsiteX91" fmla="*/ 133541 w 138580"/>
                <a:gd name="connsiteY91" fmla="*/ 1260 h 75589"/>
                <a:gd name="connsiteX92" fmla="*/ 136061 w 138580"/>
                <a:gd name="connsiteY92" fmla="*/ 0 h 75589"/>
                <a:gd name="connsiteX93" fmla="*/ 137321 w 138580"/>
                <a:gd name="connsiteY93" fmla="*/ 0 h 75589"/>
                <a:gd name="connsiteX94" fmla="*/ 137321 w 138580"/>
                <a:gd name="connsiteY94" fmla="*/ 0 h 75589"/>
                <a:gd name="connsiteX95" fmla="*/ 137321 w 138580"/>
                <a:gd name="connsiteY95" fmla="*/ 0 h 75589"/>
                <a:gd name="connsiteX96" fmla="*/ 138581 w 138580"/>
                <a:gd name="connsiteY96" fmla="*/ 0 h 75589"/>
                <a:gd name="connsiteX97" fmla="*/ 139840 w 138580"/>
                <a:gd name="connsiteY97" fmla="*/ 1260 h 75589"/>
                <a:gd name="connsiteX98" fmla="*/ 139840 w 138580"/>
                <a:gd name="connsiteY98" fmla="*/ 126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38580" h="75589">
                  <a:moveTo>
                    <a:pt x="139840" y="1260"/>
                  </a:moveTo>
                  <a:cubicBezTo>
                    <a:pt x="139840" y="1260"/>
                    <a:pt x="139840" y="2520"/>
                    <a:pt x="139840" y="3780"/>
                  </a:cubicBezTo>
                  <a:cubicBezTo>
                    <a:pt x="139840" y="5039"/>
                    <a:pt x="139840" y="5039"/>
                    <a:pt x="139840" y="5039"/>
                  </a:cubicBezTo>
                  <a:cubicBezTo>
                    <a:pt x="139840" y="5039"/>
                    <a:pt x="139840" y="6299"/>
                    <a:pt x="139840" y="6299"/>
                  </a:cubicBezTo>
                  <a:cubicBezTo>
                    <a:pt x="139840" y="7559"/>
                    <a:pt x="139840" y="8819"/>
                    <a:pt x="139840" y="10079"/>
                  </a:cubicBezTo>
                  <a:cubicBezTo>
                    <a:pt x="139840" y="11339"/>
                    <a:pt x="139840" y="12598"/>
                    <a:pt x="139840" y="12598"/>
                  </a:cubicBezTo>
                  <a:cubicBezTo>
                    <a:pt x="139840" y="13858"/>
                    <a:pt x="139840" y="15118"/>
                    <a:pt x="139840" y="16378"/>
                  </a:cubicBezTo>
                  <a:cubicBezTo>
                    <a:pt x="139840" y="17638"/>
                    <a:pt x="139840" y="17638"/>
                    <a:pt x="139840" y="18897"/>
                  </a:cubicBezTo>
                  <a:cubicBezTo>
                    <a:pt x="139840" y="20157"/>
                    <a:pt x="139840" y="21417"/>
                    <a:pt x="139840" y="22677"/>
                  </a:cubicBezTo>
                  <a:cubicBezTo>
                    <a:pt x="139840" y="23937"/>
                    <a:pt x="139840" y="23937"/>
                    <a:pt x="139840" y="25196"/>
                  </a:cubicBezTo>
                  <a:cubicBezTo>
                    <a:pt x="139840" y="27716"/>
                    <a:pt x="139840" y="28976"/>
                    <a:pt x="139840" y="31496"/>
                  </a:cubicBezTo>
                  <a:cubicBezTo>
                    <a:pt x="139840" y="32755"/>
                    <a:pt x="139840" y="34015"/>
                    <a:pt x="139840" y="35275"/>
                  </a:cubicBezTo>
                  <a:cubicBezTo>
                    <a:pt x="139840" y="36535"/>
                    <a:pt x="139840" y="36535"/>
                    <a:pt x="139840" y="37795"/>
                  </a:cubicBezTo>
                  <a:cubicBezTo>
                    <a:pt x="139840" y="39055"/>
                    <a:pt x="139840" y="40315"/>
                    <a:pt x="139840" y="40315"/>
                  </a:cubicBezTo>
                  <a:cubicBezTo>
                    <a:pt x="139840" y="41574"/>
                    <a:pt x="139840" y="42834"/>
                    <a:pt x="139840" y="44094"/>
                  </a:cubicBezTo>
                  <a:cubicBezTo>
                    <a:pt x="139840" y="49133"/>
                    <a:pt x="138581" y="52913"/>
                    <a:pt x="138581" y="57952"/>
                  </a:cubicBezTo>
                  <a:cubicBezTo>
                    <a:pt x="138581" y="61731"/>
                    <a:pt x="137321" y="66771"/>
                    <a:pt x="137321" y="70550"/>
                  </a:cubicBezTo>
                  <a:cubicBezTo>
                    <a:pt x="137321" y="73070"/>
                    <a:pt x="137321" y="76849"/>
                    <a:pt x="137321" y="79369"/>
                  </a:cubicBezTo>
                  <a:lnTo>
                    <a:pt x="137321" y="79369"/>
                  </a:lnTo>
                  <a:lnTo>
                    <a:pt x="137321" y="79369"/>
                  </a:lnTo>
                  <a:lnTo>
                    <a:pt x="137321" y="79369"/>
                  </a:lnTo>
                  <a:cubicBezTo>
                    <a:pt x="138581" y="79369"/>
                    <a:pt x="138581" y="80629"/>
                    <a:pt x="138581" y="81889"/>
                  </a:cubicBezTo>
                  <a:cubicBezTo>
                    <a:pt x="138581" y="83148"/>
                    <a:pt x="138581" y="83148"/>
                    <a:pt x="137321" y="84408"/>
                  </a:cubicBezTo>
                  <a:cubicBezTo>
                    <a:pt x="137321" y="84408"/>
                    <a:pt x="136061" y="85668"/>
                    <a:pt x="136061" y="85668"/>
                  </a:cubicBezTo>
                  <a:cubicBezTo>
                    <a:pt x="136061" y="85668"/>
                    <a:pt x="136061" y="85668"/>
                    <a:pt x="134801" y="85668"/>
                  </a:cubicBezTo>
                  <a:lnTo>
                    <a:pt x="134801" y="85668"/>
                  </a:lnTo>
                  <a:lnTo>
                    <a:pt x="134801" y="85668"/>
                  </a:lnTo>
                  <a:cubicBezTo>
                    <a:pt x="134801" y="85668"/>
                    <a:pt x="133541" y="85668"/>
                    <a:pt x="133541" y="84408"/>
                  </a:cubicBezTo>
                  <a:lnTo>
                    <a:pt x="132281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cubicBezTo>
                    <a:pt x="128502" y="83148"/>
                    <a:pt x="125982" y="81889"/>
                    <a:pt x="123463" y="79369"/>
                  </a:cubicBezTo>
                  <a:cubicBezTo>
                    <a:pt x="122203" y="79369"/>
                    <a:pt x="122203" y="78109"/>
                    <a:pt x="120943" y="78109"/>
                  </a:cubicBezTo>
                  <a:lnTo>
                    <a:pt x="119683" y="78109"/>
                  </a:lnTo>
                  <a:lnTo>
                    <a:pt x="118423" y="78109"/>
                  </a:lnTo>
                  <a:lnTo>
                    <a:pt x="117163" y="78109"/>
                  </a:lnTo>
                  <a:cubicBezTo>
                    <a:pt x="117163" y="78109"/>
                    <a:pt x="115904" y="78109"/>
                    <a:pt x="115904" y="76849"/>
                  </a:cubicBezTo>
                  <a:lnTo>
                    <a:pt x="114644" y="75589"/>
                  </a:lnTo>
                  <a:cubicBezTo>
                    <a:pt x="112124" y="74330"/>
                    <a:pt x="108344" y="73070"/>
                    <a:pt x="105825" y="71810"/>
                  </a:cubicBezTo>
                  <a:cubicBezTo>
                    <a:pt x="104565" y="71810"/>
                    <a:pt x="103305" y="70550"/>
                    <a:pt x="100786" y="70550"/>
                  </a:cubicBezTo>
                  <a:cubicBezTo>
                    <a:pt x="98266" y="69290"/>
                    <a:pt x="97006" y="69290"/>
                    <a:pt x="94487" y="68031"/>
                  </a:cubicBezTo>
                  <a:cubicBezTo>
                    <a:pt x="93227" y="68031"/>
                    <a:pt x="93227" y="68031"/>
                    <a:pt x="93227" y="66771"/>
                  </a:cubicBezTo>
                  <a:cubicBezTo>
                    <a:pt x="91967" y="66771"/>
                    <a:pt x="91967" y="65511"/>
                    <a:pt x="90707" y="65511"/>
                  </a:cubicBezTo>
                  <a:cubicBezTo>
                    <a:pt x="86928" y="64251"/>
                    <a:pt x="83148" y="61731"/>
                    <a:pt x="78109" y="60472"/>
                  </a:cubicBezTo>
                  <a:cubicBezTo>
                    <a:pt x="73070" y="57952"/>
                    <a:pt x="69290" y="56692"/>
                    <a:pt x="64251" y="54172"/>
                  </a:cubicBezTo>
                  <a:cubicBezTo>
                    <a:pt x="61731" y="52913"/>
                    <a:pt x="59211" y="51653"/>
                    <a:pt x="56692" y="50393"/>
                  </a:cubicBezTo>
                  <a:cubicBezTo>
                    <a:pt x="54172" y="49133"/>
                    <a:pt x="50393" y="47873"/>
                    <a:pt x="47873" y="46614"/>
                  </a:cubicBezTo>
                  <a:cubicBezTo>
                    <a:pt x="42834" y="44094"/>
                    <a:pt x="37795" y="41574"/>
                    <a:pt x="31496" y="39055"/>
                  </a:cubicBezTo>
                  <a:cubicBezTo>
                    <a:pt x="28976" y="37795"/>
                    <a:pt x="25196" y="36535"/>
                    <a:pt x="22677" y="35275"/>
                  </a:cubicBezTo>
                  <a:cubicBezTo>
                    <a:pt x="22677" y="35275"/>
                    <a:pt x="22677" y="35275"/>
                    <a:pt x="22677" y="35275"/>
                  </a:cubicBezTo>
                  <a:cubicBezTo>
                    <a:pt x="17637" y="32755"/>
                    <a:pt x="12598" y="28976"/>
                    <a:pt x="7559" y="26456"/>
                  </a:cubicBezTo>
                  <a:cubicBezTo>
                    <a:pt x="5039" y="25196"/>
                    <a:pt x="2519" y="22677"/>
                    <a:pt x="0" y="21417"/>
                  </a:cubicBezTo>
                  <a:cubicBezTo>
                    <a:pt x="0" y="21417"/>
                    <a:pt x="0" y="21417"/>
                    <a:pt x="0" y="21417"/>
                  </a:cubicBezTo>
                  <a:cubicBezTo>
                    <a:pt x="0" y="21417"/>
                    <a:pt x="1260" y="20157"/>
                    <a:pt x="2519" y="20157"/>
                  </a:cubicBezTo>
                  <a:cubicBezTo>
                    <a:pt x="2519" y="20157"/>
                    <a:pt x="2519" y="20157"/>
                    <a:pt x="2519" y="20157"/>
                  </a:cubicBezTo>
                  <a:cubicBezTo>
                    <a:pt x="3779" y="20157"/>
                    <a:pt x="5039" y="20157"/>
                    <a:pt x="6299" y="20157"/>
                  </a:cubicBezTo>
                  <a:cubicBezTo>
                    <a:pt x="7559" y="20157"/>
                    <a:pt x="7559" y="20157"/>
                    <a:pt x="8819" y="20157"/>
                  </a:cubicBezTo>
                  <a:lnTo>
                    <a:pt x="8819" y="20157"/>
                  </a:lnTo>
                  <a:cubicBezTo>
                    <a:pt x="11338" y="20157"/>
                    <a:pt x="12598" y="21417"/>
                    <a:pt x="15118" y="22677"/>
                  </a:cubicBezTo>
                  <a:cubicBezTo>
                    <a:pt x="15118" y="22677"/>
                    <a:pt x="16378" y="22677"/>
                    <a:pt x="16378" y="22677"/>
                  </a:cubicBezTo>
                  <a:lnTo>
                    <a:pt x="17637" y="22677"/>
                  </a:lnTo>
                  <a:cubicBezTo>
                    <a:pt x="17637" y="22677"/>
                    <a:pt x="18897" y="22677"/>
                    <a:pt x="18897" y="22677"/>
                  </a:cubicBezTo>
                  <a:cubicBezTo>
                    <a:pt x="21417" y="22677"/>
                    <a:pt x="22677" y="22677"/>
                    <a:pt x="25196" y="21417"/>
                  </a:cubicBezTo>
                  <a:cubicBezTo>
                    <a:pt x="27716" y="21417"/>
                    <a:pt x="30236" y="20157"/>
                    <a:pt x="32755" y="20157"/>
                  </a:cubicBezTo>
                  <a:cubicBezTo>
                    <a:pt x="37795" y="18897"/>
                    <a:pt x="41574" y="18897"/>
                    <a:pt x="46613" y="18897"/>
                  </a:cubicBezTo>
                  <a:cubicBezTo>
                    <a:pt x="49133" y="18897"/>
                    <a:pt x="51652" y="18897"/>
                    <a:pt x="54172" y="18897"/>
                  </a:cubicBezTo>
                  <a:lnTo>
                    <a:pt x="54172" y="18897"/>
                  </a:lnTo>
                  <a:cubicBezTo>
                    <a:pt x="55432" y="18897"/>
                    <a:pt x="55432" y="18897"/>
                    <a:pt x="56692" y="18897"/>
                  </a:cubicBezTo>
                  <a:cubicBezTo>
                    <a:pt x="57952" y="18897"/>
                    <a:pt x="59211" y="18897"/>
                    <a:pt x="60471" y="18897"/>
                  </a:cubicBezTo>
                  <a:cubicBezTo>
                    <a:pt x="61731" y="18897"/>
                    <a:pt x="62991" y="18897"/>
                    <a:pt x="64251" y="18897"/>
                  </a:cubicBezTo>
                  <a:cubicBezTo>
                    <a:pt x="65511" y="18897"/>
                    <a:pt x="66770" y="18897"/>
                    <a:pt x="68030" y="18897"/>
                  </a:cubicBezTo>
                  <a:cubicBezTo>
                    <a:pt x="69290" y="18897"/>
                    <a:pt x="71810" y="18897"/>
                    <a:pt x="73070" y="17638"/>
                  </a:cubicBezTo>
                  <a:lnTo>
                    <a:pt x="74329" y="17638"/>
                  </a:lnTo>
                  <a:cubicBezTo>
                    <a:pt x="78109" y="17638"/>
                    <a:pt x="84408" y="16378"/>
                    <a:pt x="89447" y="15118"/>
                  </a:cubicBezTo>
                  <a:cubicBezTo>
                    <a:pt x="91967" y="15118"/>
                    <a:pt x="94487" y="13858"/>
                    <a:pt x="95746" y="13858"/>
                  </a:cubicBezTo>
                  <a:cubicBezTo>
                    <a:pt x="97006" y="13858"/>
                    <a:pt x="98266" y="13858"/>
                    <a:pt x="98266" y="13858"/>
                  </a:cubicBezTo>
                  <a:cubicBezTo>
                    <a:pt x="99526" y="13858"/>
                    <a:pt x="100786" y="13858"/>
                    <a:pt x="102045" y="12598"/>
                  </a:cubicBezTo>
                  <a:cubicBezTo>
                    <a:pt x="104565" y="12598"/>
                    <a:pt x="105825" y="11339"/>
                    <a:pt x="108344" y="11339"/>
                  </a:cubicBezTo>
                  <a:lnTo>
                    <a:pt x="108344" y="11339"/>
                  </a:lnTo>
                  <a:cubicBezTo>
                    <a:pt x="109604" y="11339"/>
                    <a:pt x="110864" y="11339"/>
                    <a:pt x="110864" y="10079"/>
                  </a:cubicBezTo>
                  <a:cubicBezTo>
                    <a:pt x="112124" y="10079"/>
                    <a:pt x="113384" y="8819"/>
                    <a:pt x="114644" y="8819"/>
                  </a:cubicBezTo>
                  <a:cubicBezTo>
                    <a:pt x="117163" y="7559"/>
                    <a:pt x="118423" y="7559"/>
                    <a:pt x="120943" y="6299"/>
                  </a:cubicBezTo>
                  <a:lnTo>
                    <a:pt x="120943" y="6299"/>
                  </a:lnTo>
                  <a:cubicBezTo>
                    <a:pt x="123463" y="5039"/>
                    <a:pt x="124722" y="5039"/>
                    <a:pt x="127242" y="3780"/>
                  </a:cubicBezTo>
                  <a:cubicBezTo>
                    <a:pt x="128502" y="3780"/>
                    <a:pt x="129762" y="2520"/>
                    <a:pt x="131022" y="2520"/>
                  </a:cubicBezTo>
                  <a:cubicBezTo>
                    <a:pt x="132281" y="2520"/>
                    <a:pt x="132281" y="1260"/>
                    <a:pt x="133541" y="1260"/>
                  </a:cubicBezTo>
                  <a:cubicBezTo>
                    <a:pt x="134801" y="1260"/>
                    <a:pt x="136061" y="0"/>
                    <a:pt x="136061" y="0"/>
                  </a:cubicBezTo>
                  <a:cubicBezTo>
                    <a:pt x="136061" y="0"/>
                    <a:pt x="137321" y="0"/>
                    <a:pt x="137321" y="0"/>
                  </a:cubicBezTo>
                  <a:lnTo>
                    <a:pt x="137321" y="0"/>
                  </a:lnTo>
                  <a:cubicBezTo>
                    <a:pt x="137321" y="0"/>
                    <a:pt x="137321" y="0"/>
                    <a:pt x="137321" y="0"/>
                  </a:cubicBezTo>
                  <a:cubicBezTo>
                    <a:pt x="137321" y="0"/>
                    <a:pt x="137321" y="0"/>
                    <a:pt x="138581" y="0"/>
                  </a:cubicBezTo>
                  <a:cubicBezTo>
                    <a:pt x="137321" y="0"/>
                    <a:pt x="138581" y="0"/>
                    <a:pt x="139840" y="1260"/>
                  </a:cubicBezTo>
                  <a:cubicBezTo>
                    <a:pt x="138581" y="0"/>
                    <a:pt x="139840" y="0"/>
                    <a:pt x="139840" y="126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/>
            <p:cNvSpPr/>
            <p:nvPr/>
          </p:nvSpPr>
          <p:spPr>
            <a:xfrm>
              <a:off x="9715528" y="3734383"/>
              <a:ext cx="8580" cy="94384"/>
            </a:xfrm>
            <a:custGeom>
              <a:avLst/>
              <a:gdLst>
                <a:gd name="connsiteX0" fmla="*/ 12598 w 12598"/>
                <a:gd name="connsiteY0" fmla="*/ 0 h 138580"/>
                <a:gd name="connsiteX1" fmla="*/ 17637 w 12598"/>
                <a:gd name="connsiteY1" fmla="*/ 2520 h 138580"/>
                <a:gd name="connsiteX2" fmla="*/ 18897 w 12598"/>
                <a:gd name="connsiteY2" fmla="*/ 7559 h 138580"/>
                <a:gd name="connsiteX3" fmla="*/ 17637 w 12598"/>
                <a:gd name="connsiteY3" fmla="*/ 32755 h 138580"/>
                <a:gd name="connsiteX4" fmla="*/ 16378 w 12598"/>
                <a:gd name="connsiteY4" fmla="*/ 54172 h 138580"/>
                <a:gd name="connsiteX5" fmla="*/ 15118 w 12598"/>
                <a:gd name="connsiteY5" fmla="*/ 75589 h 138580"/>
                <a:gd name="connsiteX6" fmla="*/ 15118 w 12598"/>
                <a:gd name="connsiteY6" fmla="*/ 85668 h 138580"/>
                <a:gd name="connsiteX7" fmla="*/ 15118 w 12598"/>
                <a:gd name="connsiteY7" fmla="*/ 95747 h 138580"/>
                <a:gd name="connsiteX8" fmla="*/ 15118 w 12598"/>
                <a:gd name="connsiteY8" fmla="*/ 95747 h 138580"/>
                <a:gd name="connsiteX9" fmla="*/ 15118 w 12598"/>
                <a:gd name="connsiteY9" fmla="*/ 104565 h 138580"/>
                <a:gd name="connsiteX10" fmla="*/ 15118 w 12598"/>
                <a:gd name="connsiteY10" fmla="*/ 110864 h 138580"/>
                <a:gd name="connsiteX11" fmla="*/ 15118 w 12598"/>
                <a:gd name="connsiteY11" fmla="*/ 117164 h 138580"/>
                <a:gd name="connsiteX12" fmla="*/ 15118 w 12598"/>
                <a:gd name="connsiteY12" fmla="*/ 124723 h 138580"/>
                <a:gd name="connsiteX13" fmla="*/ 15118 w 12598"/>
                <a:gd name="connsiteY13" fmla="*/ 134801 h 138580"/>
                <a:gd name="connsiteX14" fmla="*/ 8819 w 12598"/>
                <a:gd name="connsiteY14" fmla="*/ 139840 h 138580"/>
                <a:gd name="connsiteX15" fmla="*/ 5039 w 12598"/>
                <a:gd name="connsiteY15" fmla="*/ 139840 h 138580"/>
                <a:gd name="connsiteX16" fmla="*/ 1260 w 12598"/>
                <a:gd name="connsiteY16" fmla="*/ 136061 h 138580"/>
                <a:gd name="connsiteX17" fmla="*/ 0 w 12598"/>
                <a:gd name="connsiteY17" fmla="*/ 128502 h 138580"/>
                <a:gd name="connsiteX18" fmla="*/ 0 w 12598"/>
                <a:gd name="connsiteY18" fmla="*/ 122203 h 138580"/>
                <a:gd name="connsiteX19" fmla="*/ 0 w 12598"/>
                <a:gd name="connsiteY19" fmla="*/ 109605 h 138580"/>
                <a:gd name="connsiteX20" fmla="*/ 0 w 12598"/>
                <a:gd name="connsiteY20" fmla="*/ 97006 h 138580"/>
                <a:gd name="connsiteX21" fmla="*/ 0 w 12598"/>
                <a:gd name="connsiteY21" fmla="*/ 83148 h 138580"/>
                <a:gd name="connsiteX22" fmla="*/ 0 w 12598"/>
                <a:gd name="connsiteY22" fmla="*/ 76849 h 138580"/>
                <a:gd name="connsiteX23" fmla="*/ 0 w 12598"/>
                <a:gd name="connsiteY23" fmla="*/ 65511 h 138580"/>
                <a:gd name="connsiteX24" fmla="*/ 1260 w 12598"/>
                <a:gd name="connsiteY24" fmla="*/ 46613 h 138580"/>
                <a:gd name="connsiteX25" fmla="*/ 3779 w 12598"/>
                <a:gd name="connsiteY25" fmla="*/ 5039 h 138580"/>
                <a:gd name="connsiteX26" fmla="*/ 12598 w 12598"/>
                <a:gd name="connsiteY26" fmla="*/ 0 h 138580"/>
                <a:gd name="connsiteX27" fmla="*/ 12598 w 12598"/>
                <a:gd name="connsiteY27" fmla="*/ 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598" h="138580">
                  <a:moveTo>
                    <a:pt x="12598" y="0"/>
                  </a:moveTo>
                  <a:cubicBezTo>
                    <a:pt x="15118" y="0"/>
                    <a:pt x="16378" y="1260"/>
                    <a:pt x="17637" y="2520"/>
                  </a:cubicBezTo>
                  <a:cubicBezTo>
                    <a:pt x="18897" y="3780"/>
                    <a:pt x="18897" y="6299"/>
                    <a:pt x="18897" y="7559"/>
                  </a:cubicBezTo>
                  <a:cubicBezTo>
                    <a:pt x="17637" y="15118"/>
                    <a:pt x="17637" y="23937"/>
                    <a:pt x="17637" y="32755"/>
                  </a:cubicBezTo>
                  <a:cubicBezTo>
                    <a:pt x="17637" y="40314"/>
                    <a:pt x="17637" y="46613"/>
                    <a:pt x="16378" y="54172"/>
                  </a:cubicBezTo>
                  <a:cubicBezTo>
                    <a:pt x="16378" y="61731"/>
                    <a:pt x="15118" y="68031"/>
                    <a:pt x="15118" y="75589"/>
                  </a:cubicBezTo>
                  <a:cubicBezTo>
                    <a:pt x="15118" y="79369"/>
                    <a:pt x="15118" y="81889"/>
                    <a:pt x="15118" y="85668"/>
                  </a:cubicBezTo>
                  <a:cubicBezTo>
                    <a:pt x="15118" y="89448"/>
                    <a:pt x="15118" y="91967"/>
                    <a:pt x="15118" y="95747"/>
                  </a:cubicBezTo>
                  <a:cubicBezTo>
                    <a:pt x="15118" y="95747"/>
                    <a:pt x="15118" y="95747"/>
                    <a:pt x="15118" y="95747"/>
                  </a:cubicBezTo>
                  <a:cubicBezTo>
                    <a:pt x="15118" y="98266"/>
                    <a:pt x="15118" y="102046"/>
                    <a:pt x="15118" y="104565"/>
                  </a:cubicBezTo>
                  <a:cubicBezTo>
                    <a:pt x="15118" y="107085"/>
                    <a:pt x="15118" y="108345"/>
                    <a:pt x="15118" y="110864"/>
                  </a:cubicBezTo>
                  <a:cubicBezTo>
                    <a:pt x="15118" y="113384"/>
                    <a:pt x="15118" y="114644"/>
                    <a:pt x="15118" y="117164"/>
                  </a:cubicBezTo>
                  <a:cubicBezTo>
                    <a:pt x="15118" y="119683"/>
                    <a:pt x="15118" y="122203"/>
                    <a:pt x="15118" y="124723"/>
                  </a:cubicBezTo>
                  <a:cubicBezTo>
                    <a:pt x="15118" y="128502"/>
                    <a:pt x="15118" y="131022"/>
                    <a:pt x="15118" y="134801"/>
                  </a:cubicBezTo>
                  <a:cubicBezTo>
                    <a:pt x="15118" y="137321"/>
                    <a:pt x="12598" y="139840"/>
                    <a:pt x="8819" y="139840"/>
                  </a:cubicBezTo>
                  <a:cubicBezTo>
                    <a:pt x="7559" y="139840"/>
                    <a:pt x="6299" y="139840"/>
                    <a:pt x="5039" y="139840"/>
                  </a:cubicBezTo>
                  <a:cubicBezTo>
                    <a:pt x="3779" y="139840"/>
                    <a:pt x="1260" y="137321"/>
                    <a:pt x="1260" y="136061"/>
                  </a:cubicBezTo>
                  <a:cubicBezTo>
                    <a:pt x="0" y="133541"/>
                    <a:pt x="0" y="131022"/>
                    <a:pt x="0" y="128502"/>
                  </a:cubicBezTo>
                  <a:cubicBezTo>
                    <a:pt x="0" y="125982"/>
                    <a:pt x="0" y="124723"/>
                    <a:pt x="0" y="122203"/>
                  </a:cubicBezTo>
                  <a:cubicBezTo>
                    <a:pt x="0" y="118424"/>
                    <a:pt x="0" y="113384"/>
                    <a:pt x="0" y="109605"/>
                  </a:cubicBezTo>
                  <a:cubicBezTo>
                    <a:pt x="0" y="105825"/>
                    <a:pt x="0" y="100786"/>
                    <a:pt x="0" y="97006"/>
                  </a:cubicBezTo>
                  <a:cubicBezTo>
                    <a:pt x="0" y="91967"/>
                    <a:pt x="0" y="86928"/>
                    <a:pt x="0" y="83148"/>
                  </a:cubicBezTo>
                  <a:cubicBezTo>
                    <a:pt x="0" y="80629"/>
                    <a:pt x="0" y="78109"/>
                    <a:pt x="0" y="76849"/>
                  </a:cubicBezTo>
                  <a:cubicBezTo>
                    <a:pt x="0" y="73070"/>
                    <a:pt x="0" y="69290"/>
                    <a:pt x="0" y="65511"/>
                  </a:cubicBezTo>
                  <a:cubicBezTo>
                    <a:pt x="0" y="59212"/>
                    <a:pt x="1260" y="52913"/>
                    <a:pt x="1260" y="46613"/>
                  </a:cubicBezTo>
                  <a:cubicBezTo>
                    <a:pt x="2519" y="32755"/>
                    <a:pt x="2519" y="18897"/>
                    <a:pt x="3779" y="5039"/>
                  </a:cubicBezTo>
                  <a:cubicBezTo>
                    <a:pt x="3779" y="2520"/>
                    <a:pt x="7559" y="0"/>
                    <a:pt x="12598" y="0"/>
                  </a:cubicBezTo>
                  <a:cubicBezTo>
                    <a:pt x="11338" y="0"/>
                    <a:pt x="11338" y="0"/>
                    <a:pt x="12598" y="0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/>
            <p:cNvSpPr/>
            <p:nvPr/>
          </p:nvSpPr>
          <p:spPr>
            <a:xfrm>
              <a:off x="9613421" y="3736246"/>
              <a:ext cx="111545" cy="25741"/>
            </a:xfrm>
            <a:custGeom>
              <a:avLst/>
              <a:gdLst>
                <a:gd name="connsiteX0" fmla="*/ 163777 w 163777"/>
                <a:gd name="connsiteY0" fmla="*/ 3563 h 37794"/>
                <a:gd name="connsiteX1" fmla="*/ 163777 w 163777"/>
                <a:gd name="connsiteY1" fmla="*/ 7343 h 37794"/>
                <a:gd name="connsiteX2" fmla="*/ 159998 w 163777"/>
                <a:gd name="connsiteY2" fmla="*/ 9862 h 37794"/>
                <a:gd name="connsiteX3" fmla="*/ 149919 w 163777"/>
                <a:gd name="connsiteY3" fmla="*/ 13642 h 37794"/>
                <a:gd name="connsiteX4" fmla="*/ 139840 w 163777"/>
                <a:gd name="connsiteY4" fmla="*/ 16161 h 37794"/>
                <a:gd name="connsiteX5" fmla="*/ 129762 w 163777"/>
                <a:gd name="connsiteY5" fmla="*/ 18681 h 37794"/>
                <a:gd name="connsiteX6" fmla="*/ 119683 w 163777"/>
                <a:gd name="connsiteY6" fmla="*/ 21201 h 37794"/>
                <a:gd name="connsiteX7" fmla="*/ 109605 w 163777"/>
                <a:gd name="connsiteY7" fmla="*/ 23721 h 37794"/>
                <a:gd name="connsiteX8" fmla="*/ 99526 w 163777"/>
                <a:gd name="connsiteY8" fmla="*/ 26240 h 37794"/>
                <a:gd name="connsiteX9" fmla="*/ 89448 w 163777"/>
                <a:gd name="connsiteY9" fmla="*/ 28760 h 37794"/>
                <a:gd name="connsiteX10" fmla="*/ 79369 w 163777"/>
                <a:gd name="connsiteY10" fmla="*/ 31279 h 37794"/>
                <a:gd name="connsiteX11" fmla="*/ 68031 w 163777"/>
                <a:gd name="connsiteY11" fmla="*/ 33799 h 37794"/>
                <a:gd name="connsiteX12" fmla="*/ 57952 w 163777"/>
                <a:gd name="connsiteY12" fmla="*/ 35059 h 37794"/>
                <a:gd name="connsiteX13" fmla="*/ 41574 w 163777"/>
                <a:gd name="connsiteY13" fmla="*/ 37578 h 37794"/>
                <a:gd name="connsiteX14" fmla="*/ 35275 w 163777"/>
                <a:gd name="connsiteY14" fmla="*/ 38838 h 37794"/>
                <a:gd name="connsiteX15" fmla="*/ 31496 w 163777"/>
                <a:gd name="connsiteY15" fmla="*/ 40098 h 37794"/>
                <a:gd name="connsiteX16" fmla="*/ 25196 w 163777"/>
                <a:gd name="connsiteY16" fmla="*/ 36319 h 37794"/>
                <a:gd name="connsiteX17" fmla="*/ 16378 w 163777"/>
                <a:gd name="connsiteY17" fmla="*/ 31279 h 37794"/>
                <a:gd name="connsiteX18" fmla="*/ 7559 w 163777"/>
                <a:gd name="connsiteY18" fmla="*/ 27500 h 37794"/>
                <a:gd name="connsiteX19" fmla="*/ 1260 w 163777"/>
                <a:gd name="connsiteY19" fmla="*/ 24980 h 37794"/>
                <a:gd name="connsiteX20" fmla="*/ 0 w 163777"/>
                <a:gd name="connsiteY20" fmla="*/ 23721 h 37794"/>
                <a:gd name="connsiteX21" fmla="*/ 1260 w 163777"/>
                <a:gd name="connsiteY21" fmla="*/ 23721 h 37794"/>
                <a:gd name="connsiteX22" fmla="*/ 6299 w 163777"/>
                <a:gd name="connsiteY22" fmla="*/ 23721 h 37794"/>
                <a:gd name="connsiteX23" fmla="*/ 26456 w 163777"/>
                <a:gd name="connsiteY23" fmla="*/ 22461 h 37794"/>
                <a:gd name="connsiteX24" fmla="*/ 30236 w 163777"/>
                <a:gd name="connsiteY24" fmla="*/ 22461 h 37794"/>
                <a:gd name="connsiteX25" fmla="*/ 39055 w 163777"/>
                <a:gd name="connsiteY25" fmla="*/ 21201 h 37794"/>
                <a:gd name="connsiteX26" fmla="*/ 51653 w 163777"/>
                <a:gd name="connsiteY26" fmla="*/ 19941 h 37794"/>
                <a:gd name="connsiteX27" fmla="*/ 64251 w 163777"/>
                <a:gd name="connsiteY27" fmla="*/ 18681 h 37794"/>
                <a:gd name="connsiteX28" fmla="*/ 75589 w 163777"/>
                <a:gd name="connsiteY28" fmla="*/ 17421 h 37794"/>
                <a:gd name="connsiteX29" fmla="*/ 89448 w 163777"/>
                <a:gd name="connsiteY29" fmla="*/ 14902 h 37794"/>
                <a:gd name="connsiteX30" fmla="*/ 102046 w 163777"/>
                <a:gd name="connsiteY30" fmla="*/ 13642 h 37794"/>
                <a:gd name="connsiteX31" fmla="*/ 115904 w 163777"/>
                <a:gd name="connsiteY31" fmla="*/ 11122 h 37794"/>
                <a:gd name="connsiteX32" fmla="*/ 129762 w 163777"/>
                <a:gd name="connsiteY32" fmla="*/ 8603 h 37794"/>
                <a:gd name="connsiteX33" fmla="*/ 143620 w 163777"/>
                <a:gd name="connsiteY33" fmla="*/ 4823 h 37794"/>
                <a:gd name="connsiteX34" fmla="*/ 151179 w 163777"/>
                <a:gd name="connsiteY34" fmla="*/ 3563 h 37794"/>
                <a:gd name="connsiteX35" fmla="*/ 154958 w 163777"/>
                <a:gd name="connsiteY35" fmla="*/ 2304 h 37794"/>
                <a:gd name="connsiteX36" fmla="*/ 158738 w 163777"/>
                <a:gd name="connsiteY36" fmla="*/ 1044 h 37794"/>
                <a:gd name="connsiteX37" fmla="*/ 161258 w 163777"/>
                <a:gd name="connsiteY37" fmla="*/ 1044 h 37794"/>
                <a:gd name="connsiteX38" fmla="*/ 163777 w 163777"/>
                <a:gd name="connsiteY38" fmla="*/ 35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3777" h="37794">
                  <a:moveTo>
                    <a:pt x="163777" y="3563"/>
                  </a:moveTo>
                  <a:cubicBezTo>
                    <a:pt x="163777" y="4823"/>
                    <a:pt x="163777" y="6083"/>
                    <a:pt x="163777" y="7343"/>
                  </a:cubicBezTo>
                  <a:cubicBezTo>
                    <a:pt x="162518" y="8603"/>
                    <a:pt x="161258" y="9862"/>
                    <a:pt x="159998" y="9862"/>
                  </a:cubicBezTo>
                  <a:cubicBezTo>
                    <a:pt x="156218" y="11122"/>
                    <a:pt x="153699" y="12382"/>
                    <a:pt x="149919" y="13642"/>
                  </a:cubicBezTo>
                  <a:cubicBezTo>
                    <a:pt x="146140" y="14902"/>
                    <a:pt x="143620" y="16161"/>
                    <a:pt x="139840" y="16161"/>
                  </a:cubicBezTo>
                  <a:cubicBezTo>
                    <a:pt x="136061" y="17421"/>
                    <a:pt x="133541" y="18681"/>
                    <a:pt x="129762" y="18681"/>
                  </a:cubicBezTo>
                  <a:cubicBezTo>
                    <a:pt x="125982" y="19941"/>
                    <a:pt x="122203" y="19941"/>
                    <a:pt x="119683" y="21201"/>
                  </a:cubicBezTo>
                  <a:cubicBezTo>
                    <a:pt x="115904" y="22461"/>
                    <a:pt x="113384" y="23721"/>
                    <a:pt x="109605" y="23721"/>
                  </a:cubicBezTo>
                  <a:cubicBezTo>
                    <a:pt x="105825" y="24980"/>
                    <a:pt x="103306" y="24980"/>
                    <a:pt x="99526" y="26240"/>
                  </a:cubicBezTo>
                  <a:cubicBezTo>
                    <a:pt x="95747" y="27500"/>
                    <a:pt x="93227" y="27500"/>
                    <a:pt x="89448" y="28760"/>
                  </a:cubicBezTo>
                  <a:cubicBezTo>
                    <a:pt x="85668" y="30020"/>
                    <a:pt x="83148" y="30020"/>
                    <a:pt x="79369" y="31279"/>
                  </a:cubicBezTo>
                  <a:cubicBezTo>
                    <a:pt x="75589" y="32539"/>
                    <a:pt x="71810" y="32539"/>
                    <a:pt x="68031" y="33799"/>
                  </a:cubicBezTo>
                  <a:cubicBezTo>
                    <a:pt x="64251" y="33799"/>
                    <a:pt x="61732" y="35059"/>
                    <a:pt x="57952" y="35059"/>
                  </a:cubicBezTo>
                  <a:cubicBezTo>
                    <a:pt x="52913" y="36319"/>
                    <a:pt x="46614" y="36319"/>
                    <a:pt x="41574" y="37578"/>
                  </a:cubicBezTo>
                  <a:cubicBezTo>
                    <a:pt x="39055" y="37578"/>
                    <a:pt x="37795" y="38838"/>
                    <a:pt x="35275" y="38838"/>
                  </a:cubicBezTo>
                  <a:cubicBezTo>
                    <a:pt x="34015" y="38838"/>
                    <a:pt x="32755" y="38838"/>
                    <a:pt x="31496" y="40098"/>
                  </a:cubicBezTo>
                  <a:cubicBezTo>
                    <a:pt x="28976" y="38838"/>
                    <a:pt x="26456" y="37578"/>
                    <a:pt x="25196" y="36319"/>
                  </a:cubicBezTo>
                  <a:cubicBezTo>
                    <a:pt x="22677" y="35059"/>
                    <a:pt x="18897" y="32539"/>
                    <a:pt x="16378" y="31279"/>
                  </a:cubicBezTo>
                  <a:cubicBezTo>
                    <a:pt x="13858" y="30020"/>
                    <a:pt x="10079" y="28760"/>
                    <a:pt x="7559" y="27500"/>
                  </a:cubicBezTo>
                  <a:cubicBezTo>
                    <a:pt x="5040" y="26240"/>
                    <a:pt x="3780" y="26240"/>
                    <a:pt x="1260" y="24980"/>
                  </a:cubicBezTo>
                  <a:cubicBezTo>
                    <a:pt x="1260" y="24980"/>
                    <a:pt x="0" y="24980"/>
                    <a:pt x="0" y="23721"/>
                  </a:cubicBezTo>
                  <a:cubicBezTo>
                    <a:pt x="0" y="23721"/>
                    <a:pt x="1260" y="23721"/>
                    <a:pt x="1260" y="23721"/>
                  </a:cubicBezTo>
                  <a:cubicBezTo>
                    <a:pt x="2520" y="23721"/>
                    <a:pt x="5040" y="23721"/>
                    <a:pt x="6299" y="23721"/>
                  </a:cubicBezTo>
                  <a:cubicBezTo>
                    <a:pt x="12598" y="23721"/>
                    <a:pt x="20157" y="23721"/>
                    <a:pt x="26456" y="22461"/>
                  </a:cubicBezTo>
                  <a:lnTo>
                    <a:pt x="30236" y="22461"/>
                  </a:lnTo>
                  <a:cubicBezTo>
                    <a:pt x="32755" y="22461"/>
                    <a:pt x="35275" y="21201"/>
                    <a:pt x="39055" y="21201"/>
                  </a:cubicBezTo>
                  <a:cubicBezTo>
                    <a:pt x="42834" y="21201"/>
                    <a:pt x="46614" y="21201"/>
                    <a:pt x="51653" y="19941"/>
                  </a:cubicBezTo>
                  <a:cubicBezTo>
                    <a:pt x="55433" y="19941"/>
                    <a:pt x="60472" y="19941"/>
                    <a:pt x="64251" y="18681"/>
                  </a:cubicBezTo>
                  <a:cubicBezTo>
                    <a:pt x="68031" y="18681"/>
                    <a:pt x="71810" y="17421"/>
                    <a:pt x="75589" y="17421"/>
                  </a:cubicBezTo>
                  <a:cubicBezTo>
                    <a:pt x="80629" y="16161"/>
                    <a:pt x="85668" y="16161"/>
                    <a:pt x="89448" y="14902"/>
                  </a:cubicBezTo>
                  <a:cubicBezTo>
                    <a:pt x="93227" y="14902"/>
                    <a:pt x="98266" y="13642"/>
                    <a:pt x="102046" y="13642"/>
                  </a:cubicBezTo>
                  <a:cubicBezTo>
                    <a:pt x="107085" y="12382"/>
                    <a:pt x="110865" y="12382"/>
                    <a:pt x="115904" y="11122"/>
                  </a:cubicBezTo>
                  <a:cubicBezTo>
                    <a:pt x="120943" y="9862"/>
                    <a:pt x="124723" y="9862"/>
                    <a:pt x="129762" y="8603"/>
                  </a:cubicBezTo>
                  <a:cubicBezTo>
                    <a:pt x="134801" y="7343"/>
                    <a:pt x="138581" y="6083"/>
                    <a:pt x="143620" y="4823"/>
                  </a:cubicBezTo>
                  <a:cubicBezTo>
                    <a:pt x="146140" y="4823"/>
                    <a:pt x="148659" y="3563"/>
                    <a:pt x="151179" y="3563"/>
                  </a:cubicBezTo>
                  <a:cubicBezTo>
                    <a:pt x="152439" y="3563"/>
                    <a:pt x="153699" y="3563"/>
                    <a:pt x="154958" y="2304"/>
                  </a:cubicBezTo>
                  <a:cubicBezTo>
                    <a:pt x="156218" y="2304"/>
                    <a:pt x="157478" y="1044"/>
                    <a:pt x="158738" y="1044"/>
                  </a:cubicBezTo>
                  <a:cubicBezTo>
                    <a:pt x="159998" y="1044"/>
                    <a:pt x="159998" y="1044"/>
                    <a:pt x="161258" y="1044"/>
                  </a:cubicBezTo>
                  <a:cubicBezTo>
                    <a:pt x="159998" y="-1476"/>
                    <a:pt x="162518" y="1044"/>
                    <a:pt x="163777" y="356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/>
            <p:cNvSpPr/>
            <p:nvPr/>
          </p:nvSpPr>
          <p:spPr>
            <a:xfrm>
              <a:off x="9404919" y="3262464"/>
              <a:ext cx="180187" cy="403276"/>
            </a:xfrm>
            <a:custGeom>
              <a:avLst/>
              <a:gdLst>
                <a:gd name="connsiteX0" fmla="*/ 80629 w 264562"/>
                <a:gd name="connsiteY0" fmla="*/ 0 h 592116"/>
                <a:gd name="connsiteX1" fmla="*/ 80629 w 264562"/>
                <a:gd name="connsiteY1" fmla="*/ 0 h 592116"/>
                <a:gd name="connsiteX2" fmla="*/ 85668 w 264562"/>
                <a:gd name="connsiteY2" fmla="*/ 1260 h 592116"/>
                <a:gd name="connsiteX3" fmla="*/ 90707 w 264562"/>
                <a:gd name="connsiteY3" fmla="*/ 2520 h 592116"/>
                <a:gd name="connsiteX4" fmla="*/ 93227 w 264562"/>
                <a:gd name="connsiteY4" fmla="*/ 5039 h 592116"/>
                <a:gd name="connsiteX5" fmla="*/ 94487 w 264562"/>
                <a:gd name="connsiteY5" fmla="*/ 7559 h 592116"/>
                <a:gd name="connsiteX6" fmla="*/ 94487 w 264562"/>
                <a:gd name="connsiteY6" fmla="*/ 7559 h 592116"/>
                <a:gd name="connsiteX7" fmla="*/ 95747 w 264562"/>
                <a:gd name="connsiteY7" fmla="*/ 10079 h 592116"/>
                <a:gd name="connsiteX8" fmla="*/ 98266 w 264562"/>
                <a:gd name="connsiteY8" fmla="*/ 16378 h 592116"/>
                <a:gd name="connsiteX9" fmla="*/ 100786 w 264562"/>
                <a:gd name="connsiteY9" fmla="*/ 25196 h 592116"/>
                <a:gd name="connsiteX10" fmla="*/ 104565 w 264562"/>
                <a:gd name="connsiteY10" fmla="*/ 40314 h 592116"/>
                <a:gd name="connsiteX11" fmla="*/ 105825 w 264562"/>
                <a:gd name="connsiteY11" fmla="*/ 42834 h 592116"/>
                <a:gd name="connsiteX12" fmla="*/ 108345 w 264562"/>
                <a:gd name="connsiteY12" fmla="*/ 51653 h 592116"/>
                <a:gd name="connsiteX13" fmla="*/ 108345 w 264562"/>
                <a:gd name="connsiteY13" fmla="*/ 52913 h 592116"/>
                <a:gd name="connsiteX14" fmla="*/ 109605 w 264562"/>
                <a:gd name="connsiteY14" fmla="*/ 60472 h 592116"/>
                <a:gd name="connsiteX15" fmla="*/ 110864 w 264562"/>
                <a:gd name="connsiteY15" fmla="*/ 68030 h 592116"/>
                <a:gd name="connsiteX16" fmla="*/ 110864 w 264562"/>
                <a:gd name="connsiteY16" fmla="*/ 69290 h 592116"/>
                <a:gd name="connsiteX17" fmla="*/ 113384 w 264562"/>
                <a:gd name="connsiteY17" fmla="*/ 78109 h 592116"/>
                <a:gd name="connsiteX18" fmla="*/ 115904 w 264562"/>
                <a:gd name="connsiteY18" fmla="*/ 88188 h 592116"/>
                <a:gd name="connsiteX19" fmla="*/ 118423 w 264562"/>
                <a:gd name="connsiteY19" fmla="*/ 97006 h 592116"/>
                <a:gd name="connsiteX20" fmla="*/ 119683 w 264562"/>
                <a:gd name="connsiteY20" fmla="*/ 102046 h 592116"/>
                <a:gd name="connsiteX21" fmla="*/ 120943 w 264562"/>
                <a:gd name="connsiteY21" fmla="*/ 105825 h 592116"/>
                <a:gd name="connsiteX22" fmla="*/ 123463 w 264562"/>
                <a:gd name="connsiteY22" fmla="*/ 115904 h 592116"/>
                <a:gd name="connsiteX23" fmla="*/ 124722 w 264562"/>
                <a:gd name="connsiteY23" fmla="*/ 122203 h 592116"/>
                <a:gd name="connsiteX24" fmla="*/ 124722 w 264562"/>
                <a:gd name="connsiteY24" fmla="*/ 122203 h 592116"/>
                <a:gd name="connsiteX25" fmla="*/ 124722 w 264562"/>
                <a:gd name="connsiteY25" fmla="*/ 122203 h 592116"/>
                <a:gd name="connsiteX26" fmla="*/ 127242 w 264562"/>
                <a:gd name="connsiteY26" fmla="*/ 127242 h 592116"/>
                <a:gd name="connsiteX27" fmla="*/ 139840 w 264562"/>
                <a:gd name="connsiteY27" fmla="*/ 159998 h 592116"/>
                <a:gd name="connsiteX28" fmla="*/ 142360 w 264562"/>
                <a:gd name="connsiteY28" fmla="*/ 166297 h 592116"/>
                <a:gd name="connsiteX29" fmla="*/ 146140 w 264562"/>
                <a:gd name="connsiteY29" fmla="*/ 176375 h 592116"/>
                <a:gd name="connsiteX30" fmla="*/ 146140 w 264562"/>
                <a:gd name="connsiteY30" fmla="*/ 176375 h 592116"/>
                <a:gd name="connsiteX31" fmla="*/ 148659 w 264562"/>
                <a:gd name="connsiteY31" fmla="*/ 185194 h 592116"/>
                <a:gd name="connsiteX32" fmla="*/ 154958 w 264562"/>
                <a:gd name="connsiteY32" fmla="*/ 202832 h 592116"/>
                <a:gd name="connsiteX33" fmla="*/ 154958 w 264562"/>
                <a:gd name="connsiteY33" fmla="*/ 202832 h 592116"/>
                <a:gd name="connsiteX34" fmla="*/ 154958 w 264562"/>
                <a:gd name="connsiteY34" fmla="*/ 204091 h 592116"/>
                <a:gd name="connsiteX35" fmla="*/ 154958 w 264562"/>
                <a:gd name="connsiteY35" fmla="*/ 204091 h 592116"/>
                <a:gd name="connsiteX36" fmla="*/ 154958 w 264562"/>
                <a:gd name="connsiteY36" fmla="*/ 204091 h 592116"/>
                <a:gd name="connsiteX37" fmla="*/ 154958 w 264562"/>
                <a:gd name="connsiteY37" fmla="*/ 204091 h 592116"/>
                <a:gd name="connsiteX38" fmla="*/ 154958 w 264562"/>
                <a:gd name="connsiteY38" fmla="*/ 204091 h 592116"/>
                <a:gd name="connsiteX39" fmla="*/ 154958 w 264562"/>
                <a:gd name="connsiteY39" fmla="*/ 204091 h 592116"/>
                <a:gd name="connsiteX40" fmla="*/ 154958 w 264562"/>
                <a:gd name="connsiteY40" fmla="*/ 204091 h 592116"/>
                <a:gd name="connsiteX41" fmla="*/ 154958 w 264562"/>
                <a:gd name="connsiteY41" fmla="*/ 204091 h 592116"/>
                <a:gd name="connsiteX42" fmla="*/ 154958 w 264562"/>
                <a:gd name="connsiteY42" fmla="*/ 204091 h 592116"/>
                <a:gd name="connsiteX43" fmla="*/ 154958 w 264562"/>
                <a:gd name="connsiteY43" fmla="*/ 204091 h 592116"/>
                <a:gd name="connsiteX44" fmla="*/ 154958 w 264562"/>
                <a:gd name="connsiteY44" fmla="*/ 205351 h 592116"/>
                <a:gd name="connsiteX45" fmla="*/ 154958 w 264562"/>
                <a:gd name="connsiteY45" fmla="*/ 205351 h 592116"/>
                <a:gd name="connsiteX46" fmla="*/ 161257 w 264562"/>
                <a:gd name="connsiteY46" fmla="*/ 222989 h 592116"/>
                <a:gd name="connsiteX47" fmla="*/ 163777 w 264562"/>
                <a:gd name="connsiteY47" fmla="*/ 230548 h 592116"/>
                <a:gd name="connsiteX48" fmla="*/ 163777 w 264562"/>
                <a:gd name="connsiteY48" fmla="*/ 231808 h 592116"/>
                <a:gd name="connsiteX49" fmla="*/ 163777 w 264562"/>
                <a:gd name="connsiteY49" fmla="*/ 231808 h 592116"/>
                <a:gd name="connsiteX50" fmla="*/ 167556 w 264562"/>
                <a:gd name="connsiteY50" fmla="*/ 243146 h 592116"/>
                <a:gd name="connsiteX51" fmla="*/ 171336 w 264562"/>
                <a:gd name="connsiteY51" fmla="*/ 253225 h 592116"/>
                <a:gd name="connsiteX52" fmla="*/ 171336 w 264562"/>
                <a:gd name="connsiteY52" fmla="*/ 254484 h 592116"/>
                <a:gd name="connsiteX53" fmla="*/ 171336 w 264562"/>
                <a:gd name="connsiteY53" fmla="*/ 255744 h 592116"/>
                <a:gd name="connsiteX54" fmla="*/ 173855 w 264562"/>
                <a:gd name="connsiteY54" fmla="*/ 263303 h 592116"/>
                <a:gd name="connsiteX55" fmla="*/ 177635 w 264562"/>
                <a:gd name="connsiteY55" fmla="*/ 273382 h 592116"/>
                <a:gd name="connsiteX56" fmla="*/ 181414 w 264562"/>
                <a:gd name="connsiteY56" fmla="*/ 284720 h 592116"/>
                <a:gd name="connsiteX57" fmla="*/ 185194 w 264562"/>
                <a:gd name="connsiteY57" fmla="*/ 296058 h 592116"/>
                <a:gd name="connsiteX58" fmla="*/ 187714 w 264562"/>
                <a:gd name="connsiteY58" fmla="*/ 303618 h 592116"/>
                <a:gd name="connsiteX59" fmla="*/ 192753 w 264562"/>
                <a:gd name="connsiteY59" fmla="*/ 317475 h 592116"/>
                <a:gd name="connsiteX60" fmla="*/ 192753 w 264562"/>
                <a:gd name="connsiteY60" fmla="*/ 318735 h 592116"/>
                <a:gd name="connsiteX61" fmla="*/ 194013 w 264562"/>
                <a:gd name="connsiteY61" fmla="*/ 323775 h 592116"/>
                <a:gd name="connsiteX62" fmla="*/ 194013 w 264562"/>
                <a:gd name="connsiteY62" fmla="*/ 323775 h 592116"/>
                <a:gd name="connsiteX63" fmla="*/ 195273 w 264562"/>
                <a:gd name="connsiteY63" fmla="*/ 327554 h 592116"/>
                <a:gd name="connsiteX64" fmla="*/ 201572 w 264562"/>
                <a:gd name="connsiteY64" fmla="*/ 343932 h 592116"/>
                <a:gd name="connsiteX65" fmla="*/ 205351 w 264562"/>
                <a:gd name="connsiteY65" fmla="*/ 351491 h 592116"/>
                <a:gd name="connsiteX66" fmla="*/ 205351 w 264562"/>
                <a:gd name="connsiteY66" fmla="*/ 351491 h 592116"/>
                <a:gd name="connsiteX67" fmla="*/ 209131 w 264562"/>
                <a:gd name="connsiteY67" fmla="*/ 361569 h 592116"/>
                <a:gd name="connsiteX68" fmla="*/ 217949 w 264562"/>
                <a:gd name="connsiteY68" fmla="*/ 381727 h 592116"/>
                <a:gd name="connsiteX69" fmla="*/ 226768 w 264562"/>
                <a:gd name="connsiteY69" fmla="*/ 400624 h 592116"/>
                <a:gd name="connsiteX70" fmla="*/ 234327 w 264562"/>
                <a:gd name="connsiteY70" fmla="*/ 419521 h 592116"/>
                <a:gd name="connsiteX71" fmla="*/ 239366 w 264562"/>
                <a:gd name="connsiteY71" fmla="*/ 430860 h 592116"/>
                <a:gd name="connsiteX72" fmla="*/ 239366 w 264562"/>
                <a:gd name="connsiteY72" fmla="*/ 430860 h 592116"/>
                <a:gd name="connsiteX73" fmla="*/ 239366 w 264562"/>
                <a:gd name="connsiteY73" fmla="*/ 430860 h 592116"/>
                <a:gd name="connsiteX74" fmla="*/ 241886 w 264562"/>
                <a:gd name="connsiteY74" fmla="*/ 437159 h 592116"/>
                <a:gd name="connsiteX75" fmla="*/ 246925 w 264562"/>
                <a:gd name="connsiteY75" fmla="*/ 449757 h 592116"/>
                <a:gd name="connsiteX76" fmla="*/ 249445 w 264562"/>
                <a:gd name="connsiteY76" fmla="*/ 456056 h 592116"/>
                <a:gd name="connsiteX77" fmla="*/ 250705 w 264562"/>
                <a:gd name="connsiteY77" fmla="*/ 458576 h 592116"/>
                <a:gd name="connsiteX78" fmla="*/ 250705 w 264562"/>
                <a:gd name="connsiteY78" fmla="*/ 459836 h 592116"/>
                <a:gd name="connsiteX79" fmla="*/ 250705 w 264562"/>
                <a:gd name="connsiteY79" fmla="*/ 458576 h 592116"/>
                <a:gd name="connsiteX80" fmla="*/ 248185 w 264562"/>
                <a:gd name="connsiteY80" fmla="*/ 452277 h 592116"/>
                <a:gd name="connsiteX81" fmla="*/ 248185 w 264562"/>
                <a:gd name="connsiteY81" fmla="*/ 452277 h 592116"/>
                <a:gd name="connsiteX82" fmla="*/ 248185 w 264562"/>
                <a:gd name="connsiteY82" fmla="*/ 452277 h 592116"/>
                <a:gd name="connsiteX83" fmla="*/ 248185 w 264562"/>
                <a:gd name="connsiteY83" fmla="*/ 452277 h 592116"/>
                <a:gd name="connsiteX84" fmla="*/ 254484 w 264562"/>
                <a:gd name="connsiteY84" fmla="*/ 466135 h 592116"/>
                <a:gd name="connsiteX85" fmla="*/ 259524 w 264562"/>
                <a:gd name="connsiteY85" fmla="*/ 478733 h 592116"/>
                <a:gd name="connsiteX86" fmla="*/ 260784 w 264562"/>
                <a:gd name="connsiteY86" fmla="*/ 482512 h 592116"/>
                <a:gd name="connsiteX87" fmla="*/ 263303 w 264562"/>
                <a:gd name="connsiteY87" fmla="*/ 487552 h 592116"/>
                <a:gd name="connsiteX88" fmla="*/ 268342 w 264562"/>
                <a:gd name="connsiteY88" fmla="*/ 497630 h 592116"/>
                <a:gd name="connsiteX89" fmla="*/ 268342 w 264562"/>
                <a:gd name="connsiteY89" fmla="*/ 498890 h 592116"/>
                <a:gd name="connsiteX90" fmla="*/ 273382 w 264562"/>
                <a:gd name="connsiteY90" fmla="*/ 506449 h 592116"/>
                <a:gd name="connsiteX91" fmla="*/ 274641 w 264562"/>
                <a:gd name="connsiteY91" fmla="*/ 512748 h 592116"/>
                <a:gd name="connsiteX92" fmla="*/ 275901 w 264562"/>
                <a:gd name="connsiteY92" fmla="*/ 520307 h 592116"/>
                <a:gd name="connsiteX93" fmla="*/ 275901 w 264562"/>
                <a:gd name="connsiteY93" fmla="*/ 522827 h 592116"/>
                <a:gd name="connsiteX94" fmla="*/ 275901 w 264562"/>
                <a:gd name="connsiteY94" fmla="*/ 522827 h 592116"/>
                <a:gd name="connsiteX95" fmla="*/ 275901 w 264562"/>
                <a:gd name="connsiteY95" fmla="*/ 522827 h 592116"/>
                <a:gd name="connsiteX96" fmla="*/ 275901 w 264562"/>
                <a:gd name="connsiteY96" fmla="*/ 524087 h 592116"/>
                <a:gd name="connsiteX97" fmla="*/ 275901 w 264562"/>
                <a:gd name="connsiteY97" fmla="*/ 530386 h 592116"/>
                <a:gd name="connsiteX98" fmla="*/ 274641 w 264562"/>
                <a:gd name="connsiteY98" fmla="*/ 536685 h 592116"/>
                <a:gd name="connsiteX99" fmla="*/ 273382 w 264562"/>
                <a:gd name="connsiteY99" fmla="*/ 541724 h 592116"/>
                <a:gd name="connsiteX100" fmla="*/ 273382 w 264562"/>
                <a:gd name="connsiteY100" fmla="*/ 542984 h 592116"/>
                <a:gd name="connsiteX101" fmla="*/ 268342 w 264562"/>
                <a:gd name="connsiteY101" fmla="*/ 556842 h 592116"/>
                <a:gd name="connsiteX102" fmla="*/ 268342 w 264562"/>
                <a:gd name="connsiteY102" fmla="*/ 556842 h 592116"/>
                <a:gd name="connsiteX103" fmla="*/ 268342 w 264562"/>
                <a:gd name="connsiteY103" fmla="*/ 556842 h 592116"/>
                <a:gd name="connsiteX104" fmla="*/ 268342 w 264562"/>
                <a:gd name="connsiteY104" fmla="*/ 556842 h 592116"/>
                <a:gd name="connsiteX105" fmla="*/ 263303 w 264562"/>
                <a:gd name="connsiteY105" fmla="*/ 569440 h 592116"/>
                <a:gd name="connsiteX106" fmla="*/ 262043 w 264562"/>
                <a:gd name="connsiteY106" fmla="*/ 571960 h 592116"/>
                <a:gd name="connsiteX107" fmla="*/ 262043 w 264562"/>
                <a:gd name="connsiteY107" fmla="*/ 571960 h 592116"/>
                <a:gd name="connsiteX108" fmla="*/ 259524 w 264562"/>
                <a:gd name="connsiteY108" fmla="*/ 575739 h 592116"/>
                <a:gd name="connsiteX109" fmla="*/ 253225 w 264562"/>
                <a:gd name="connsiteY109" fmla="*/ 582038 h 592116"/>
                <a:gd name="connsiteX110" fmla="*/ 246925 w 264562"/>
                <a:gd name="connsiteY110" fmla="*/ 585818 h 592116"/>
                <a:gd name="connsiteX111" fmla="*/ 240626 w 264562"/>
                <a:gd name="connsiteY111" fmla="*/ 589597 h 592116"/>
                <a:gd name="connsiteX112" fmla="*/ 239366 w 264562"/>
                <a:gd name="connsiteY112" fmla="*/ 589597 h 592116"/>
                <a:gd name="connsiteX113" fmla="*/ 234327 w 264562"/>
                <a:gd name="connsiteY113" fmla="*/ 592117 h 592116"/>
                <a:gd name="connsiteX114" fmla="*/ 234327 w 264562"/>
                <a:gd name="connsiteY114" fmla="*/ 592117 h 592116"/>
                <a:gd name="connsiteX115" fmla="*/ 233067 w 264562"/>
                <a:gd name="connsiteY115" fmla="*/ 593377 h 592116"/>
                <a:gd name="connsiteX116" fmla="*/ 231807 w 264562"/>
                <a:gd name="connsiteY116" fmla="*/ 594637 h 592116"/>
                <a:gd name="connsiteX117" fmla="*/ 231807 w 264562"/>
                <a:gd name="connsiteY117" fmla="*/ 594637 h 592116"/>
                <a:gd name="connsiteX118" fmla="*/ 228028 w 264562"/>
                <a:gd name="connsiteY118" fmla="*/ 595896 h 592116"/>
                <a:gd name="connsiteX119" fmla="*/ 221729 w 264562"/>
                <a:gd name="connsiteY119" fmla="*/ 598416 h 592116"/>
                <a:gd name="connsiteX120" fmla="*/ 214170 w 264562"/>
                <a:gd name="connsiteY120" fmla="*/ 599676 h 592116"/>
                <a:gd name="connsiteX121" fmla="*/ 205351 w 264562"/>
                <a:gd name="connsiteY121" fmla="*/ 600936 h 592116"/>
                <a:gd name="connsiteX122" fmla="*/ 201572 w 264562"/>
                <a:gd name="connsiteY122" fmla="*/ 600936 h 592116"/>
                <a:gd name="connsiteX123" fmla="*/ 201572 w 264562"/>
                <a:gd name="connsiteY123" fmla="*/ 600936 h 592116"/>
                <a:gd name="connsiteX124" fmla="*/ 197792 w 264562"/>
                <a:gd name="connsiteY124" fmla="*/ 600936 h 592116"/>
                <a:gd name="connsiteX125" fmla="*/ 191493 w 264562"/>
                <a:gd name="connsiteY125" fmla="*/ 600936 h 592116"/>
                <a:gd name="connsiteX126" fmla="*/ 187714 w 264562"/>
                <a:gd name="connsiteY126" fmla="*/ 600936 h 592116"/>
                <a:gd name="connsiteX127" fmla="*/ 182674 w 264562"/>
                <a:gd name="connsiteY127" fmla="*/ 599676 h 592116"/>
                <a:gd name="connsiteX128" fmla="*/ 178895 w 264562"/>
                <a:gd name="connsiteY128" fmla="*/ 598416 h 592116"/>
                <a:gd name="connsiteX129" fmla="*/ 176375 w 264562"/>
                <a:gd name="connsiteY129" fmla="*/ 598416 h 592116"/>
                <a:gd name="connsiteX130" fmla="*/ 170076 w 264562"/>
                <a:gd name="connsiteY130" fmla="*/ 597156 h 592116"/>
                <a:gd name="connsiteX131" fmla="*/ 156218 w 264562"/>
                <a:gd name="connsiteY131" fmla="*/ 590857 h 592116"/>
                <a:gd name="connsiteX132" fmla="*/ 151179 w 264562"/>
                <a:gd name="connsiteY132" fmla="*/ 588337 h 592116"/>
                <a:gd name="connsiteX133" fmla="*/ 149919 w 264562"/>
                <a:gd name="connsiteY133" fmla="*/ 587078 h 592116"/>
                <a:gd name="connsiteX134" fmla="*/ 142360 w 264562"/>
                <a:gd name="connsiteY134" fmla="*/ 582038 h 592116"/>
                <a:gd name="connsiteX135" fmla="*/ 131022 w 264562"/>
                <a:gd name="connsiteY135" fmla="*/ 573220 h 592116"/>
                <a:gd name="connsiteX136" fmla="*/ 131022 w 264562"/>
                <a:gd name="connsiteY136" fmla="*/ 573220 h 592116"/>
                <a:gd name="connsiteX137" fmla="*/ 131022 w 264562"/>
                <a:gd name="connsiteY137" fmla="*/ 573220 h 592116"/>
                <a:gd name="connsiteX138" fmla="*/ 129762 w 264562"/>
                <a:gd name="connsiteY138" fmla="*/ 571960 h 592116"/>
                <a:gd name="connsiteX139" fmla="*/ 129762 w 264562"/>
                <a:gd name="connsiteY139" fmla="*/ 570700 h 592116"/>
                <a:gd name="connsiteX140" fmla="*/ 123463 w 264562"/>
                <a:gd name="connsiteY140" fmla="*/ 558102 h 592116"/>
                <a:gd name="connsiteX141" fmla="*/ 118423 w 264562"/>
                <a:gd name="connsiteY141" fmla="*/ 549283 h 592116"/>
                <a:gd name="connsiteX142" fmla="*/ 115904 w 264562"/>
                <a:gd name="connsiteY142" fmla="*/ 544244 h 592116"/>
                <a:gd name="connsiteX143" fmla="*/ 110864 w 264562"/>
                <a:gd name="connsiteY143" fmla="*/ 534165 h 592116"/>
                <a:gd name="connsiteX144" fmla="*/ 110864 w 264562"/>
                <a:gd name="connsiteY144" fmla="*/ 534165 h 592116"/>
                <a:gd name="connsiteX145" fmla="*/ 108345 w 264562"/>
                <a:gd name="connsiteY145" fmla="*/ 530386 h 592116"/>
                <a:gd name="connsiteX146" fmla="*/ 103306 w 264562"/>
                <a:gd name="connsiteY146" fmla="*/ 521567 h 592116"/>
                <a:gd name="connsiteX147" fmla="*/ 91967 w 264562"/>
                <a:gd name="connsiteY147" fmla="*/ 498890 h 592116"/>
                <a:gd name="connsiteX148" fmla="*/ 89448 w 264562"/>
                <a:gd name="connsiteY148" fmla="*/ 495111 h 592116"/>
                <a:gd name="connsiteX149" fmla="*/ 85668 w 264562"/>
                <a:gd name="connsiteY149" fmla="*/ 487552 h 592116"/>
                <a:gd name="connsiteX150" fmla="*/ 83148 w 264562"/>
                <a:gd name="connsiteY150" fmla="*/ 481252 h 592116"/>
                <a:gd name="connsiteX151" fmla="*/ 83148 w 264562"/>
                <a:gd name="connsiteY151" fmla="*/ 479993 h 592116"/>
                <a:gd name="connsiteX152" fmla="*/ 76849 w 264562"/>
                <a:gd name="connsiteY152" fmla="*/ 464875 h 592116"/>
                <a:gd name="connsiteX153" fmla="*/ 70550 w 264562"/>
                <a:gd name="connsiteY153" fmla="*/ 448497 h 592116"/>
                <a:gd name="connsiteX154" fmla="*/ 70550 w 264562"/>
                <a:gd name="connsiteY154" fmla="*/ 448497 h 592116"/>
                <a:gd name="connsiteX155" fmla="*/ 70550 w 264562"/>
                <a:gd name="connsiteY155" fmla="*/ 448497 h 592116"/>
                <a:gd name="connsiteX156" fmla="*/ 70550 w 264562"/>
                <a:gd name="connsiteY156" fmla="*/ 448497 h 592116"/>
                <a:gd name="connsiteX157" fmla="*/ 69290 w 264562"/>
                <a:gd name="connsiteY157" fmla="*/ 443458 h 592116"/>
                <a:gd name="connsiteX158" fmla="*/ 60471 w 264562"/>
                <a:gd name="connsiteY158" fmla="*/ 420781 h 592116"/>
                <a:gd name="connsiteX159" fmla="*/ 59212 w 264562"/>
                <a:gd name="connsiteY159" fmla="*/ 418261 h 592116"/>
                <a:gd name="connsiteX160" fmla="*/ 59212 w 264562"/>
                <a:gd name="connsiteY160" fmla="*/ 418261 h 592116"/>
                <a:gd name="connsiteX161" fmla="*/ 51653 w 264562"/>
                <a:gd name="connsiteY161" fmla="*/ 398104 h 592116"/>
                <a:gd name="connsiteX162" fmla="*/ 44094 w 264562"/>
                <a:gd name="connsiteY162" fmla="*/ 375427 h 592116"/>
                <a:gd name="connsiteX163" fmla="*/ 36535 w 264562"/>
                <a:gd name="connsiteY163" fmla="*/ 352751 h 592116"/>
                <a:gd name="connsiteX164" fmla="*/ 31496 w 264562"/>
                <a:gd name="connsiteY164" fmla="*/ 337633 h 592116"/>
                <a:gd name="connsiteX165" fmla="*/ 31496 w 264562"/>
                <a:gd name="connsiteY165" fmla="*/ 337633 h 592116"/>
                <a:gd name="connsiteX166" fmla="*/ 31496 w 264562"/>
                <a:gd name="connsiteY166" fmla="*/ 337633 h 592116"/>
                <a:gd name="connsiteX167" fmla="*/ 31496 w 264562"/>
                <a:gd name="connsiteY167" fmla="*/ 335113 h 592116"/>
                <a:gd name="connsiteX168" fmla="*/ 30236 w 264562"/>
                <a:gd name="connsiteY168" fmla="*/ 331334 h 592116"/>
                <a:gd name="connsiteX169" fmla="*/ 20157 w 264562"/>
                <a:gd name="connsiteY169" fmla="*/ 291019 h 592116"/>
                <a:gd name="connsiteX170" fmla="*/ 18897 w 264562"/>
                <a:gd name="connsiteY170" fmla="*/ 285980 h 592116"/>
                <a:gd name="connsiteX171" fmla="*/ 12598 w 264562"/>
                <a:gd name="connsiteY171" fmla="*/ 260783 h 592116"/>
                <a:gd name="connsiteX172" fmla="*/ 10078 w 264562"/>
                <a:gd name="connsiteY172" fmla="*/ 246925 h 592116"/>
                <a:gd name="connsiteX173" fmla="*/ 10078 w 264562"/>
                <a:gd name="connsiteY173" fmla="*/ 245666 h 592116"/>
                <a:gd name="connsiteX174" fmla="*/ 5039 w 264562"/>
                <a:gd name="connsiteY174" fmla="*/ 229288 h 592116"/>
                <a:gd name="connsiteX175" fmla="*/ 5039 w 264562"/>
                <a:gd name="connsiteY175" fmla="*/ 229288 h 592116"/>
                <a:gd name="connsiteX176" fmla="*/ 2520 w 264562"/>
                <a:gd name="connsiteY176" fmla="*/ 221729 h 592116"/>
                <a:gd name="connsiteX177" fmla="*/ 1260 w 264562"/>
                <a:gd name="connsiteY177" fmla="*/ 211650 h 592116"/>
                <a:gd name="connsiteX178" fmla="*/ 0 w 264562"/>
                <a:gd name="connsiteY178" fmla="*/ 194013 h 592116"/>
                <a:gd name="connsiteX179" fmla="*/ 1260 w 264562"/>
                <a:gd name="connsiteY179" fmla="*/ 176375 h 592116"/>
                <a:gd name="connsiteX180" fmla="*/ 2520 w 264562"/>
                <a:gd name="connsiteY180" fmla="*/ 167557 h 592116"/>
                <a:gd name="connsiteX181" fmla="*/ 3779 w 264562"/>
                <a:gd name="connsiteY181" fmla="*/ 161257 h 592116"/>
                <a:gd name="connsiteX182" fmla="*/ 5039 w 264562"/>
                <a:gd name="connsiteY182" fmla="*/ 158738 h 592116"/>
                <a:gd name="connsiteX183" fmla="*/ 7559 w 264562"/>
                <a:gd name="connsiteY183" fmla="*/ 151179 h 592116"/>
                <a:gd name="connsiteX184" fmla="*/ 10078 w 264562"/>
                <a:gd name="connsiteY184" fmla="*/ 146140 h 592116"/>
                <a:gd name="connsiteX185" fmla="*/ 12598 w 264562"/>
                <a:gd name="connsiteY185" fmla="*/ 142360 h 592116"/>
                <a:gd name="connsiteX186" fmla="*/ 16378 w 264562"/>
                <a:gd name="connsiteY186" fmla="*/ 134801 h 592116"/>
                <a:gd name="connsiteX187" fmla="*/ 16378 w 264562"/>
                <a:gd name="connsiteY187" fmla="*/ 134801 h 592116"/>
                <a:gd name="connsiteX188" fmla="*/ 21417 w 264562"/>
                <a:gd name="connsiteY188" fmla="*/ 127242 h 592116"/>
                <a:gd name="connsiteX189" fmla="*/ 21417 w 264562"/>
                <a:gd name="connsiteY189" fmla="*/ 125982 h 592116"/>
                <a:gd name="connsiteX190" fmla="*/ 23937 w 264562"/>
                <a:gd name="connsiteY190" fmla="*/ 123463 h 592116"/>
                <a:gd name="connsiteX191" fmla="*/ 26456 w 264562"/>
                <a:gd name="connsiteY191" fmla="*/ 119683 h 592116"/>
                <a:gd name="connsiteX192" fmla="*/ 27716 w 264562"/>
                <a:gd name="connsiteY192" fmla="*/ 118424 h 592116"/>
                <a:gd name="connsiteX193" fmla="*/ 28976 w 264562"/>
                <a:gd name="connsiteY193" fmla="*/ 115904 h 592116"/>
                <a:gd name="connsiteX194" fmla="*/ 32755 w 264562"/>
                <a:gd name="connsiteY194" fmla="*/ 113384 h 592116"/>
                <a:gd name="connsiteX195" fmla="*/ 35275 w 264562"/>
                <a:gd name="connsiteY195" fmla="*/ 110864 h 592116"/>
                <a:gd name="connsiteX196" fmla="*/ 37795 w 264562"/>
                <a:gd name="connsiteY196" fmla="*/ 108345 h 592116"/>
                <a:gd name="connsiteX197" fmla="*/ 40314 w 264562"/>
                <a:gd name="connsiteY197" fmla="*/ 105825 h 592116"/>
                <a:gd name="connsiteX198" fmla="*/ 44094 w 264562"/>
                <a:gd name="connsiteY198" fmla="*/ 103305 h 592116"/>
                <a:gd name="connsiteX199" fmla="*/ 47873 w 264562"/>
                <a:gd name="connsiteY199" fmla="*/ 100786 h 592116"/>
                <a:gd name="connsiteX200" fmla="*/ 50393 w 264562"/>
                <a:gd name="connsiteY200" fmla="*/ 99526 h 592116"/>
                <a:gd name="connsiteX201" fmla="*/ 55432 w 264562"/>
                <a:gd name="connsiteY201" fmla="*/ 95747 h 592116"/>
                <a:gd name="connsiteX202" fmla="*/ 57952 w 264562"/>
                <a:gd name="connsiteY202" fmla="*/ 94487 h 592116"/>
                <a:gd name="connsiteX203" fmla="*/ 57952 w 264562"/>
                <a:gd name="connsiteY203" fmla="*/ 93227 h 592116"/>
                <a:gd name="connsiteX204" fmla="*/ 59212 w 264562"/>
                <a:gd name="connsiteY204" fmla="*/ 90707 h 592116"/>
                <a:gd name="connsiteX205" fmla="*/ 59212 w 264562"/>
                <a:gd name="connsiteY205" fmla="*/ 86928 h 592116"/>
                <a:gd name="connsiteX206" fmla="*/ 59212 w 264562"/>
                <a:gd name="connsiteY206" fmla="*/ 83148 h 592116"/>
                <a:gd name="connsiteX207" fmla="*/ 59212 w 264562"/>
                <a:gd name="connsiteY207" fmla="*/ 75589 h 592116"/>
                <a:gd name="connsiteX208" fmla="*/ 59212 w 264562"/>
                <a:gd name="connsiteY208" fmla="*/ 74330 h 592116"/>
                <a:gd name="connsiteX209" fmla="*/ 59212 w 264562"/>
                <a:gd name="connsiteY209" fmla="*/ 66771 h 592116"/>
                <a:gd name="connsiteX210" fmla="*/ 59212 w 264562"/>
                <a:gd name="connsiteY210" fmla="*/ 56692 h 592116"/>
                <a:gd name="connsiteX211" fmla="*/ 59212 w 264562"/>
                <a:gd name="connsiteY211" fmla="*/ 55432 h 592116"/>
                <a:gd name="connsiteX212" fmla="*/ 59212 w 264562"/>
                <a:gd name="connsiteY212" fmla="*/ 46614 h 592116"/>
                <a:gd name="connsiteX213" fmla="*/ 59212 w 264562"/>
                <a:gd name="connsiteY213" fmla="*/ 36535 h 592116"/>
                <a:gd name="connsiteX214" fmla="*/ 60471 w 264562"/>
                <a:gd name="connsiteY214" fmla="*/ 27716 h 592116"/>
                <a:gd name="connsiteX215" fmla="*/ 61731 w 264562"/>
                <a:gd name="connsiteY215" fmla="*/ 18897 h 592116"/>
                <a:gd name="connsiteX216" fmla="*/ 61731 w 264562"/>
                <a:gd name="connsiteY216" fmla="*/ 18897 h 592116"/>
                <a:gd name="connsiteX217" fmla="*/ 62991 w 264562"/>
                <a:gd name="connsiteY217" fmla="*/ 15118 h 592116"/>
                <a:gd name="connsiteX218" fmla="*/ 64251 w 264562"/>
                <a:gd name="connsiteY218" fmla="*/ 11338 h 592116"/>
                <a:gd name="connsiteX219" fmla="*/ 69290 w 264562"/>
                <a:gd name="connsiteY219" fmla="*/ 5039 h 592116"/>
                <a:gd name="connsiteX220" fmla="*/ 74329 w 264562"/>
                <a:gd name="connsiteY220" fmla="*/ 2520 h 592116"/>
                <a:gd name="connsiteX221" fmla="*/ 76849 w 264562"/>
                <a:gd name="connsiteY221" fmla="*/ 2520 h 592116"/>
                <a:gd name="connsiteX222" fmla="*/ 76849 w 264562"/>
                <a:gd name="connsiteY222" fmla="*/ 2520 h 592116"/>
                <a:gd name="connsiteX223" fmla="*/ 78109 w 264562"/>
                <a:gd name="connsiteY223" fmla="*/ 2520 h 592116"/>
                <a:gd name="connsiteX224" fmla="*/ 78109 w 264562"/>
                <a:gd name="connsiteY224" fmla="*/ 2520 h 592116"/>
                <a:gd name="connsiteX225" fmla="*/ 80629 w 264562"/>
                <a:gd name="connsiteY225" fmla="*/ 0 h 59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264562" h="592116">
                  <a:moveTo>
                    <a:pt x="80629" y="0"/>
                  </a:moveTo>
                  <a:lnTo>
                    <a:pt x="80629" y="0"/>
                  </a:lnTo>
                  <a:cubicBezTo>
                    <a:pt x="81889" y="0"/>
                    <a:pt x="84408" y="0"/>
                    <a:pt x="85668" y="1260"/>
                  </a:cubicBezTo>
                  <a:cubicBezTo>
                    <a:pt x="86928" y="1260"/>
                    <a:pt x="88188" y="2520"/>
                    <a:pt x="90707" y="2520"/>
                  </a:cubicBezTo>
                  <a:cubicBezTo>
                    <a:pt x="91967" y="2520"/>
                    <a:pt x="91967" y="3780"/>
                    <a:pt x="93227" y="5039"/>
                  </a:cubicBezTo>
                  <a:cubicBezTo>
                    <a:pt x="93227" y="5039"/>
                    <a:pt x="94487" y="6299"/>
                    <a:pt x="94487" y="7559"/>
                  </a:cubicBezTo>
                  <a:lnTo>
                    <a:pt x="94487" y="7559"/>
                  </a:lnTo>
                  <a:cubicBezTo>
                    <a:pt x="95747" y="8819"/>
                    <a:pt x="95747" y="10079"/>
                    <a:pt x="95747" y="10079"/>
                  </a:cubicBezTo>
                  <a:cubicBezTo>
                    <a:pt x="97007" y="11338"/>
                    <a:pt x="97007" y="13858"/>
                    <a:pt x="98266" y="16378"/>
                  </a:cubicBezTo>
                  <a:cubicBezTo>
                    <a:pt x="99526" y="18897"/>
                    <a:pt x="99526" y="22677"/>
                    <a:pt x="100786" y="25196"/>
                  </a:cubicBezTo>
                  <a:cubicBezTo>
                    <a:pt x="102046" y="30236"/>
                    <a:pt x="103306" y="35275"/>
                    <a:pt x="104565" y="40314"/>
                  </a:cubicBezTo>
                  <a:lnTo>
                    <a:pt x="105825" y="42834"/>
                  </a:lnTo>
                  <a:cubicBezTo>
                    <a:pt x="107085" y="45354"/>
                    <a:pt x="107085" y="47873"/>
                    <a:pt x="108345" y="51653"/>
                  </a:cubicBezTo>
                  <a:lnTo>
                    <a:pt x="108345" y="52913"/>
                  </a:lnTo>
                  <a:cubicBezTo>
                    <a:pt x="108345" y="55432"/>
                    <a:pt x="109605" y="57952"/>
                    <a:pt x="109605" y="60472"/>
                  </a:cubicBezTo>
                  <a:cubicBezTo>
                    <a:pt x="109605" y="62991"/>
                    <a:pt x="110864" y="65511"/>
                    <a:pt x="110864" y="68030"/>
                  </a:cubicBezTo>
                  <a:lnTo>
                    <a:pt x="110864" y="69290"/>
                  </a:lnTo>
                  <a:cubicBezTo>
                    <a:pt x="110864" y="71810"/>
                    <a:pt x="112124" y="75589"/>
                    <a:pt x="113384" y="78109"/>
                  </a:cubicBezTo>
                  <a:cubicBezTo>
                    <a:pt x="114644" y="81889"/>
                    <a:pt x="114644" y="84408"/>
                    <a:pt x="115904" y="88188"/>
                  </a:cubicBezTo>
                  <a:cubicBezTo>
                    <a:pt x="117163" y="90707"/>
                    <a:pt x="117163" y="93227"/>
                    <a:pt x="118423" y="97006"/>
                  </a:cubicBezTo>
                  <a:cubicBezTo>
                    <a:pt x="118423" y="98266"/>
                    <a:pt x="119683" y="100786"/>
                    <a:pt x="119683" y="102046"/>
                  </a:cubicBezTo>
                  <a:cubicBezTo>
                    <a:pt x="119683" y="103305"/>
                    <a:pt x="119683" y="104565"/>
                    <a:pt x="120943" y="105825"/>
                  </a:cubicBezTo>
                  <a:cubicBezTo>
                    <a:pt x="122203" y="108345"/>
                    <a:pt x="122203" y="112124"/>
                    <a:pt x="123463" y="115904"/>
                  </a:cubicBezTo>
                  <a:cubicBezTo>
                    <a:pt x="123463" y="118424"/>
                    <a:pt x="124722" y="119683"/>
                    <a:pt x="124722" y="122203"/>
                  </a:cubicBezTo>
                  <a:lnTo>
                    <a:pt x="124722" y="122203"/>
                  </a:lnTo>
                  <a:lnTo>
                    <a:pt x="124722" y="122203"/>
                  </a:lnTo>
                  <a:cubicBezTo>
                    <a:pt x="125982" y="123463"/>
                    <a:pt x="125982" y="125982"/>
                    <a:pt x="127242" y="127242"/>
                  </a:cubicBezTo>
                  <a:cubicBezTo>
                    <a:pt x="131022" y="138581"/>
                    <a:pt x="136061" y="149919"/>
                    <a:pt x="139840" y="159998"/>
                  </a:cubicBezTo>
                  <a:lnTo>
                    <a:pt x="142360" y="166297"/>
                  </a:lnTo>
                  <a:cubicBezTo>
                    <a:pt x="143620" y="170076"/>
                    <a:pt x="144880" y="173856"/>
                    <a:pt x="146140" y="176375"/>
                  </a:cubicBezTo>
                  <a:lnTo>
                    <a:pt x="146140" y="176375"/>
                  </a:lnTo>
                  <a:cubicBezTo>
                    <a:pt x="147399" y="178895"/>
                    <a:pt x="148659" y="182674"/>
                    <a:pt x="148659" y="185194"/>
                  </a:cubicBezTo>
                  <a:cubicBezTo>
                    <a:pt x="151179" y="190233"/>
                    <a:pt x="152439" y="196533"/>
                    <a:pt x="154958" y="202832"/>
                  </a:cubicBezTo>
                  <a:lnTo>
                    <a:pt x="154958" y="202832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cubicBezTo>
                    <a:pt x="154958" y="204091"/>
                    <a:pt x="154958" y="204091"/>
                    <a:pt x="154958" y="205351"/>
                  </a:cubicBezTo>
                  <a:lnTo>
                    <a:pt x="154958" y="205351"/>
                  </a:lnTo>
                  <a:cubicBezTo>
                    <a:pt x="157478" y="211650"/>
                    <a:pt x="158738" y="216690"/>
                    <a:pt x="161257" y="222989"/>
                  </a:cubicBezTo>
                  <a:cubicBezTo>
                    <a:pt x="162517" y="225508"/>
                    <a:pt x="163777" y="228028"/>
                    <a:pt x="163777" y="230548"/>
                  </a:cubicBezTo>
                  <a:lnTo>
                    <a:pt x="163777" y="231808"/>
                  </a:lnTo>
                  <a:lnTo>
                    <a:pt x="163777" y="231808"/>
                  </a:lnTo>
                  <a:cubicBezTo>
                    <a:pt x="165037" y="235587"/>
                    <a:pt x="166297" y="239366"/>
                    <a:pt x="167556" y="243146"/>
                  </a:cubicBezTo>
                  <a:cubicBezTo>
                    <a:pt x="168816" y="246925"/>
                    <a:pt x="170076" y="249445"/>
                    <a:pt x="171336" y="253225"/>
                  </a:cubicBezTo>
                  <a:lnTo>
                    <a:pt x="171336" y="254484"/>
                  </a:lnTo>
                  <a:lnTo>
                    <a:pt x="171336" y="255744"/>
                  </a:lnTo>
                  <a:cubicBezTo>
                    <a:pt x="172596" y="258264"/>
                    <a:pt x="172596" y="260783"/>
                    <a:pt x="173855" y="263303"/>
                  </a:cubicBezTo>
                  <a:cubicBezTo>
                    <a:pt x="175115" y="267083"/>
                    <a:pt x="176375" y="269602"/>
                    <a:pt x="177635" y="273382"/>
                  </a:cubicBezTo>
                  <a:cubicBezTo>
                    <a:pt x="178895" y="277161"/>
                    <a:pt x="180155" y="280941"/>
                    <a:pt x="181414" y="284720"/>
                  </a:cubicBezTo>
                  <a:cubicBezTo>
                    <a:pt x="182674" y="288500"/>
                    <a:pt x="183934" y="292279"/>
                    <a:pt x="185194" y="296058"/>
                  </a:cubicBezTo>
                  <a:cubicBezTo>
                    <a:pt x="186454" y="298578"/>
                    <a:pt x="187714" y="301098"/>
                    <a:pt x="187714" y="303618"/>
                  </a:cubicBezTo>
                  <a:cubicBezTo>
                    <a:pt x="188973" y="308657"/>
                    <a:pt x="191493" y="312436"/>
                    <a:pt x="192753" y="317475"/>
                  </a:cubicBezTo>
                  <a:lnTo>
                    <a:pt x="192753" y="318735"/>
                  </a:lnTo>
                  <a:lnTo>
                    <a:pt x="194013" y="323775"/>
                  </a:lnTo>
                  <a:lnTo>
                    <a:pt x="194013" y="323775"/>
                  </a:lnTo>
                  <a:lnTo>
                    <a:pt x="195273" y="327554"/>
                  </a:lnTo>
                  <a:cubicBezTo>
                    <a:pt x="196533" y="332593"/>
                    <a:pt x="199052" y="338893"/>
                    <a:pt x="201572" y="343932"/>
                  </a:cubicBezTo>
                  <a:cubicBezTo>
                    <a:pt x="202832" y="346451"/>
                    <a:pt x="204092" y="348971"/>
                    <a:pt x="205351" y="351491"/>
                  </a:cubicBezTo>
                  <a:lnTo>
                    <a:pt x="205351" y="351491"/>
                  </a:lnTo>
                  <a:cubicBezTo>
                    <a:pt x="206611" y="355270"/>
                    <a:pt x="207871" y="359050"/>
                    <a:pt x="209131" y="361569"/>
                  </a:cubicBezTo>
                  <a:cubicBezTo>
                    <a:pt x="211650" y="367868"/>
                    <a:pt x="214170" y="372908"/>
                    <a:pt x="217949" y="381727"/>
                  </a:cubicBezTo>
                  <a:cubicBezTo>
                    <a:pt x="220469" y="388026"/>
                    <a:pt x="224248" y="394325"/>
                    <a:pt x="226768" y="400624"/>
                  </a:cubicBezTo>
                  <a:cubicBezTo>
                    <a:pt x="229288" y="405663"/>
                    <a:pt x="231807" y="411962"/>
                    <a:pt x="234327" y="419521"/>
                  </a:cubicBezTo>
                  <a:cubicBezTo>
                    <a:pt x="235587" y="423301"/>
                    <a:pt x="236847" y="427080"/>
                    <a:pt x="239366" y="430860"/>
                  </a:cubicBezTo>
                  <a:lnTo>
                    <a:pt x="239366" y="430860"/>
                  </a:lnTo>
                  <a:lnTo>
                    <a:pt x="239366" y="430860"/>
                  </a:lnTo>
                  <a:cubicBezTo>
                    <a:pt x="240626" y="433379"/>
                    <a:pt x="240626" y="434639"/>
                    <a:pt x="241886" y="437159"/>
                  </a:cubicBezTo>
                  <a:cubicBezTo>
                    <a:pt x="243146" y="442198"/>
                    <a:pt x="245666" y="445978"/>
                    <a:pt x="246925" y="449757"/>
                  </a:cubicBezTo>
                  <a:cubicBezTo>
                    <a:pt x="248185" y="452277"/>
                    <a:pt x="248185" y="453536"/>
                    <a:pt x="249445" y="456056"/>
                  </a:cubicBezTo>
                  <a:lnTo>
                    <a:pt x="250705" y="458576"/>
                  </a:lnTo>
                  <a:lnTo>
                    <a:pt x="250705" y="459836"/>
                  </a:lnTo>
                  <a:lnTo>
                    <a:pt x="250705" y="458576"/>
                  </a:lnTo>
                  <a:cubicBezTo>
                    <a:pt x="249445" y="456056"/>
                    <a:pt x="249445" y="454796"/>
                    <a:pt x="248185" y="452277"/>
                  </a:cubicBezTo>
                  <a:cubicBezTo>
                    <a:pt x="248185" y="452277"/>
                    <a:pt x="248185" y="452277"/>
                    <a:pt x="248185" y="452277"/>
                  </a:cubicBezTo>
                  <a:lnTo>
                    <a:pt x="248185" y="452277"/>
                  </a:lnTo>
                  <a:lnTo>
                    <a:pt x="248185" y="452277"/>
                  </a:lnTo>
                  <a:cubicBezTo>
                    <a:pt x="250705" y="457316"/>
                    <a:pt x="251965" y="461095"/>
                    <a:pt x="254484" y="466135"/>
                  </a:cubicBezTo>
                  <a:cubicBezTo>
                    <a:pt x="255744" y="469914"/>
                    <a:pt x="258264" y="473694"/>
                    <a:pt x="259524" y="478733"/>
                  </a:cubicBezTo>
                  <a:cubicBezTo>
                    <a:pt x="259524" y="479993"/>
                    <a:pt x="260784" y="481252"/>
                    <a:pt x="260784" y="482512"/>
                  </a:cubicBezTo>
                  <a:cubicBezTo>
                    <a:pt x="262043" y="483772"/>
                    <a:pt x="262043" y="486292"/>
                    <a:pt x="263303" y="487552"/>
                  </a:cubicBezTo>
                  <a:cubicBezTo>
                    <a:pt x="264563" y="491331"/>
                    <a:pt x="267083" y="495111"/>
                    <a:pt x="268342" y="497630"/>
                  </a:cubicBezTo>
                  <a:lnTo>
                    <a:pt x="268342" y="498890"/>
                  </a:lnTo>
                  <a:cubicBezTo>
                    <a:pt x="269602" y="501410"/>
                    <a:pt x="270862" y="503929"/>
                    <a:pt x="273382" y="506449"/>
                  </a:cubicBezTo>
                  <a:cubicBezTo>
                    <a:pt x="273382" y="508969"/>
                    <a:pt x="274641" y="511488"/>
                    <a:pt x="274641" y="512748"/>
                  </a:cubicBezTo>
                  <a:cubicBezTo>
                    <a:pt x="274641" y="515268"/>
                    <a:pt x="275901" y="517787"/>
                    <a:pt x="275901" y="520307"/>
                  </a:cubicBezTo>
                  <a:cubicBezTo>
                    <a:pt x="275901" y="521567"/>
                    <a:pt x="275901" y="521567"/>
                    <a:pt x="275901" y="522827"/>
                  </a:cubicBezTo>
                  <a:lnTo>
                    <a:pt x="275901" y="522827"/>
                  </a:lnTo>
                  <a:lnTo>
                    <a:pt x="275901" y="522827"/>
                  </a:lnTo>
                  <a:cubicBezTo>
                    <a:pt x="275901" y="522827"/>
                    <a:pt x="275901" y="522827"/>
                    <a:pt x="275901" y="524087"/>
                  </a:cubicBezTo>
                  <a:cubicBezTo>
                    <a:pt x="275901" y="525346"/>
                    <a:pt x="275901" y="527866"/>
                    <a:pt x="275901" y="530386"/>
                  </a:cubicBezTo>
                  <a:cubicBezTo>
                    <a:pt x="275901" y="532905"/>
                    <a:pt x="275901" y="534165"/>
                    <a:pt x="274641" y="536685"/>
                  </a:cubicBezTo>
                  <a:cubicBezTo>
                    <a:pt x="274641" y="537945"/>
                    <a:pt x="273382" y="540464"/>
                    <a:pt x="273382" y="541724"/>
                  </a:cubicBezTo>
                  <a:lnTo>
                    <a:pt x="273382" y="542984"/>
                  </a:lnTo>
                  <a:cubicBezTo>
                    <a:pt x="272122" y="548023"/>
                    <a:pt x="270862" y="553063"/>
                    <a:pt x="268342" y="556842"/>
                  </a:cubicBezTo>
                  <a:lnTo>
                    <a:pt x="268342" y="556842"/>
                  </a:lnTo>
                  <a:lnTo>
                    <a:pt x="268342" y="556842"/>
                  </a:lnTo>
                  <a:lnTo>
                    <a:pt x="268342" y="556842"/>
                  </a:lnTo>
                  <a:cubicBezTo>
                    <a:pt x="267083" y="560621"/>
                    <a:pt x="265823" y="564401"/>
                    <a:pt x="263303" y="569440"/>
                  </a:cubicBezTo>
                  <a:cubicBezTo>
                    <a:pt x="263303" y="570700"/>
                    <a:pt x="262043" y="570700"/>
                    <a:pt x="262043" y="571960"/>
                  </a:cubicBezTo>
                  <a:lnTo>
                    <a:pt x="262043" y="571960"/>
                  </a:lnTo>
                  <a:cubicBezTo>
                    <a:pt x="260784" y="573220"/>
                    <a:pt x="260784" y="574480"/>
                    <a:pt x="259524" y="575739"/>
                  </a:cubicBezTo>
                  <a:cubicBezTo>
                    <a:pt x="257004" y="578259"/>
                    <a:pt x="255744" y="579519"/>
                    <a:pt x="253225" y="582038"/>
                  </a:cubicBezTo>
                  <a:cubicBezTo>
                    <a:pt x="251965" y="583298"/>
                    <a:pt x="249445" y="584558"/>
                    <a:pt x="246925" y="585818"/>
                  </a:cubicBezTo>
                  <a:cubicBezTo>
                    <a:pt x="244406" y="587078"/>
                    <a:pt x="241886" y="588337"/>
                    <a:pt x="240626" y="589597"/>
                  </a:cubicBezTo>
                  <a:lnTo>
                    <a:pt x="239366" y="589597"/>
                  </a:lnTo>
                  <a:cubicBezTo>
                    <a:pt x="238107" y="590857"/>
                    <a:pt x="236847" y="590857"/>
                    <a:pt x="234327" y="592117"/>
                  </a:cubicBezTo>
                  <a:lnTo>
                    <a:pt x="234327" y="592117"/>
                  </a:lnTo>
                  <a:lnTo>
                    <a:pt x="233067" y="593377"/>
                  </a:lnTo>
                  <a:cubicBezTo>
                    <a:pt x="233067" y="593377"/>
                    <a:pt x="231807" y="593377"/>
                    <a:pt x="231807" y="594637"/>
                  </a:cubicBezTo>
                  <a:lnTo>
                    <a:pt x="231807" y="594637"/>
                  </a:lnTo>
                  <a:cubicBezTo>
                    <a:pt x="230548" y="594637"/>
                    <a:pt x="229288" y="595896"/>
                    <a:pt x="228028" y="595896"/>
                  </a:cubicBezTo>
                  <a:cubicBezTo>
                    <a:pt x="225508" y="597156"/>
                    <a:pt x="222989" y="597156"/>
                    <a:pt x="221729" y="598416"/>
                  </a:cubicBezTo>
                  <a:cubicBezTo>
                    <a:pt x="219209" y="598416"/>
                    <a:pt x="216690" y="599676"/>
                    <a:pt x="214170" y="599676"/>
                  </a:cubicBezTo>
                  <a:cubicBezTo>
                    <a:pt x="211650" y="599676"/>
                    <a:pt x="209131" y="600936"/>
                    <a:pt x="205351" y="600936"/>
                  </a:cubicBezTo>
                  <a:cubicBezTo>
                    <a:pt x="204092" y="600936"/>
                    <a:pt x="202832" y="600936"/>
                    <a:pt x="201572" y="600936"/>
                  </a:cubicBezTo>
                  <a:lnTo>
                    <a:pt x="201572" y="600936"/>
                  </a:lnTo>
                  <a:cubicBezTo>
                    <a:pt x="200312" y="600936"/>
                    <a:pt x="199052" y="600936"/>
                    <a:pt x="197792" y="600936"/>
                  </a:cubicBezTo>
                  <a:cubicBezTo>
                    <a:pt x="195273" y="600936"/>
                    <a:pt x="192753" y="600936"/>
                    <a:pt x="191493" y="600936"/>
                  </a:cubicBezTo>
                  <a:cubicBezTo>
                    <a:pt x="190233" y="600936"/>
                    <a:pt x="188973" y="600936"/>
                    <a:pt x="187714" y="600936"/>
                  </a:cubicBezTo>
                  <a:cubicBezTo>
                    <a:pt x="186454" y="600936"/>
                    <a:pt x="183934" y="600936"/>
                    <a:pt x="182674" y="599676"/>
                  </a:cubicBezTo>
                  <a:cubicBezTo>
                    <a:pt x="181414" y="599676"/>
                    <a:pt x="180155" y="599676"/>
                    <a:pt x="178895" y="598416"/>
                  </a:cubicBezTo>
                  <a:cubicBezTo>
                    <a:pt x="177635" y="598416"/>
                    <a:pt x="177635" y="598416"/>
                    <a:pt x="176375" y="598416"/>
                  </a:cubicBezTo>
                  <a:cubicBezTo>
                    <a:pt x="173855" y="598416"/>
                    <a:pt x="172596" y="597156"/>
                    <a:pt x="170076" y="597156"/>
                  </a:cubicBezTo>
                  <a:cubicBezTo>
                    <a:pt x="165037" y="595896"/>
                    <a:pt x="159998" y="593377"/>
                    <a:pt x="156218" y="590857"/>
                  </a:cubicBezTo>
                  <a:cubicBezTo>
                    <a:pt x="154958" y="589597"/>
                    <a:pt x="153699" y="589597"/>
                    <a:pt x="151179" y="588337"/>
                  </a:cubicBezTo>
                  <a:lnTo>
                    <a:pt x="149919" y="587078"/>
                  </a:lnTo>
                  <a:cubicBezTo>
                    <a:pt x="147399" y="585818"/>
                    <a:pt x="144880" y="584558"/>
                    <a:pt x="142360" y="582038"/>
                  </a:cubicBezTo>
                  <a:cubicBezTo>
                    <a:pt x="138581" y="579519"/>
                    <a:pt x="134801" y="576999"/>
                    <a:pt x="131022" y="573220"/>
                  </a:cubicBezTo>
                  <a:lnTo>
                    <a:pt x="131022" y="573220"/>
                  </a:lnTo>
                  <a:lnTo>
                    <a:pt x="131022" y="573220"/>
                  </a:lnTo>
                  <a:lnTo>
                    <a:pt x="129762" y="571960"/>
                  </a:lnTo>
                  <a:lnTo>
                    <a:pt x="129762" y="570700"/>
                  </a:lnTo>
                  <a:cubicBezTo>
                    <a:pt x="127242" y="565661"/>
                    <a:pt x="125982" y="561881"/>
                    <a:pt x="123463" y="558102"/>
                  </a:cubicBezTo>
                  <a:cubicBezTo>
                    <a:pt x="122203" y="555582"/>
                    <a:pt x="120943" y="553063"/>
                    <a:pt x="118423" y="549283"/>
                  </a:cubicBezTo>
                  <a:cubicBezTo>
                    <a:pt x="117163" y="548023"/>
                    <a:pt x="117163" y="546763"/>
                    <a:pt x="115904" y="544244"/>
                  </a:cubicBezTo>
                  <a:cubicBezTo>
                    <a:pt x="114644" y="541724"/>
                    <a:pt x="113384" y="537945"/>
                    <a:pt x="110864" y="534165"/>
                  </a:cubicBezTo>
                  <a:lnTo>
                    <a:pt x="110864" y="534165"/>
                  </a:lnTo>
                  <a:cubicBezTo>
                    <a:pt x="109605" y="532905"/>
                    <a:pt x="109605" y="531645"/>
                    <a:pt x="108345" y="530386"/>
                  </a:cubicBezTo>
                  <a:cubicBezTo>
                    <a:pt x="107085" y="527866"/>
                    <a:pt x="105825" y="524087"/>
                    <a:pt x="103306" y="521567"/>
                  </a:cubicBezTo>
                  <a:cubicBezTo>
                    <a:pt x="99526" y="514008"/>
                    <a:pt x="95747" y="506449"/>
                    <a:pt x="91967" y="498890"/>
                  </a:cubicBezTo>
                  <a:cubicBezTo>
                    <a:pt x="90707" y="497630"/>
                    <a:pt x="90707" y="496371"/>
                    <a:pt x="89448" y="495111"/>
                  </a:cubicBezTo>
                  <a:cubicBezTo>
                    <a:pt x="88188" y="492591"/>
                    <a:pt x="86928" y="490071"/>
                    <a:pt x="85668" y="487552"/>
                  </a:cubicBezTo>
                  <a:lnTo>
                    <a:pt x="83148" y="481252"/>
                  </a:lnTo>
                  <a:lnTo>
                    <a:pt x="83148" y="479993"/>
                  </a:lnTo>
                  <a:cubicBezTo>
                    <a:pt x="80629" y="474953"/>
                    <a:pt x="79369" y="469914"/>
                    <a:pt x="76849" y="464875"/>
                  </a:cubicBezTo>
                  <a:cubicBezTo>
                    <a:pt x="74329" y="459836"/>
                    <a:pt x="71810" y="453536"/>
                    <a:pt x="70550" y="448497"/>
                  </a:cubicBezTo>
                  <a:lnTo>
                    <a:pt x="70550" y="448497"/>
                  </a:lnTo>
                  <a:lnTo>
                    <a:pt x="70550" y="448497"/>
                  </a:lnTo>
                  <a:lnTo>
                    <a:pt x="70550" y="448497"/>
                  </a:lnTo>
                  <a:lnTo>
                    <a:pt x="69290" y="443458"/>
                  </a:lnTo>
                  <a:cubicBezTo>
                    <a:pt x="65511" y="435899"/>
                    <a:pt x="62991" y="428340"/>
                    <a:pt x="60471" y="420781"/>
                  </a:cubicBezTo>
                  <a:lnTo>
                    <a:pt x="59212" y="418261"/>
                  </a:lnTo>
                  <a:lnTo>
                    <a:pt x="59212" y="418261"/>
                  </a:lnTo>
                  <a:cubicBezTo>
                    <a:pt x="56692" y="411962"/>
                    <a:pt x="54172" y="404403"/>
                    <a:pt x="51653" y="398104"/>
                  </a:cubicBezTo>
                  <a:cubicBezTo>
                    <a:pt x="47873" y="389286"/>
                    <a:pt x="45354" y="381727"/>
                    <a:pt x="44094" y="375427"/>
                  </a:cubicBezTo>
                  <a:cubicBezTo>
                    <a:pt x="41574" y="367868"/>
                    <a:pt x="39055" y="360310"/>
                    <a:pt x="36535" y="352751"/>
                  </a:cubicBezTo>
                  <a:cubicBezTo>
                    <a:pt x="35275" y="347711"/>
                    <a:pt x="34015" y="342672"/>
                    <a:pt x="31496" y="337633"/>
                  </a:cubicBezTo>
                  <a:lnTo>
                    <a:pt x="31496" y="337633"/>
                  </a:lnTo>
                  <a:lnTo>
                    <a:pt x="31496" y="337633"/>
                  </a:lnTo>
                  <a:lnTo>
                    <a:pt x="31496" y="335113"/>
                  </a:lnTo>
                  <a:lnTo>
                    <a:pt x="30236" y="331334"/>
                  </a:lnTo>
                  <a:lnTo>
                    <a:pt x="20157" y="291019"/>
                  </a:lnTo>
                  <a:lnTo>
                    <a:pt x="18897" y="285980"/>
                  </a:lnTo>
                  <a:cubicBezTo>
                    <a:pt x="16378" y="278421"/>
                    <a:pt x="15118" y="269602"/>
                    <a:pt x="12598" y="260783"/>
                  </a:cubicBezTo>
                  <a:cubicBezTo>
                    <a:pt x="11338" y="255744"/>
                    <a:pt x="10078" y="250705"/>
                    <a:pt x="10078" y="246925"/>
                  </a:cubicBezTo>
                  <a:cubicBezTo>
                    <a:pt x="10078" y="246925"/>
                    <a:pt x="10078" y="245666"/>
                    <a:pt x="10078" y="245666"/>
                  </a:cubicBezTo>
                  <a:cubicBezTo>
                    <a:pt x="8819" y="240626"/>
                    <a:pt x="6299" y="234327"/>
                    <a:pt x="5039" y="229288"/>
                  </a:cubicBezTo>
                  <a:lnTo>
                    <a:pt x="5039" y="229288"/>
                  </a:lnTo>
                  <a:cubicBezTo>
                    <a:pt x="3779" y="226768"/>
                    <a:pt x="3779" y="224249"/>
                    <a:pt x="2520" y="221729"/>
                  </a:cubicBezTo>
                  <a:cubicBezTo>
                    <a:pt x="2520" y="219209"/>
                    <a:pt x="1260" y="215430"/>
                    <a:pt x="1260" y="211650"/>
                  </a:cubicBezTo>
                  <a:cubicBezTo>
                    <a:pt x="1260" y="205351"/>
                    <a:pt x="0" y="200312"/>
                    <a:pt x="0" y="194013"/>
                  </a:cubicBezTo>
                  <a:cubicBezTo>
                    <a:pt x="0" y="187714"/>
                    <a:pt x="0" y="181415"/>
                    <a:pt x="1260" y="176375"/>
                  </a:cubicBezTo>
                  <a:cubicBezTo>
                    <a:pt x="1260" y="173856"/>
                    <a:pt x="2520" y="170076"/>
                    <a:pt x="2520" y="167557"/>
                  </a:cubicBezTo>
                  <a:cubicBezTo>
                    <a:pt x="2520" y="165037"/>
                    <a:pt x="3779" y="163777"/>
                    <a:pt x="3779" y="161257"/>
                  </a:cubicBezTo>
                  <a:cubicBezTo>
                    <a:pt x="3779" y="159998"/>
                    <a:pt x="3779" y="158738"/>
                    <a:pt x="5039" y="158738"/>
                  </a:cubicBezTo>
                  <a:cubicBezTo>
                    <a:pt x="6299" y="156218"/>
                    <a:pt x="6299" y="153698"/>
                    <a:pt x="7559" y="151179"/>
                  </a:cubicBezTo>
                  <a:cubicBezTo>
                    <a:pt x="7559" y="149919"/>
                    <a:pt x="8819" y="147399"/>
                    <a:pt x="10078" y="146140"/>
                  </a:cubicBezTo>
                  <a:cubicBezTo>
                    <a:pt x="10078" y="144880"/>
                    <a:pt x="11338" y="143620"/>
                    <a:pt x="12598" y="142360"/>
                  </a:cubicBezTo>
                  <a:cubicBezTo>
                    <a:pt x="13858" y="139840"/>
                    <a:pt x="15118" y="137321"/>
                    <a:pt x="16378" y="134801"/>
                  </a:cubicBezTo>
                  <a:lnTo>
                    <a:pt x="16378" y="134801"/>
                  </a:lnTo>
                  <a:cubicBezTo>
                    <a:pt x="17637" y="132281"/>
                    <a:pt x="20157" y="129762"/>
                    <a:pt x="21417" y="127242"/>
                  </a:cubicBezTo>
                  <a:lnTo>
                    <a:pt x="21417" y="125982"/>
                  </a:lnTo>
                  <a:cubicBezTo>
                    <a:pt x="22677" y="124723"/>
                    <a:pt x="22677" y="123463"/>
                    <a:pt x="23937" y="123463"/>
                  </a:cubicBezTo>
                  <a:cubicBezTo>
                    <a:pt x="25196" y="122203"/>
                    <a:pt x="26456" y="120943"/>
                    <a:pt x="26456" y="119683"/>
                  </a:cubicBezTo>
                  <a:cubicBezTo>
                    <a:pt x="26456" y="119683"/>
                    <a:pt x="27716" y="118424"/>
                    <a:pt x="27716" y="118424"/>
                  </a:cubicBezTo>
                  <a:cubicBezTo>
                    <a:pt x="27716" y="117164"/>
                    <a:pt x="28976" y="117164"/>
                    <a:pt x="28976" y="115904"/>
                  </a:cubicBezTo>
                  <a:cubicBezTo>
                    <a:pt x="30236" y="114644"/>
                    <a:pt x="31496" y="113384"/>
                    <a:pt x="32755" y="113384"/>
                  </a:cubicBezTo>
                  <a:cubicBezTo>
                    <a:pt x="34015" y="112124"/>
                    <a:pt x="34015" y="112124"/>
                    <a:pt x="35275" y="110864"/>
                  </a:cubicBezTo>
                  <a:cubicBezTo>
                    <a:pt x="36535" y="109605"/>
                    <a:pt x="36535" y="109605"/>
                    <a:pt x="37795" y="108345"/>
                  </a:cubicBezTo>
                  <a:cubicBezTo>
                    <a:pt x="39055" y="107085"/>
                    <a:pt x="39055" y="107085"/>
                    <a:pt x="40314" y="105825"/>
                  </a:cubicBezTo>
                  <a:cubicBezTo>
                    <a:pt x="41574" y="104565"/>
                    <a:pt x="42834" y="103305"/>
                    <a:pt x="44094" y="103305"/>
                  </a:cubicBezTo>
                  <a:cubicBezTo>
                    <a:pt x="45354" y="102046"/>
                    <a:pt x="46614" y="102046"/>
                    <a:pt x="47873" y="100786"/>
                  </a:cubicBezTo>
                  <a:cubicBezTo>
                    <a:pt x="49133" y="100786"/>
                    <a:pt x="49133" y="99526"/>
                    <a:pt x="50393" y="99526"/>
                  </a:cubicBezTo>
                  <a:cubicBezTo>
                    <a:pt x="51653" y="98266"/>
                    <a:pt x="54172" y="97006"/>
                    <a:pt x="55432" y="95747"/>
                  </a:cubicBezTo>
                  <a:cubicBezTo>
                    <a:pt x="56692" y="94487"/>
                    <a:pt x="56692" y="94487"/>
                    <a:pt x="57952" y="94487"/>
                  </a:cubicBezTo>
                  <a:cubicBezTo>
                    <a:pt x="57952" y="94487"/>
                    <a:pt x="57952" y="94487"/>
                    <a:pt x="57952" y="93227"/>
                  </a:cubicBezTo>
                  <a:cubicBezTo>
                    <a:pt x="57952" y="91967"/>
                    <a:pt x="57952" y="91967"/>
                    <a:pt x="59212" y="90707"/>
                  </a:cubicBezTo>
                  <a:cubicBezTo>
                    <a:pt x="59212" y="89448"/>
                    <a:pt x="59212" y="88188"/>
                    <a:pt x="59212" y="86928"/>
                  </a:cubicBezTo>
                  <a:cubicBezTo>
                    <a:pt x="59212" y="85668"/>
                    <a:pt x="59212" y="84408"/>
                    <a:pt x="59212" y="83148"/>
                  </a:cubicBezTo>
                  <a:cubicBezTo>
                    <a:pt x="59212" y="80629"/>
                    <a:pt x="59212" y="78109"/>
                    <a:pt x="59212" y="75589"/>
                  </a:cubicBezTo>
                  <a:lnTo>
                    <a:pt x="59212" y="74330"/>
                  </a:lnTo>
                  <a:cubicBezTo>
                    <a:pt x="59212" y="71810"/>
                    <a:pt x="59212" y="69290"/>
                    <a:pt x="59212" y="66771"/>
                  </a:cubicBezTo>
                  <a:cubicBezTo>
                    <a:pt x="59212" y="62991"/>
                    <a:pt x="59212" y="59212"/>
                    <a:pt x="59212" y="56692"/>
                  </a:cubicBezTo>
                  <a:lnTo>
                    <a:pt x="59212" y="55432"/>
                  </a:lnTo>
                  <a:cubicBezTo>
                    <a:pt x="59212" y="52913"/>
                    <a:pt x="59212" y="50393"/>
                    <a:pt x="59212" y="46614"/>
                  </a:cubicBezTo>
                  <a:cubicBezTo>
                    <a:pt x="59212" y="42834"/>
                    <a:pt x="59212" y="40314"/>
                    <a:pt x="59212" y="36535"/>
                  </a:cubicBezTo>
                  <a:cubicBezTo>
                    <a:pt x="59212" y="34015"/>
                    <a:pt x="59212" y="31496"/>
                    <a:pt x="60471" y="27716"/>
                  </a:cubicBezTo>
                  <a:cubicBezTo>
                    <a:pt x="60471" y="23937"/>
                    <a:pt x="61731" y="21417"/>
                    <a:pt x="61731" y="18897"/>
                  </a:cubicBezTo>
                  <a:lnTo>
                    <a:pt x="61731" y="18897"/>
                  </a:lnTo>
                  <a:cubicBezTo>
                    <a:pt x="61731" y="17638"/>
                    <a:pt x="61731" y="16378"/>
                    <a:pt x="62991" y="15118"/>
                  </a:cubicBezTo>
                  <a:cubicBezTo>
                    <a:pt x="62991" y="13858"/>
                    <a:pt x="64251" y="12598"/>
                    <a:pt x="64251" y="11338"/>
                  </a:cubicBezTo>
                  <a:cubicBezTo>
                    <a:pt x="65511" y="8819"/>
                    <a:pt x="68030" y="6299"/>
                    <a:pt x="69290" y="5039"/>
                  </a:cubicBezTo>
                  <a:cubicBezTo>
                    <a:pt x="70550" y="3780"/>
                    <a:pt x="71810" y="2520"/>
                    <a:pt x="74329" y="2520"/>
                  </a:cubicBezTo>
                  <a:cubicBezTo>
                    <a:pt x="75589" y="2520"/>
                    <a:pt x="75589" y="2520"/>
                    <a:pt x="76849" y="2520"/>
                  </a:cubicBezTo>
                  <a:lnTo>
                    <a:pt x="76849" y="2520"/>
                  </a:lnTo>
                  <a:cubicBezTo>
                    <a:pt x="76849" y="2520"/>
                    <a:pt x="78109" y="2520"/>
                    <a:pt x="78109" y="2520"/>
                  </a:cubicBezTo>
                  <a:lnTo>
                    <a:pt x="78109" y="2520"/>
                  </a:lnTo>
                  <a:cubicBezTo>
                    <a:pt x="79369" y="0"/>
                    <a:pt x="79369" y="0"/>
                    <a:pt x="80629" y="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560" y="397510"/>
            <a:ext cx="10850880" cy="58737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780" y="497840"/>
            <a:ext cx="1597025" cy="387350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669925" y="988695"/>
            <a:ext cx="2129155" cy="76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矩形 246"/>
          <p:cNvSpPr/>
          <p:nvPr userDrawn="1"/>
        </p:nvSpPr>
        <p:spPr>
          <a:xfrm>
            <a:off x="-60959" y="-15634"/>
            <a:ext cx="12283440" cy="352588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8" name="标题 1"/>
          <p:cNvSpPr>
            <a:spLocks noGrp="1"/>
          </p:cNvSpPr>
          <p:nvPr>
            <p:ph type="ctrTitle" hasCustomPrompt="1"/>
          </p:nvPr>
        </p:nvSpPr>
        <p:spPr>
          <a:xfrm>
            <a:off x="6956335" y="1085767"/>
            <a:ext cx="4263896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49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7320151" y="4831141"/>
            <a:ext cx="388301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4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25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320153" y="4534870"/>
            <a:ext cx="388301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4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251" name="组合 250"/>
          <p:cNvGrpSpPr/>
          <p:nvPr userDrawn="1"/>
        </p:nvGrpSpPr>
        <p:grpSpPr>
          <a:xfrm>
            <a:off x="567290" y="1676400"/>
            <a:ext cx="5283757" cy="4200930"/>
            <a:chOff x="6002031" y="1741260"/>
            <a:chExt cx="5404086" cy="4296599"/>
          </a:xfrm>
        </p:grpSpPr>
        <p:sp>
          <p:nvSpPr>
            <p:cNvPr id="252" name="Freeform 6"/>
            <p:cNvSpPr/>
            <p:nvPr/>
          </p:nvSpPr>
          <p:spPr bwMode="auto">
            <a:xfrm>
              <a:off x="7498197" y="3149607"/>
              <a:ext cx="1429490" cy="736699"/>
            </a:xfrm>
            <a:custGeom>
              <a:avLst/>
              <a:gdLst>
                <a:gd name="T0" fmla="*/ 439 w 879"/>
                <a:gd name="T1" fmla="*/ 0 h 453"/>
                <a:gd name="T2" fmla="*/ 433 w 879"/>
                <a:gd name="T3" fmla="*/ 0 h 453"/>
                <a:gd name="T4" fmla="*/ 0 w 879"/>
                <a:gd name="T5" fmla="*/ 0 h 453"/>
                <a:gd name="T6" fmla="*/ 152 w 879"/>
                <a:gd name="T7" fmla="*/ 453 h 453"/>
                <a:gd name="T8" fmla="*/ 433 w 879"/>
                <a:gd name="T9" fmla="*/ 453 h 453"/>
                <a:gd name="T10" fmla="*/ 439 w 879"/>
                <a:gd name="T11" fmla="*/ 453 h 453"/>
                <a:gd name="T12" fmla="*/ 719 w 879"/>
                <a:gd name="T13" fmla="*/ 453 h 453"/>
                <a:gd name="T14" fmla="*/ 879 w 879"/>
                <a:gd name="T15" fmla="*/ 0 h 453"/>
                <a:gd name="T16" fmla="*/ 439 w 879"/>
                <a:gd name="T1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9" h="453">
                  <a:moveTo>
                    <a:pt x="439" y="0"/>
                  </a:moveTo>
                  <a:lnTo>
                    <a:pt x="433" y="0"/>
                  </a:lnTo>
                  <a:lnTo>
                    <a:pt x="0" y="0"/>
                  </a:lnTo>
                  <a:lnTo>
                    <a:pt x="152" y="453"/>
                  </a:lnTo>
                  <a:lnTo>
                    <a:pt x="433" y="453"/>
                  </a:lnTo>
                  <a:lnTo>
                    <a:pt x="439" y="453"/>
                  </a:lnTo>
                  <a:lnTo>
                    <a:pt x="719" y="453"/>
                  </a:lnTo>
                  <a:lnTo>
                    <a:pt x="879" y="0"/>
                  </a:lnTo>
                  <a:lnTo>
                    <a:pt x="4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3" name="Freeform 7"/>
            <p:cNvSpPr/>
            <p:nvPr/>
          </p:nvSpPr>
          <p:spPr bwMode="auto">
            <a:xfrm>
              <a:off x="6904608" y="3078052"/>
              <a:ext cx="905831" cy="2040966"/>
            </a:xfrm>
            <a:custGeom>
              <a:avLst/>
              <a:gdLst>
                <a:gd name="T0" fmla="*/ 255 w 268"/>
                <a:gd name="T1" fmla="*/ 504 h 604"/>
                <a:gd name="T2" fmla="*/ 245 w 268"/>
                <a:gd name="T3" fmla="*/ 404 h 604"/>
                <a:gd name="T4" fmla="*/ 207 w 268"/>
                <a:gd name="T5" fmla="*/ 351 h 604"/>
                <a:gd name="T6" fmla="*/ 229 w 268"/>
                <a:gd name="T7" fmla="*/ 296 h 604"/>
                <a:gd name="T8" fmla="*/ 217 w 268"/>
                <a:gd name="T9" fmla="*/ 197 h 604"/>
                <a:gd name="T10" fmla="*/ 173 w 268"/>
                <a:gd name="T11" fmla="*/ 142 h 604"/>
                <a:gd name="T12" fmla="*/ 168 w 268"/>
                <a:gd name="T13" fmla="*/ 78 h 604"/>
                <a:gd name="T14" fmla="*/ 118 w 268"/>
                <a:gd name="T15" fmla="*/ 0 h 604"/>
                <a:gd name="T16" fmla="*/ 59 w 268"/>
                <a:gd name="T17" fmla="*/ 65 h 604"/>
                <a:gd name="T18" fmla="*/ 55 w 268"/>
                <a:gd name="T19" fmla="*/ 96 h 604"/>
                <a:gd name="T20" fmla="*/ 57 w 268"/>
                <a:gd name="T21" fmla="*/ 132 h 604"/>
                <a:gd name="T22" fmla="*/ 47 w 268"/>
                <a:gd name="T23" fmla="*/ 170 h 604"/>
                <a:gd name="T24" fmla="*/ 29 w 268"/>
                <a:gd name="T25" fmla="*/ 199 h 604"/>
                <a:gd name="T26" fmla="*/ 23 w 268"/>
                <a:gd name="T27" fmla="*/ 320 h 604"/>
                <a:gd name="T28" fmla="*/ 27 w 268"/>
                <a:gd name="T29" fmla="*/ 394 h 604"/>
                <a:gd name="T30" fmla="*/ 6 w 268"/>
                <a:gd name="T31" fmla="*/ 457 h 604"/>
                <a:gd name="T32" fmla="*/ 58 w 268"/>
                <a:gd name="T33" fmla="*/ 565 h 604"/>
                <a:gd name="T34" fmla="*/ 61 w 268"/>
                <a:gd name="T35" fmla="*/ 565 h 604"/>
                <a:gd name="T36" fmla="*/ 255 w 268"/>
                <a:gd name="T37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8" h="604">
                  <a:moveTo>
                    <a:pt x="255" y="504"/>
                  </a:moveTo>
                  <a:cubicBezTo>
                    <a:pt x="268" y="471"/>
                    <a:pt x="266" y="433"/>
                    <a:pt x="245" y="404"/>
                  </a:cubicBezTo>
                  <a:cubicBezTo>
                    <a:pt x="233" y="387"/>
                    <a:pt x="207" y="374"/>
                    <a:pt x="207" y="351"/>
                  </a:cubicBezTo>
                  <a:cubicBezTo>
                    <a:pt x="207" y="330"/>
                    <a:pt x="222" y="314"/>
                    <a:pt x="229" y="296"/>
                  </a:cubicBezTo>
                  <a:cubicBezTo>
                    <a:pt x="241" y="263"/>
                    <a:pt x="236" y="225"/>
                    <a:pt x="217" y="197"/>
                  </a:cubicBezTo>
                  <a:cubicBezTo>
                    <a:pt x="204" y="177"/>
                    <a:pt x="182" y="165"/>
                    <a:pt x="173" y="142"/>
                  </a:cubicBezTo>
                  <a:cubicBezTo>
                    <a:pt x="165" y="122"/>
                    <a:pt x="168" y="99"/>
                    <a:pt x="168" y="78"/>
                  </a:cubicBezTo>
                  <a:cubicBezTo>
                    <a:pt x="169" y="47"/>
                    <a:pt x="157" y="0"/>
                    <a:pt x="118" y="0"/>
                  </a:cubicBezTo>
                  <a:cubicBezTo>
                    <a:pt x="85" y="1"/>
                    <a:pt x="66" y="37"/>
                    <a:pt x="59" y="65"/>
                  </a:cubicBezTo>
                  <a:cubicBezTo>
                    <a:pt x="57" y="75"/>
                    <a:pt x="55" y="86"/>
                    <a:pt x="55" y="96"/>
                  </a:cubicBezTo>
                  <a:cubicBezTo>
                    <a:pt x="55" y="108"/>
                    <a:pt x="57" y="120"/>
                    <a:pt x="57" y="132"/>
                  </a:cubicBezTo>
                  <a:cubicBezTo>
                    <a:pt x="56" y="144"/>
                    <a:pt x="53" y="158"/>
                    <a:pt x="47" y="170"/>
                  </a:cubicBezTo>
                  <a:cubicBezTo>
                    <a:pt x="42" y="180"/>
                    <a:pt x="34" y="188"/>
                    <a:pt x="29" y="199"/>
                  </a:cubicBezTo>
                  <a:cubicBezTo>
                    <a:pt x="9" y="236"/>
                    <a:pt x="11" y="280"/>
                    <a:pt x="23" y="320"/>
                  </a:cubicBezTo>
                  <a:cubicBezTo>
                    <a:pt x="30" y="346"/>
                    <a:pt x="36" y="367"/>
                    <a:pt x="27" y="394"/>
                  </a:cubicBezTo>
                  <a:cubicBezTo>
                    <a:pt x="20" y="415"/>
                    <a:pt x="9" y="435"/>
                    <a:pt x="6" y="457"/>
                  </a:cubicBezTo>
                  <a:cubicBezTo>
                    <a:pt x="0" y="500"/>
                    <a:pt x="24" y="540"/>
                    <a:pt x="58" y="565"/>
                  </a:cubicBezTo>
                  <a:cubicBezTo>
                    <a:pt x="59" y="565"/>
                    <a:pt x="60" y="566"/>
                    <a:pt x="61" y="565"/>
                  </a:cubicBezTo>
                  <a:cubicBezTo>
                    <a:pt x="129" y="604"/>
                    <a:pt x="223" y="576"/>
                    <a:pt x="255" y="504"/>
                  </a:cubicBezTo>
                </a:path>
              </a:pathLst>
            </a:custGeom>
            <a:gradFill>
              <a:gsLst>
                <a:gs pos="0">
                  <a:srgbClr val="ECA612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4" name="Freeform 10"/>
            <p:cNvSpPr/>
            <p:nvPr/>
          </p:nvSpPr>
          <p:spPr bwMode="auto">
            <a:xfrm>
              <a:off x="7033083" y="3234173"/>
              <a:ext cx="526911" cy="881438"/>
            </a:xfrm>
            <a:custGeom>
              <a:avLst/>
              <a:gdLst>
                <a:gd name="T0" fmla="*/ 151 w 156"/>
                <a:gd name="T1" fmla="*/ 215 h 261"/>
                <a:gd name="T2" fmla="*/ 147 w 156"/>
                <a:gd name="T3" fmla="*/ 218 h 261"/>
                <a:gd name="T4" fmla="*/ 123 w 156"/>
                <a:gd name="T5" fmla="*/ 261 h 261"/>
                <a:gd name="T6" fmla="*/ 132 w 156"/>
                <a:gd name="T7" fmla="*/ 261 h 261"/>
                <a:gd name="T8" fmla="*/ 154 w 156"/>
                <a:gd name="T9" fmla="*/ 220 h 261"/>
                <a:gd name="T10" fmla="*/ 151 w 156"/>
                <a:gd name="T11" fmla="*/ 215 h 261"/>
                <a:gd name="T12" fmla="*/ 5 w 156"/>
                <a:gd name="T13" fmla="*/ 166 h 261"/>
                <a:gd name="T14" fmla="*/ 2 w 156"/>
                <a:gd name="T15" fmla="*/ 172 h 261"/>
                <a:gd name="T16" fmla="*/ 4 w 156"/>
                <a:gd name="T17" fmla="*/ 176 h 261"/>
                <a:gd name="T18" fmla="*/ 26 w 156"/>
                <a:gd name="T19" fmla="*/ 194 h 261"/>
                <a:gd name="T20" fmla="*/ 9 w 156"/>
                <a:gd name="T21" fmla="*/ 168 h 261"/>
                <a:gd name="T22" fmla="*/ 5 w 156"/>
                <a:gd name="T23" fmla="*/ 166 h 261"/>
                <a:gd name="T24" fmla="*/ 68 w 156"/>
                <a:gd name="T25" fmla="*/ 0 h 261"/>
                <a:gd name="T26" fmla="*/ 65 w 156"/>
                <a:gd name="T27" fmla="*/ 4 h 261"/>
                <a:gd name="T28" fmla="*/ 68 w 156"/>
                <a:gd name="T29" fmla="*/ 102 h 261"/>
                <a:gd name="T30" fmla="*/ 40 w 156"/>
                <a:gd name="T31" fmla="*/ 58 h 261"/>
                <a:gd name="T32" fmla="*/ 37 w 156"/>
                <a:gd name="T33" fmla="*/ 56 h 261"/>
                <a:gd name="T34" fmla="*/ 33 w 156"/>
                <a:gd name="T35" fmla="*/ 63 h 261"/>
                <a:gd name="T36" fmla="*/ 69 w 156"/>
                <a:gd name="T37" fmla="*/ 119 h 261"/>
                <a:gd name="T38" fmla="*/ 72 w 156"/>
                <a:gd name="T39" fmla="*/ 205 h 261"/>
                <a:gd name="T40" fmla="*/ 72 w 156"/>
                <a:gd name="T41" fmla="*/ 206 h 261"/>
                <a:gd name="T42" fmla="*/ 74 w 156"/>
                <a:gd name="T43" fmla="*/ 254 h 261"/>
                <a:gd name="T44" fmla="*/ 46 w 156"/>
                <a:gd name="T45" fmla="*/ 223 h 261"/>
                <a:gd name="T46" fmla="*/ 58 w 156"/>
                <a:gd name="T47" fmla="*/ 249 h 261"/>
                <a:gd name="T48" fmla="*/ 68 w 156"/>
                <a:gd name="T49" fmla="*/ 261 h 261"/>
                <a:gd name="T50" fmla="*/ 82 w 156"/>
                <a:gd name="T51" fmla="*/ 261 h 261"/>
                <a:gd name="T52" fmla="*/ 80 w 156"/>
                <a:gd name="T53" fmla="*/ 207 h 261"/>
                <a:gd name="T54" fmla="*/ 128 w 156"/>
                <a:gd name="T55" fmla="*/ 133 h 261"/>
                <a:gd name="T56" fmla="*/ 124 w 156"/>
                <a:gd name="T57" fmla="*/ 126 h 261"/>
                <a:gd name="T58" fmla="*/ 121 w 156"/>
                <a:gd name="T59" fmla="*/ 128 h 261"/>
                <a:gd name="T60" fmla="*/ 80 w 156"/>
                <a:gd name="T61" fmla="*/ 194 h 261"/>
                <a:gd name="T62" fmla="*/ 76 w 156"/>
                <a:gd name="T63" fmla="*/ 88 h 261"/>
                <a:gd name="T64" fmla="*/ 77 w 156"/>
                <a:gd name="T65" fmla="*/ 87 h 261"/>
                <a:gd name="T66" fmla="*/ 111 w 156"/>
                <a:gd name="T67" fmla="*/ 40 h 261"/>
                <a:gd name="T68" fmla="*/ 108 w 156"/>
                <a:gd name="T69" fmla="*/ 34 h 261"/>
                <a:gd name="T70" fmla="*/ 105 w 156"/>
                <a:gd name="T71" fmla="*/ 35 h 261"/>
                <a:gd name="T72" fmla="*/ 76 w 156"/>
                <a:gd name="T73" fmla="*/ 76 h 261"/>
                <a:gd name="T74" fmla="*/ 73 w 156"/>
                <a:gd name="T75" fmla="*/ 5 h 261"/>
                <a:gd name="T76" fmla="*/ 68 w 156"/>
                <a:gd name="T7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6" h="261">
                  <a:moveTo>
                    <a:pt x="151" y="215"/>
                  </a:moveTo>
                  <a:cubicBezTo>
                    <a:pt x="149" y="215"/>
                    <a:pt x="148" y="216"/>
                    <a:pt x="147" y="218"/>
                  </a:cubicBezTo>
                  <a:cubicBezTo>
                    <a:pt x="139" y="232"/>
                    <a:pt x="131" y="247"/>
                    <a:pt x="123" y="261"/>
                  </a:cubicBezTo>
                  <a:cubicBezTo>
                    <a:pt x="132" y="261"/>
                    <a:pt x="132" y="261"/>
                    <a:pt x="132" y="261"/>
                  </a:cubicBezTo>
                  <a:cubicBezTo>
                    <a:pt x="140" y="248"/>
                    <a:pt x="148" y="234"/>
                    <a:pt x="154" y="220"/>
                  </a:cubicBezTo>
                  <a:cubicBezTo>
                    <a:pt x="156" y="217"/>
                    <a:pt x="153" y="215"/>
                    <a:pt x="151" y="215"/>
                  </a:cubicBezTo>
                  <a:moveTo>
                    <a:pt x="5" y="166"/>
                  </a:moveTo>
                  <a:cubicBezTo>
                    <a:pt x="3" y="166"/>
                    <a:pt x="0" y="169"/>
                    <a:pt x="2" y="172"/>
                  </a:cubicBezTo>
                  <a:cubicBezTo>
                    <a:pt x="2" y="173"/>
                    <a:pt x="3" y="175"/>
                    <a:pt x="4" y="176"/>
                  </a:cubicBezTo>
                  <a:cubicBezTo>
                    <a:pt x="12" y="181"/>
                    <a:pt x="19" y="188"/>
                    <a:pt x="26" y="194"/>
                  </a:cubicBezTo>
                  <a:cubicBezTo>
                    <a:pt x="20" y="186"/>
                    <a:pt x="14" y="177"/>
                    <a:pt x="9" y="168"/>
                  </a:cubicBezTo>
                  <a:cubicBezTo>
                    <a:pt x="8" y="167"/>
                    <a:pt x="7" y="166"/>
                    <a:pt x="5" y="166"/>
                  </a:cubicBezTo>
                  <a:moveTo>
                    <a:pt x="68" y="0"/>
                  </a:moveTo>
                  <a:cubicBezTo>
                    <a:pt x="66" y="0"/>
                    <a:pt x="65" y="1"/>
                    <a:pt x="65" y="4"/>
                  </a:cubicBezTo>
                  <a:cubicBezTo>
                    <a:pt x="66" y="37"/>
                    <a:pt x="67" y="69"/>
                    <a:pt x="68" y="102"/>
                  </a:cubicBezTo>
                  <a:cubicBezTo>
                    <a:pt x="59" y="87"/>
                    <a:pt x="50" y="72"/>
                    <a:pt x="40" y="58"/>
                  </a:cubicBezTo>
                  <a:cubicBezTo>
                    <a:pt x="39" y="57"/>
                    <a:pt x="38" y="56"/>
                    <a:pt x="37" y="56"/>
                  </a:cubicBezTo>
                  <a:cubicBezTo>
                    <a:pt x="34" y="56"/>
                    <a:pt x="31" y="60"/>
                    <a:pt x="33" y="63"/>
                  </a:cubicBezTo>
                  <a:cubicBezTo>
                    <a:pt x="46" y="81"/>
                    <a:pt x="58" y="100"/>
                    <a:pt x="69" y="119"/>
                  </a:cubicBezTo>
                  <a:cubicBezTo>
                    <a:pt x="70" y="148"/>
                    <a:pt x="71" y="176"/>
                    <a:pt x="72" y="205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3" y="222"/>
                    <a:pt x="73" y="238"/>
                    <a:pt x="74" y="254"/>
                  </a:cubicBezTo>
                  <a:cubicBezTo>
                    <a:pt x="64" y="244"/>
                    <a:pt x="55" y="234"/>
                    <a:pt x="46" y="223"/>
                  </a:cubicBezTo>
                  <a:cubicBezTo>
                    <a:pt x="51" y="231"/>
                    <a:pt x="55" y="240"/>
                    <a:pt x="58" y="249"/>
                  </a:cubicBezTo>
                  <a:cubicBezTo>
                    <a:pt x="61" y="253"/>
                    <a:pt x="65" y="257"/>
                    <a:pt x="68" y="261"/>
                  </a:cubicBezTo>
                  <a:cubicBezTo>
                    <a:pt x="82" y="261"/>
                    <a:pt x="82" y="261"/>
                    <a:pt x="82" y="261"/>
                  </a:cubicBezTo>
                  <a:cubicBezTo>
                    <a:pt x="82" y="243"/>
                    <a:pt x="81" y="225"/>
                    <a:pt x="80" y="207"/>
                  </a:cubicBezTo>
                  <a:cubicBezTo>
                    <a:pt x="98" y="184"/>
                    <a:pt x="114" y="159"/>
                    <a:pt x="128" y="133"/>
                  </a:cubicBezTo>
                  <a:cubicBezTo>
                    <a:pt x="130" y="130"/>
                    <a:pt x="127" y="126"/>
                    <a:pt x="124" y="126"/>
                  </a:cubicBezTo>
                  <a:cubicBezTo>
                    <a:pt x="123" y="126"/>
                    <a:pt x="122" y="127"/>
                    <a:pt x="121" y="128"/>
                  </a:cubicBezTo>
                  <a:cubicBezTo>
                    <a:pt x="109" y="151"/>
                    <a:pt x="95" y="173"/>
                    <a:pt x="80" y="194"/>
                  </a:cubicBezTo>
                  <a:cubicBezTo>
                    <a:pt x="79" y="159"/>
                    <a:pt x="77" y="123"/>
                    <a:pt x="76" y="88"/>
                  </a:cubicBezTo>
                  <a:cubicBezTo>
                    <a:pt x="76" y="88"/>
                    <a:pt x="77" y="87"/>
                    <a:pt x="77" y="87"/>
                  </a:cubicBezTo>
                  <a:cubicBezTo>
                    <a:pt x="89" y="72"/>
                    <a:pt x="101" y="56"/>
                    <a:pt x="111" y="40"/>
                  </a:cubicBezTo>
                  <a:cubicBezTo>
                    <a:pt x="113" y="37"/>
                    <a:pt x="111" y="34"/>
                    <a:pt x="108" y="34"/>
                  </a:cubicBezTo>
                  <a:cubicBezTo>
                    <a:pt x="107" y="34"/>
                    <a:pt x="105" y="34"/>
                    <a:pt x="105" y="35"/>
                  </a:cubicBezTo>
                  <a:cubicBezTo>
                    <a:pt x="95" y="49"/>
                    <a:pt x="86" y="63"/>
                    <a:pt x="76" y="76"/>
                  </a:cubicBezTo>
                  <a:cubicBezTo>
                    <a:pt x="75" y="52"/>
                    <a:pt x="74" y="28"/>
                    <a:pt x="73" y="5"/>
                  </a:cubicBezTo>
                  <a:cubicBezTo>
                    <a:pt x="73" y="2"/>
                    <a:pt x="71" y="0"/>
                    <a:pt x="68" y="0"/>
                  </a:cubicBezTo>
                </a:path>
              </a:pathLst>
            </a:custGeom>
            <a:solidFill>
              <a:srgbClr val="D077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5" name="Freeform 11"/>
            <p:cNvSpPr/>
            <p:nvPr/>
          </p:nvSpPr>
          <p:spPr bwMode="auto">
            <a:xfrm>
              <a:off x="6177667" y="3152860"/>
              <a:ext cx="1517308" cy="2345077"/>
            </a:xfrm>
            <a:custGeom>
              <a:avLst/>
              <a:gdLst>
                <a:gd name="T0" fmla="*/ 324 w 449"/>
                <a:gd name="T1" fmla="*/ 694 h 694"/>
                <a:gd name="T2" fmla="*/ 175 w 449"/>
                <a:gd name="T3" fmla="*/ 662 h 694"/>
                <a:gd name="T4" fmla="*/ 139 w 449"/>
                <a:gd name="T5" fmla="*/ 603 h 694"/>
                <a:gd name="T6" fmla="*/ 132 w 449"/>
                <a:gd name="T7" fmla="*/ 520 h 694"/>
                <a:gd name="T8" fmla="*/ 90 w 449"/>
                <a:gd name="T9" fmla="*/ 436 h 694"/>
                <a:gd name="T10" fmla="*/ 38 w 449"/>
                <a:gd name="T11" fmla="*/ 293 h 694"/>
                <a:gd name="T12" fmla="*/ 44 w 449"/>
                <a:gd name="T13" fmla="*/ 251 h 694"/>
                <a:gd name="T14" fmla="*/ 36 w 449"/>
                <a:gd name="T15" fmla="*/ 202 h 694"/>
                <a:gd name="T16" fmla="*/ 17 w 449"/>
                <a:gd name="T17" fmla="*/ 162 h 694"/>
                <a:gd name="T18" fmla="*/ 6 w 449"/>
                <a:gd name="T19" fmla="*/ 124 h 694"/>
                <a:gd name="T20" fmla="*/ 42 w 449"/>
                <a:gd name="T21" fmla="*/ 20 h 694"/>
                <a:gd name="T22" fmla="*/ 138 w 449"/>
                <a:gd name="T23" fmla="*/ 85 h 694"/>
                <a:gd name="T24" fmla="*/ 176 w 449"/>
                <a:gd name="T25" fmla="*/ 157 h 694"/>
                <a:gd name="T26" fmla="*/ 254 w 449"/>
                <a:gd name="T27" fmla="*/ 198 h 694"/>
                <a:gd name="T28" fmla="*/ 317 w 449"/>
                <a:gd name="T29" fmla="*/ 306 h 694"/>
                <a:gd name="T30" fmla="*/ 318 w 449"/>
                <a:gd name="T31" fmla="*/ 381 h 694"/>
                <a:gd name="T32" fmla="*/ 389 w 449"/>
                <a:gd name="T33" fmla="*/ 424 h 694"/>
                <a:gd name="T34" fmla="*/ 449 w 449"/>
                <a:gd name="T35" fmla="*/ 534 h 694"/>
                <a:gd name="T36" fmla="*/ 324 w 449"/>
                <a:gd name="T37" fmla="*/ 694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9" h="694">
                  <a:moveTo>
                    <a:pt x="324" y="694"/>
                  </a:moveTo>
                  <a:cubicBezTo>
                    <a:pt x="175" y="662"/>
                    <a:pt x="175" y="662"/>
                    <a:pt x="175" y="662"/>
                  </a:cubicBezTo>
                  <a:cubicBezTo>
                    <a:pt x="158" y="646"/>
                    <a:pt x="145" y="627"/>
                    <a:pt x="139" y="603"/>
                  </a:cubicBezTo>
                  <a:cubicBezTo>
                    <a:pt x="131" y="576"/>
                    <a:pt x="134" y="548"/>
                    <a:pt x="132" y="520"/>
                  </a:cubicBezTo>
                  <a:cubicBezTo>
                    <a:pt x="129" y="485"/>
                    <a:pt x="112" y="463"/>
                    <a:pt x="90" y="436"/>
                  </a:cubicBezTo>
                  <a:cubicBezTo>
                    <a:pt x="57" y="397"/>
                    <a:pt x="33" y="346"/>
                    <a:pt x="38" y="293"/>
                  </a:cubicBezTo>
                  <a:cubicBezTo>
                    <a:pt x="39" y="279"/>
                    <a:pt x="43" y="265"/>
                    <a:pt x="44" y="251"/>
                  </a:cubicBezTo>
                  <a:cubicBezTo>
                    <a:pt x="46" y="235"/>
                    <a:pt x="41" y="217"/>
                    <a:pt x="36" y="202"/>
                  </a:cubicBezTo>
                  <a:cubicBezTo>
                    <a:pt x="31" y="188"/>
                    <a:pt x="23" y="175"/>
                    <a:pt x="17" y="162"/>
                  </a:cubicBezTo>
                  <a:cubicBezTo>
                    <a:pt x="12" y="150"/>
                    <a:pt x="8" y="137"/>
                    <a:pt x="6" y="124"/>
                  </a:cubicBezTo>
                  <a:cubicBezTo>
                    <a:pt x="0" y="89"/>
                    <a:pt x="4" y="37"/>
                    <a:pt x="42" y="20"/>
                  </a:cubicBezTo>
                  <a:cubicBezTo>
                    <a:pt x="87" y="0"/>
                    <a:pt x="124" y="49"/>
                    <a:pt x="138" y="85"/>
                  </a:cubicBezTo>
                  <a:cubicBezTo>
                    <a:pt x="149" y="110"/>
                    <a:pt x="156" y="138"/>
                    <a:pt x="176" y="157"/>
                  </a:cubicBezTo>
                  <a:cubicBezTo>
                    <a:pt x="198" y="178"/>
                    <a:pt x="229" y="182"/>
                    <a:pt x="254" y="198"/>
                  </a:cubicBezTo>
                  <a:cubicBezTo>
                    <a:pt x="290" y="222"/>
                    <a:pt x="315" y="263"/>
                    <a:pt x="317" y="306"/>
                  </a:cubicBezTo>
                  <a:cubicBezTo>
                    <a:pt x="318" y="331"/>
                    <a:pt x="308" y="358"/>
                    <a:pt x="318" y="381"/>
                  </a:cubicBezTo>
                  <a:cubicBezTo>
                    <a:pt x="330" y="408"/>
                    <a:pt x="366" y="410"/>
                    <a:pt x="389" y="424"/>
                  </a:cubicBezTo>
                  <a:cubicBezTo>
                    <a:pt x="427" y="447"/>
                    <a:pt x="448" y="490"/>
                    <a:pt x="449" y="534"/>
                  </a:cubicBezTo>
                  <a:cubicBezTo>
                    <a:pt x="448" y="610"/>
                    <a:pt x="393" y="673"/>
                    <a:pt x="324" y="694"/>
                  </a:cubicBezTo>
                </a:path>
              </a:pathLst>
            </a:custGeom>
            <a:gradFill>
              <a:gsLst>
                <a:gs pos="0">
                  <a:srgbClr val="FCD840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6" name="Freeform 12"/>
            <p:cNvSpPr/>
            <p:nvPr/>
          </p:nvSpPr>
          <p:spPr bwMode="auto">
            <a:xfrm>
              <a:off x="6302890" y="3416315"/>
              <a:ext cx="743205" cy="1543328"/>
            </a:xfrm>
            <a:custGeom>
              <a:avLst/>
              <a:gdLst>
                <a:gd name="T0" fmla="*/ 17 w 220"/>
                <a:gd name="T1" fmla="*/ 0 h 457"/>
                <a:gd name="T2" fmla="*/ 12 w 220"/>
                <a:gd name="T3" fmla="*/ 7 h 457"/>
                <a:gd name="T4" fmla="*/ 65 w 220"/>
                <a:gd name="T5" fmla="*/ 118 h 457"/>
                <a:gd name="T6" fmla="*/ 10 w 220"/>
                <a:gd name="T7" fmla="*/ 82 h 457"/>
                <a:gd name="T8" fmla="*/ 7 w 220"/>
                <a:gd name="T9" fmla="*/ 81 h 457"/>
                <a:gd name="T10" fmla="*/ 5 w 220"/>
                <a:gd name="T11" fmla="*/ 91 h 457"/>
                <a:gd name="T12" fmla="*/ 74 w 220"/>
                <a:gd name="T13" fmla="*/ 138 h 457"/>
                <a:gd name="T14" fmla="*/ 120 w 220"/>
                <a:gd name="T15" fmla="*/ 236 h 457"/>
                <a:gd name="T16" fmla="*/ 121 w 220"/>
                <a:gd name="T17" fmla="*/ 237 h 457"/>
                <a:gd name="T18" fmla="*/ 147 w 220"/>
                <a:gd name="T19" fmla="*/ 292 h 457"/>
                <a:gd name="T20" fmla="*/ 29 w 220"/>
                <a:gd name="T21" fmla="*/ 224 h 457"/>
                <a:gd name="T22" fmla="*/ 26 w 220"/>
                <a:gd name="T23" fmla="*/ 223 h 457"/>
                <a:gd name="T24" fmla="*/ 22 w 220"/>
                <a:gd name="T25" fmla="*/ 232 h 457"/>
                <a:gd name="T26" fmla="*/ 153 w 220"/>
                <a:gd name="T27" fmla="*/ 306 h 457"/>
                <a:gd name="T28" fmla="*/ 220 w 220"/>
                <a:gd name="T29" fmla="*/ 446 h 457"/>
                <a:gd name="T30" fmla="*/ 120 w 220"/>
                <a:gd name="T31" fmla="*/ 405 h 457"/>
                <a:gd name="T32" fmla="*/ 118 w 220"/>
                <a:gd name="T33" fmla="*/ 405 h 457"/>
                <a:gd name="T34" fmla="*/ 115 w 220"/>
                <a:gd name="T35" fmla="*/ 414 h 457"/>
                <a:gd name="T36" fmla="*/ 220 w 220"/>
                <a:gd name="T37" fmla="*/ 457 h 457"/>
                <a:gd name="T38" fmla="*/ 220 w 220"/>
                <a:gd name="T39" fmla="*/ 423 h 457"/>
                <a:gd name="T40" fmla="*/ 194 w 220"/>
                <a:gd name="T41" fmla="*/ 369 h 457"/>
                <a:gd name="T42" fmla="*/ 195 w 220"/>
                <a:gd name="T43" fmla="*/ 367 h 457"/>
                <a:gd name="T44" fmla="*/ 220 w 220"/>
                <a:gd name="T45" fmla="*/ 243 h 457"/>
                <a:gd name="T46" fmla="*/ 220 w 220"/>
                <a:gd name="T47" fmla="*/ 208 h 457"/>
                <a:gd name="T48" fmla="*/ 218 w 220"/>
                <a:gd name="T49" fmla="*/ 208 h 457"/>
                <a:gd name="T50" fmla="*/ 213 w 220"/>
                <a:gd name="T51" fmla="*/ 213 h 457"/>
                <a:gd name="T52" fmla="*/ 188 w 220"/>
                <a:gd name="T53" fmla="*/ 355 h 457"/>
                <a:gd name="T54" fmla="*/ 131 w 220"/>
                <a:gd name="T55" fmla="*/ 234 h 457"/>
                <a:gd name="T56" fmla="*/ 149 w 220"/>
                <a:gd name="T57" fmla="*/ 125 h 457"/>
                <a:gd name="T58" fmla="*/ 143 w 220"/>
                <a:gd name="T59" fmla="*/ 118 h 457"/>
                <a:gd name="T60" fmla="*/ 139 w 220"/>
                <a:gd name="T61" fmla="*/ 122 h 457"/>
                <a:gd name="T62" fmla="*/ 124 w 220"/>
                <a:gd name="T63" fmla="*/ 219 h 457"/>
                <a:gd name="T64" fmla="*/ 67 w 220"/>
                <a:gd name="T65" fmla="*/ 98 h 457"/>
                <a:gd name="T66" fmla="*/ 68 w 220"/>
                <a:gd name="T67" fmla="*/ 96 h 457"/>
                <a:gd name="T68" fmla="*/ 84 w 220"/>
                <a:gd name="T69" fmla="*/ 26 h 457"/>
                <a:gd name="T70" fmla="*/ 78 w 220"/>
                <a:gd name="T71" fmla="*/ 20 h 457"/>
                <a:gd name="T72" fmla="*/ 74 w 220"/>
                <a:gd name="T73" fmla="*/ 24 h 457"/>
                <a:gd name="T74" fmla="*/ 60 w 220"/>
                <a:gd name="T75" fmla="*/ 84 h 457"/>
                <a:gd name="T76" fmla="*/ 22 w 220"/>
                <a:gd name="T77" fmla="*/ 3 h 457"/>
                <a:gd name="T78" fmla="*/ 17 w 220"/>
                <a:gd name="T79" fmla="*/ 0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0" h="457">
                  <a:moveTo>
                    <a:pt x="17" y="0"/>
                  </a:moveTo>
                  <a:cubicBezTo>
                    <a:pt x="14" y="0"/>
                    <a:pt x="10" y="3"/>
                    <a:pt x="12" y="7"/>
                  </a:cubicBezTo>
                  <a:cubicBezTo>
                    <a:pt x="30" y="44"/>
                    <a:pt x="47" y="81"/>
                    <a:pt x="65" y="118"/>
                  </a:cubicBezTo>
                  <a:cubicBezTo>
                    <a:pt x="47" y="106"/>
                    <a:pt x="29" y="93"/>
                    <a:pt x="10" y="82"/>
                  </a:cubicBezTo>
                  <a:cubicBezTo>
                    <a:pt x="9" y="81"/>
                    <a:pt x="8" y="81"/>
                    <a:pt x="7" y="81"/>
                  </a:cubicBezTo>
                  <a:cubicBezTo>
                    <a:pt x="3" y="81"/>
                    <a:pt x="0" y="88"/>
                    <a:pt x="5" y="91"/>
                  </a:cubicBezTo>
                  <a:cubicBezTo>
                    <a:pt x="29" y="106"/>
                    <a:pt x="52" y="121"/>
                    <a:pt x="74" y="138"/>
                  </a:cubicBezTo>
                  <a:cubicBezTo>
                    <a:pt x="89" y="170"/>
                    <a:pt x="105" y="203"/>
                    <a:pt x="120" y="236"/>
                  </a:cubicBezTo>
                  <a:cubicBezTo>
                    <a:pt x="120" y="236"/>
                    <a:pt x="120" y="237"/>
                    <a:pt x="121" y="237"/>
                  </a:cubicBezTo>
                  <a:cubicBezTo>
                    <a:pt x="129" y="255"/>
                    <a:pt x="138" y="274"/>
                    <a:pt x="147" y="292"/>
                  </a:cubicBezTo>
                  <a:cubicBezTo>
                    <a:pt x="105" y="274"/>
                    <a:pt x="66" y="251"/>
                    <a:pt x="29" y="224"/>
                  </a:cubicBezTo>
                  <a:cubicBezTo>
                    <a:pt x="28" y="223"/>
                    <a:pt x="27" y="223"/>
                    <a:pt x="26" y="223"/>
                  </a:cubicBezTo>
                  <a:cubicBezTo>
                    <a:pt x="21" y="223"/>
                    <a:pt x="18" y="229"/>
                    <a:pt x="22" y="232"/>
                  </a:cubicBezTo>
                  <a:cubicBezTo>
                    <a:pt x="63" y="262"/>
                    <a:pt x="107" y="287"/>
                    <a:pt x="153" y="306"/>
                  </a:cubicBezTo>
                  <a:cubicBezTo>
                    <a:pt x="175" y="353"/>
                    <a:pt x="198" y="399"/>
                    <a:pt x="220" y="446"/>
                  </a:cubicBezTo>
                  <a:cubicBezTo>
                    <a:pt x="187" y="432"/>
                    <a:pt x="153" y="419"/>
                    <a:pt x="120" y="405"/>
                  </a:cubicBezTo>
                  <a:cubicBezTo>
                    <a:pt x="119" y="405"/>
                    <a:pt x="118" y="405"/>
                    <a:pt x="118" y="405"/>
                  </a:cubicBezTo>
                  <a:cubicBezTo>
                    <a:pt x="113" y="405"/>
                    <a:pt x="110" y="412"/>
                    <a:pt x="115" y="414"/>
                  </a:cubicBezTo>
                  <a:cubicBezTo>
                    <a:pt x="150" y="429"/>
                    <a:pt x="185" y="443"/>
                    <a:pt x="220" y="457"/>
                  </a:cubicBezTo>
                  <a:cubicBezTo>
                    <a:pt x="220" y="423"/>
                    <a:pt x="220" y="423"/>
                    <a:pt x="220" y="423"/>
                  </a:cubicBezTo>
                  <a:cubicBezTo>
                    <a:pt x="212" y="405"/>
                    <a:pt x="203" y="387"/>
                    <a:pt x="194" y="369"/>
                  </a:cubicBezTo>
                  <a:cubicBezTo>
                    <a:pt x="195" y="368"/>
                    <a:pt x="195" y="368"/>
                    <a:pt x="195" y="367"/>
                  </a:cubicBezTo>
                  <a:cubicBezTo>
                    <a:pt x="208" y="327"/>
                    <a:pt x="216" y="285"/>
                    <a:pt x="220" y="243"/>
                  </a:cubicBezTo>
                  <a:cubicBezTo>
                    <a:pt x="220" y="208"/>
                    <a:pt x="220" y="208"/>
                    <a:pt x="220" y="208"/>
                  </a:cubicBezTo>
                  <a:cubicBezTo>
                    <a:pt x="220" y="208"/>
                    <a:pt x="219" y="208"/>
                    <a:pt x="218" y="208"/>
                  </a:cubicBezTo>
                  <a:cubicBezTo>
                    <a:pt x="216" y="208"/>
                    <a:pt x="213" y="210"/>
                    <a:pt x="213" y="213"/>
                  </a:cubicBezTo>
                  <a:cubicBezTo>
                    <a:pt x="210" y="261"/>
                    <a:pt x="202" y="309"/>
                    <a:pt x="188" y="355"/>
                  </a:cubicBezTo>
                  <a:cubicBezTo>
                    <a:pt x="169" y="315"/>
                    <a:pt x="150" y="274"/>
                    <a:pt x="131" y="234"/>
                  </a:cubicBezTo>
                  <a:cubicBezTo>
                    <a:pt x="140" y="198"/>
                    <a:pt x="146" y="162"/>
                    <a:pt x="149" y="125"/>
                  </a:cubicBezTo>
                  <a:cubicBezTo>
                    <a:pt x="149" y="121"/>
                    <a:pt x="146" y="118"/>
                    <a:pt x="143" y="118"/>
                  </a:cubicBezTo>
                  <a:cubicBezTo>
                    <a:pt x="141" y="118"/>
                    <a:pt x="139" y="120"/>
                    <a:pt x="139" y="122"/>
                  </a:cubicBezTo>
                  <a:cubicBezTo>
                    <a:pt x="136" y="155"/>
                    <a:pt x="131" y="187"/>
                    <a:pt x="124" y="219"/>
                  </a:cubicBezTo>
                  <a:cubicBezTo>
                    <a:pt x="105" y="179"/>
                    <a:pt x="86" y="139"/>
                    <a:pt x="67" y="98"/>
                  </a:cubicBezTo>
                  <a:cubicBezTo>
                    <a:pt x="67" y="98"/>
                    <a:pt x="67" y="97"/>
                    <a:pt x="68" y="96"/>
                  </a:cubicBezTo>
                  <a:cubicBezTo>
                    <a:pt x="74" y="73"/>
                    <a:pt x="80" y="50"/>
                    <a:pt x="84" y="26"/>
                  </a:cubicBezTo>
                  <a:cubicBezTo>
                    <a:pt x="85" y="22"/>
                    <a:pt x="81" y="20"/>
                    <a:pt x="78" y="20"/>
                  </a:cubicBezTo>
                  <a:cubicBezTo>
                    <a:pt x="76" y="20"/>
                    <a:pt x="74" y="21"/>
                    <a:pt x="74" y="24"/>
                  </a:cubicBezTo>
                  <a:cubicBezTo>
                    <a:pt x="70" y="44"/>
                    <a:pt x="65" y="64"/>
                    <a:pt x="60" y="84"/>
                  </a:cubicBezTo>
                  <a:cubicBezTo>
                    <a:pt x="47" y="57"/>
                    <a:pt x="35" y="30"/>
                    <a:pt x="22" y="3"/>
                  </a:cubicBezTo>
                  <a:cubicBezTo>
                    <a:pt x="21" y="1"/>
                    <a:pt x="19" y="0"/>
                    <a:pt x="17" y="0"/>
                  </a:cubicBezTo>
                </a:path>
              </a:pathLst>
            </a:custGeom>
            <a:solidFill>
              <a:srgbClr val="E098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7" name="Freeform 13"/>
            <p:cNvSpPr/>
            <p:nvPr/>
          </p:nvSpPr>
          <p:spPr bwMode="auto">
            <a:xfrm>
              <a:off x="7322559" y="2334848"/>
              <a:ext cx="234183" cy="247192"/>
            </a:xfrm>
            <a:custGeom>
              <a:avLst/>
              <a:gdLst>
                <a:gd name="T0" fmla="*/ 0 w 69"/>
                <a:gd name="T1" fmla="*/ 0 h 73"/>
                <a:gd name="T2" fmla="*/ 38 w 69"/>
                <a:gd name="T3" fmla="*/ 29 h 73"/>
                <a:gd name="T4" fmla="*/ 65 w 69"/>
                <a:gd name="T5" fmla="*/ 69 h 73"/>
                <a:gd name="T6" fmla="*/ 9 w 69"/>
                <a:gd name="T7" fmla="*/ 40 h 73"/>
                <a:gd name="T8" fmla="*/ 0 w 69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3">
                  <a:moveTo>
                    <a:pt x="0" y="0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69" y="64"/>
                    <a:pt x="65" y="69"/>
                  </a:cubicBezTo>
                  <a:cubicBezTo>
                    <a:pt x="61" y="73"/>
                    <a:pt x="9" y="40"/>
                    <a:pt x="9" y="4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8" name="Freeform 14"/>
            <p:cNvSpPr/>
            <p:nvPr/>
          </p:nvSpPr>
          <p:spPr bwMode="auto">
            <a:xfrm>
              <a:off x="7322559" y="2334848"/>
              <a:ext cx="219547" cy="234183"/>
            </a:xfrm>
            <a:custGeom>
              <a:avLst/>
              <a:gdLst>
                <a:gd name="T0" fmla="*/ 38 w 65"/>
                <a:gd name="T1" fmla="*/ 29 h 69"/>
                <a:gd name="T2" fmla="*/ 31 w 65"/>
                <a:gd name="T3" fmla="*/ 42 h 69"/>
                <a:gd name="T4" fmla="*/ 65 w 65"/>
                <a:gd name="T5" fmla="*/ 69 h 69"/>
                <a:gd name="T6" fmla="*/ 65 w 65"/>
                <a:gd name="T7" fmla="*/ 69 h 69"/>
                <a:gd name="T8" fmla="*/ 65 w 65"/>
                <a:gd name="T9" fmla="*/ 68 h 69"/>
                <a:gd name="T10" fmla="*/ 38 w 65"/>
                <a:gd name="T11" fmla="*/ 29 h 69"/>
                <a:gd name="T12" fmla="*/ 38 w 65"/>
                <a:gd name="T13" fmla="*/ 29 h 69"/>
                <a:gd name="T14" fmla="*/ 0 w 65"/>
                <a:gd name="T15" fmla="*/ 0 h 69"/>
                <a:gd name="T16" fmla="*/ 5 w 65"/>
                <a:gd name="T17" fmla="*/ 9 h 69"/>
                <a:gd name="T18" fmla="*/ 5 w 65"/>
                <a:gd name="T19" fmla="*/ 9 h 69"/>
                <a:gd name="T20" fmla="*/ 5 w 65"/>
                <a:gd name="T21" fmla="*/ 8 h 69"/>
                <a:gd name="T22" fmla="*/ 5 w 65"/>
                <a:gd name="T23" fmla="*/ 8 h 69"/>
                <a:gd name="T24" fmla="*/ 7 w 65"/>
                <a:gd name="T25" fmla="*/ 6 h 69"/>
                <a:gd name="T26" fmla="*/ 0 w 65"/>
                <a:gd name="T2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9">
                  <a:moveTo>
                    <a:pt x="38" y="29"/>
                  </a:moveTo>
                  <a:cubicBezTo>
                    <a:pt x="31" y="42"/>
                    <a:pt x="31" y="42"/>
                    <a:pt x="31" y="42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moveTo>
                    <a:pt x="0" y="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2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9" name="Freeform 15"/>
            <p:cNvSpPr/>
            <p:nvPr/>
          </p:nvSpPr>
          <p:spPr bwMode="auto">
            <a:xfrm>
              <a:off x="7299792" y="2211252"/>
              <a:ext cx="242315" cy="395183"/>
            </a:xfrm>
            <a:custGeom>
              <a:avLst/>
              <a:gdLst>
                <a:gd name="T0" fmla="*/ 0 w 149"/>
                <a:gd name="T1" fmla="*/ 130 h 243"/>
                <a:gd name="T2" fmla="*/ 93 w 149"/>
                <a:gd name="T3" fmla="*/ 0 h 243"/>
                <a:gd name="T4" fmla="*/ 149 w 149"/>
                <a:gd name="T5" fmla="*/ 29 h 243"/>
                <a:gd name="T6" fmla="*/ 37 w 149"/>
                <a:gd name="T7" fmla="*/ 243 h 243"/>
                <a:gd name="T8" fmla="*/ 0 w 149"/>
                <a:gd name="T9" fmla="*/ 13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243">
                  <a:moveTo>
                    <a:pt x="0" y="130"/>
                  </a:moveTo>
                  <a:lnTo>
                    <a:pt x="93" y="0"/>
                  </a:lnTo>
                  <a:lnTo>
                    <a:pt x="149" y="29"/>
                  </a:lnTo>
                  <a:lnTo>
                    <a:pt x="37" y="243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0" name="Freeform 16"/>
            <p:cNvSpPr/>
            <p:nvPr/>
          </p:nvSpPr>
          <p:spPr bwMode="auto">
            <a:xfrm>
              <a:off x="7299792" y="2211252"/>
              <a:ext cx="242315" cy="395183"/>
            </a:xfrm>
            <a:custGeom>
              <a:avLst/>
              <a:gdLst>
                <a:gd name="T0" fmla="*/ 0 w 149"/>
                <a:gd name="T1" fmla="*/ 130 h 243"/>
                <a:gd name="T2" fmla="*/ 93 w 149"/>
                <a:gd name="T3" fmla="*/ 0 h 243"/>
                <a:gd name="T4" fmla="*/ 149 w 149"/>
                <a:gd name="T5" fmla="*/ 29 h 243"/>
                <a:gd name="T6" fmla="*/ 37 w 149"/>
                <a:gd name="T7" fmla="*/ 243 h 243"/>
                <a:gd name="T8" fmla="*/ 0 w 149"/>
                <a:gd name="T9" fmla="*/ 13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243">
                  <a:moveTo>
                    <a:pt x="0" y="130"/>
                  </a:moveTo>
                  <a:lnTo>
                    <a:pt x="93" y="0"/>
                  </a:lnTo>
                  <a:lnTo>
                    <a:pt x="149" y="29"/>
                  </a:lnTo>
                  <a:lnTo>
                    <a:pt x="37" y="243"/>
                  </a:lnTo>
                  <a:lnTo>
                    <a:pt x="0" y="1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1" name="Freeform 17"/>
            <p:cNvSpPr/>
            <p:nvPr/>
          </p:nvSpPr>
          <p:spPr bwMode="auto">
            <a:xfrm>
              <a:off x="7421761" y="2045373"/>
              <a:ext cx="185394" cy="213041"/>
            </a:xfrm>
            <a:custGeom>
              <a:avLst/>
              <a:gdLst>
                <a:gd name="T0" fmla="*/ 35 w 55"/>
                <a:gd name="T1" fmla="*/ 63 h 63"/>
                <a:gd name="T2" fmla="*/ 49 w 55"/>
                <a:gd name="T3" fmla="*/ 52 h 63"/>
                <a:gd name="T4" fmla="*/ 55 w 55"/>
                <a:gd name="T5" fmla="*/ 30 h 63"/>
                <a:gd name="T6" fmla="*/ 39 w 55"/>
                <a:gd name="T7" fmla="*/ 9 h 63"/>
                <a:gd name="T8" fmla="*/ 18 w 55"/>
                <a:gd name="T9" fmla="*/ 0 h 63"/>
                <a:gd name="T10" fmla="*/ 0 w 55"/>
                <a:gd name="T11" fmla="*/ 18 h 63"/>
                <a:gd name="T12" fmla="*/ 4 w 55"/>
                <a:gd name="T13" fmla="*/ 36 h 63"/>
                <a:gd name="T14" fmla="*/ 9 w 55"/>
                <a:gd name="T15" fmla="*/ 49 h 63"/>
                <a:gd name="T16" fmla="*/ 33 w 55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63">
                  <a:moveTo>
                    <a:pt x="35" y="63"/>
                  </a:moveTo>
                  <a:cubicBezTo>
                    <a:pt x="49" y="52"/>
                    <a:pt x="49" y="52"/>
                    <a:pt x="49" y="52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41" y="9"/>
                    <a:pt x="39" y="9"/>
                  </a:cubicBezTo>
                  <a:cubicBezTo>
                    <a:pt x="38" y="8"/>
                    <a:pt x="18" y="0"/>
                    <a:pt x="18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3" y="63"/>
                    <a:pt x="33" y="63"/>
                    <a:pt x="33" y="63"/>
                  </a:cubicBezTo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2" name="Freeform 18"/>
            <p:cNvSpPr/>
            <p:nvPr/>
          </p:nvSpPr>
          <p:spPr bwMode="auto">
            <a:xfrm>
              <a:off x="7090003" y="1741260"/>
              <a:ext cx="317122" cy="317122"/>
            </a:xfrm>
            <a:custGeom>
              <a:avLst/>
              <a:gdLst>
                <a:gd name="T0" fmla="*/ 0 w 195"/>
                <a:gd name="T1" fmla="*/ 102 h 195"/>
                <a:gd name="T2" fmla="*/ 106 w 195"/>
                <a:gd name="T3" fmla="*/ 0 h 195"/>
                <a:gd name="T4" fmla="*/ 195 w 195"/>
                <a:gd name="T5" fmla="*/ 93 h 195"/>
                <a:gd name="T6" fmla="*/ 89 w 195"/>
                <a:gd name="T7" fmla="*/ 195 h 195"/>
                <a:gd name="T8" fmla="*/ 0 w 195"/>
                <a:gd name="T9" fmla="*/ 10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95">
                  <a:moveTo>
                    <a:pt x="0" y="102"/>
                  </a:moveTo>
                  <a:lnTo>
                    <a:pt x="106" y="0"/>
                  </a:lnTo>
                  <a:lnTo>
                    <a:pt x="195" y="93"/>
                  </a:lnTo>
                  <a:lnTo>
                    <a:pt x="89" y="195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FEB9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3" name="Freeform 19"/>
            <p:cNvSpPr/>
            <p:nvPr/>
          </p:nvSpPr>
          <p:spPr bwMode="auto">
            <a:xfrm>
              <a:off x="7090003" y="1741260"/>
              <a:ext cx="317122" cy="317122"/>
            </a:xfrm>
            <a:custGeom>
              <a:avLst/>
              <a:gdLst>
                <a:gd name="T0" fmla="*/ 0 w 195"/>
                <a:gd name="T1" fmla="*/ 102 h 195"/>
                <a:gd name="T2" fmla="*/ 106 w 195"/>
                <a:gd name="T3" fmla="*/ 0 h 195"/>
                <a:gd name="T4" fmla="*/ 195 w 195"/>
                <a:gd name="T5" fmla="*/ 93 h 195"/>
                <a:gd name="T6" fmla="*/ 89 w 195"/>
                <a:gd name="T7" fmla="*/ 195 h 195"/>
                <a:gd name="T8" fmla="*/ 0 w 195"/>
                <a:gd name="T9" fmla="*/ 10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95">
                  <a:moveTo>
                    <a:pt x="0" y="102"/>
                  </a:moveTo>
                  <a:lnTo>
                    <a:pt x="106" y="0"/>
                  </a:lnTo>
                  <a:lnTo>
                    <a:pt x="195" y="93"/>
                  </a:lnTo>
                  <a:lnTo>
                    <a:pt x="89" y="195"/>
                  </a:lnTo>
                  <a:lnTo>
                    <a:pt x="0" y="1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4" name="Freeform 20"/>
            <p:cNvSpPr/>
            <p:nvPr/>
          </p:nvSpPr>
          <p:spPr bwMode="auto">
            <a:xfrm>
              <a:off x="7205468" y="1859978"/>
              <a:ext cx="417951" cy="427709"/>
            </a:xfrm>
            <a:custGeom>
              <a:avLst/>
              <a:gdLst>
                <a:gd name="T0" fmla="*/ 0 w 124"/>
                <a:gd name="T1" fmla="*/ 53 h 127"/>
                <a:gd name="T2" fmla="*/ 26 w 124"/>
                <a:gd name="T3" fmla="*/ 80 h 127"/>
                <a:gd name="T4" fmla="*/ 51 w 124"/>
                <a:gd name="T5" fmla="*/ 80 h 127"/>
                <a:gd name="T6" fmla="*/ 61 w 124"/>
                <a:gd name="T7" fmla="*/ 80 h 127"/>
                <a:gd name="T8" fmla="*/ 100 w 124"/>
                <a:gd name="T9" fmla="*/ 121 h 127"/>
                <a:gd name="T10" fmla="*/ 119 w 124"/>
                <a:gd name="T11" fmla="*/ 123 h 127"/>
                <a:gd name="T12" fmla="*/ 119 w 124"/>
                <a:gd name="T13" fmla="*/ 104 h 127"/>
                <a:gd name="T14" fmla="*/ 80 w 124"/>
                <a:gd name="T15" fmla="*/ 63 h 127"/>
                <a:gd name="T16" fmla="*/ 80 w 124"/>
                <a:gd name="T17" fmla="*/ 53 h 127"/>
                <a:gd name="T18" fmla="*/ 81 w 124"/>
                <a:gd name="T19" fmla="*/ 27 h 127"/>
                <a:gd name="T20" fmla="*/ 55 w 124"/>
                <a:gd name="T21" fmla="*/ 0 h 127"/>
                <a:gd name="T22" fmla="*/ 55 w 124"/>
                <a:gd name="T23" fmla="*/ 0 h 127"/>
                <a:gd name="T24" fmla="*/ 0 w 124"/>
                <a:gd name="T25" fmla="*/ 53 h 127"/>
                <a:gd name="T26" fmla="*/ 0 w 124"/>
                <a:gd name="T27" fmla="*/ 5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127">
                  <a:moveTo>
                    <a:pt x="0" y="53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33" y="87"/>
                    <a:pt x="44" y="87"/>
                    <a:pt x="51" y="80"/>
                  </a:cubicBezTo>
                  <a:cubicBezTo>
                    <a:pt x="54" y="78"/>
                    <a:pt x="58" y="78"/>
                    <a:pt x="61" y="80"/>
                  </a:cubicBezTo>
                  <a:cubicBezTo>
                    <a:pt x="100" y="121"/>
                    <a:pt x="100" y="121"/>
                    <a:pt x="100" y="121"/>
                  </a:cubicBezTo>
                  <a:cubicBezTo>
                    <a:pt x="105" y="126"/>
                    <a:pt x="113" y="127"/>
                    <a:pt x="119" y="123"/>
                  </a:cubicBezTo>
                  <a:cubicBezTo>
                    <a:pt x="124" y="118"/>
                    <a:pt x="124" y="109"/>
                    <a:pt x="119" y="104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7" y="60"/>
                    <a:pt x="77" y="55"/>
                    <a:pt x="80" y="53"/>
                  </a:cubicBezTo>
                  <a:cubicBezTo>
                    <a:pt x="87" y="46"/>
                    <a:pt x="87" y="34"/>
                    <a:pt x="81" y="2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5" name="Freeform 21"/>
            <p:cNvSpPr/>
            <p:nvPr/>
          </p:nvSpPr>
          <p:spPr bwMode="auto">
            <a:xfrm>
              <a:off x="7205468" y="1859978"/>
              <a:ext cx="185394" cy="178889"/>
            </a:xfrm>
            <a:custGeom>
              <a:avLst/>
              <a:gdLst>
                <a:gd name="T0" fmla="*/ 2 w 114"/>
                <a:gd name="T1" fmla="*/ 106 h 110"/>
                <a:gd name="T2" fmla="*/ 0 w 114"/>
                <a:gd name="T3" fmla="*/ 110 h 110"/>
                <a:gd name="T4" fmla="*/ 0 w 114"/>
                <a:gd name="T5" fmla="*/ 110 h 110"/>
                <a:gd name="T6" fmla="*/ 0 w 114"/>
                <a:gd name="T7" fmla="*/ 110 h 110"/>
                <a:gd name="T8" fmla="*/ 2 w 114"/>
                <a:gd name="T9" fmla="*/ 106 h 110"/>
                <a:gd name="T10" fmla="*/ 2 w 114"/>
                <a:gd name="T11" fmla="*/ 106 h 110"/>
                <a:gd name="T12" fmla="*/ 114 w 114"/>
                <a:gd name="T13" fmla="*/ 0 h 110"/>
                <a:gd name="T14" fmla="*/ 114 w 114"/>
                <a:gd name="T15" fmla="*/ 0 h 110"/>
                <a:gd name="T16" fmla="*/ 114 w 114"/>
                <a:gd name="T17" fmla="*/ 0 h 110"/>
                <a:gd name="T18" fmla="*/ 114 w 114"/>
                <a:gd name="T1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0">
                  <a:moveTo>
                    <a:pt x="2" y="106"/>
                  </a:move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06"/>
                  </a:lnTo>
                  <a:lnTo>
                    <a:pt x="2" y="106"/>
                  </a:lnTo>
                  <a:close/>
                  <a:moveTo>
                    <a:pt x="114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6" name="Freeform 22"/>
            <p:cNvSpPr/>
            <p:nvPr/>
          </p:nvSpPr>
          <p:spPr bwMode="auto">
            <a:xfrm>
              <a:off x="7205468" y="1859978"/>
              <a:ext cx="185394" cy="178889"/>
            </a:xfrm>
            <a:custGeom>
              <a:avLst/>
              <a:gdLst>
                <a:gd name="T0" fmla="*/ 2 w 114"/>
                <a:gd name="T1" fmla="*/ 106 h 110"/>
                <a:gd name="T2" fmla="*/ 0 w 114"/>
                <a:gd name="T3" fmla="*/ 110 h 110"/>
                <a:gd name="T4" fmla="*/ 0 w 114"/>
                <a:gd name="T5" fmla="*/ 110 h 110"/>
                <a:gd name="T6" fmla="*/ 0 w 114"/>
                <a:gd name="T7" fmla="*/ 110 h 110"/>
                <a:gd name="T8" fmla="*/ 2 w 114"/>
                <a:gd name="T9" fmla="*/ 106 h 110"/>
                <a:gd name="T10" fmla="*/ 2 w 114"/>
                <a:gd name="T11" fmla="*/ 106 h 110"/>
                <a:gd name="T12" fmla="*/ 114 w 114"/>
                <a:gd name="T13" fmla="*/ 0 h 110"/>
                <a:gd name="T14" fmla="*/ 114 w 114"/>
                <a:gd name="T15" fmla="*/ 0 h 110"/>
                <a:gd name="T16" fmla="*/ 114 w 114"/>
                <a:gd name="T17" fmla="*/ 0 h 110"/>
                <a:gd name="T18" fmla="*/ 114 w 114"/>
                <a:gd name="T1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0">
                  <a:moveTo>
                    <a:pt x="2" y="106"/>
                  </a:move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06"/>
                  </a:lnTo>
                  <a:lnTo>
                    <a:pt x="2" y="106"/>
                  </a:lnTo>
                  <a:moveTo>
                    <a:pt x="114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7" name="Freeform 23"/>
            <p:cNvSpPr/>
            <p:nvPr/>
          </p:nvSpPr>
          <p:spPr bwMode="auto">
            <a:xfrm>
              <a:off x="7208720" y="1939664"/>
              <a:ext cx="94323" cy="92697"/>
            </a:xfrm>
            <a:custGeom>
              <a:avLst/>
              <a:gdLst>
                <a:gd name="T0" fmla="*/ 58 w 58"/>
                <a:gd name="T1" fmla="*/ 0 h 57"/>
                <a:gd name="T2" fmla="*/ 0 w 58"/>
                <a:gd name="T3" fmla="*/ 57 h 57"/>
                <a:gd name="T4" fmla="*/ 0 w 58"/>
                <a:gd name="T5" fmla="*/ 57 h 57"/>
                <a:gd name="T6" fmla="*/ 58 w 58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7">
                  <a:moveTo>
                    <a:pt x="58" y="0"/>
                  </a:moveTo>
                  <a:lnTo>
                    <a:pt x="0" y="57"/>
                  </a:lnTo>
                  <a:lnTo>
                    <a:pt x="0" y="57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3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8" name="Freeform 24"/>
            <p:cNvSpPr/>
            <p:nvPr/>
          </p:nvSpPr>
          <p:spPr bwMode="auto">
            <a:xfrm>
              <a:off x="7208720" y="1939664"/>
              <a:ext cx="94323" cy="92697"/>
            </a:xfrm>
            <a:custGeom>
              <a:avLst/>
              <a:gdLst>
                <a:gd name="T0" fmla="*/ 58 w 58"/>
                <a:gd name="T1" fmla="*/ 0 h 57"/>
                <a:gd name="T2" fmla="*/ 0 w 58"/>
                <a:gd name="T3" fmla="*/ 57 h 57"/>
                <a:gd name="T4" fmla="*/ 0 w 58"/>
                <a:gd name="T5" fmla="*/ 57 h 57"/>
                <a:gd name="T6" fmla="*/ 58 w 58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7">
                  <a:moveTo>
                    <a:pt x="58" y="0"/>
                  </a:moveTo>
                  <a:lnTo>
                    <a:pt x="0" y="57"/>
                  </a:lnTo>
                  <a:lnTo>
                    <a:pt x="0" y="57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9" name="Freeform 25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60 w 135"/>
                <a:gd name="T3" fmla="*/ 49 h 133"/>
                <a:gd name="T4" fmla="*/ 2 w 135"/>
                <a:gd name="T5" fmla="*/ 106 h 133"/>
                <a:gd name="T6" fmla="*/ 0 w 135"/>
                <a:gd name="T7" fmla="*/ 110 h 133"/>
                <a:gd name="T8" fmla="*/ 0 w 135"/>
                <a:gd name="T9" fmla="*/ 110 h 133"/>
                <a:gd name="T10" fmla="*/ 22 w 135"/>
                <a:gd name="T11" fmla="*/ 133 h 133"/>
                <a:gd name="T12" fmla="*/ 135 w 135"/>
                <a:gd name="T13" fmla="*/ 22 h 133"/>
                <a:gd name="T14" fmla="*/ 114 w 135"/>
                <a:gd name="T15" fmla="*/ 0 h 133"/>
                <a:gd name="T16" fmla="*/ 114 w 135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60" y="49"/>
                  </a:lnTo>
                  <a:lnTo>
                    <a:pt x="2" y="10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0" name="Freeform 26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60 w 135"/>
                <a:gd name="T3" fmla="*/ 49 h 133"/>
                <a:gd name="T4" fmla="*/ 2 w 135"/>
                <a:gd name="T5" fmla="*/ 106 h 133"/>
                <a:gd name="T6" fmla="*/ 0 w 135"/>
                <a:gd name="T7" fmla="*/ 110 h 133"/>
                <a:gd name="T8" fmla="*/ 0 w 135"/>
                <a:gd name="T9" fmla="*/ 110 h 133"/>
                <a:gd name="T10" fmla="*/ 22 w 135"/>
                <a:gd name="T11" fmla="*/ 133 h 133"/>
                <a:gd name="T12" fmla="*/ 135 w 135"/>
                <a:gd name="T13" fmla="*/ 22 h 133"/>
                <a:gd name="T14" fmla="*/ 114 w 135"/>
                <a:gd name="T15" fmla="*/ 0 h 133"/>
                <a:gd name="T16" fmla="*/ 114 w 135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60" y="49"/>
                  </a:lnTo>
                  <a:lnTo>
                    <a:pt x="2" y="10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1" name="Freeform 27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0 w 135"/>
                <a:gd name="T3" fmla="*/ 110 h 133"/>
                <a:gd name="T4" fmla="*/ 22 w 135"/>
                <a:gd name="T5" fmla="*/ 133 h 133"/>
                <a:gd name="T6" fmla="*/ 135 w 135"/>
                <a:gd name="T7" fmla="*/ 22 h 133"/>
                <a:gd name="T8" fmla="*/ 114 w 135"/>
                <a:gd name="T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0D6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2" name="Freeform 28"/>
            <p:cNvSpPr/>
            <p:nvPr/>
          </p:nvSpPr>
          <p:spPr bwMode="auto">
            <a:xfrm>
              <a:off x="7444529" y="2048626"/>
              <a:ext cx="162626" cy="165879"/>
            </a:xfrm>
            <a:custGeom>
              <a:avLst/>
              <a:gdLst>
                <a:gd name="T0" fmla="*/ 10 w 48"/>
                <a:gd name="T1" fmla="*/ 0 h 49"/>
                <a:gd name="T2" fmla="*/ 0 w 48"/>
                <a:gd name="T3" fmla="*/ 10 h 49"/>
                <a:gd name="T4" fmla="*/ 24 w 48"/>
                <a:gd name="T5" fmla="*/ 39 h 49"/>
                <a:gd name="T6" fmla="*/ 44 w 48"/>
                <a:gd name="T7" fmla="*/ 39 h 49"/>
                <a:gd name="T8" fmla="*/ 10 w 48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9">
                  <a:moveTo>
                    <a:pt x="10" y="0"/>
                  </a:moveTo>
                  <a:cubicBezTo>
                    <a:pt x="10" y="0"/>
                    <a:pt x="0" y="4"/>
                    <a:pt x="0" y="10"/>
                  </a:cubicBezTo>
                  <a:cubicBezTo>
                    <a:pt x="0" y="16"/>
                    <a:pt x="24" y="39"/>
                    <a:pt x="24" y="39"/>
                  </a:cubicBezTo>
                  <a:cubicBezTo>
                    <a:pt x="24" y="39"/>
                    <a:pt x="39" y="49"/>
                    <a:pt x="44" y="39"/>
                  </a:cubicBezTo>
                  <a:cubicBezTo>
                    <a:pt x="48" y="29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3" name="Freeform 29"/>
            <p:cNvSpPr/>
            <p:nvPr/>
          </p:nvSpPr>
          <p:spPr bwMode="auto">
            <a:xfrm>
              <a:off x="6623265" y="2334848"/>
              <a:ext cx="918841" cy="834275"/>
            </a:xfrm>
            <a:custGeom>
              <a:avLst/>
              <a:gdLst>
                <a:gd name="T0" fmla="*/ 0 w 272"/>
                <a:gd name="T1" fmla="*/ 102 h 247"/>
                <a:gd name="T2" fmla="*/ 78 w 272"/>
                <a:gd name="T3" fmla="*/ 94 h 247"/>
                <a:gd name="T4" fmla="*/ 151 w 272"/>
                <a:gd name="T5" fmla="*/ 57 h 247"/>
                <a:gd name="T6" fmla="*/ 207 w 272"/>
                <a:gd name="T7" fmla="*/ 0 h 247"/>
                <a:gd name="T8" fmla="*/ 228 w 272"/>
                <a:gd name="T9" fmla="*/ 35 h 247"/>
                <a:gd name="T10" fmla="*/ 272 w 272"/>
                <a:gd name="T11" fmla="*/ 69 h 247"/>
                <a:gd name="T12" fmla="*/ 197 w 272"/>
                <a:gd name="T13" fmla="*/ 156 h 247"/>
                <a:gd name="T14" fmla="*/ 186 w 272"/>
                <a:gd name="T15" fmla="*/ 164 h 247"/>
                <a:gd name="T16" fmla="*/ 138 w 272"/>
                <a:gd name="T17" fmla="*/ 188 h 247"/>
                <a:gd name="T18" fmla="*/ 3 w 272"/>
                <a:gd name="T19" fmla="*/ 247 h 247"/>
                <a:gd name="T20" fmla="*/ 0 w 272"/>
                <a:gd name="T21" fmla="*/ 102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2" h="247">
                  <a:moveTo>
                    <a:pt x="0" y="102"/>
                  </a:moveTo>
                  <a:cubicBezTo>
                    <a:pt x="78" y="94"/>
                    <a:pt x="78" y="94"/>
                    <a:pt x="78" y="94"/>
                  </a:cubicBezTo>
                  <a:cubicBezTo>
                    <a:pt x="151" y="57"/>
                    <a:pt x="151" y="57"/>
                    <a:pt x="151" y="57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28" y="35"/>
                    <a:pt x="228" y="35"/>
                    <a:pt x="228" y="35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194" y="160"/>
                    <a:pt x="190" y="162"/>
                    <a:pt x="186" y="164"/>
                  </a:cubicBezTo>
                  <a:cubicBezTo>
                    <a:pt x="138" y="188"/>
                    <a:pt x="138" y="188"/>
                    <a:pt x="138" y="188"/>
                  </a:cubicBezTo>
                  <a:cubicBezTo>
                    <a:pt x="3" y="247"/>
                    <a:pt x="3" y="247"/>
                    <a:pt x="3" y="247"/>
                  </a:cubicBezTo>
                  <a:cubicBezTo>
                    <a:pt x="0" y="102"/>
                    <a:pt x="0" y="102"/>
                    <a:pt x="0" y="102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4" name="Freeform 30"/>
            <p:cNvSpPr/>
            <p:nvPr/>
          </p:nvSpPr>
          <p:spPr bwMode="auto">
            <a:xfrm>
              <a:off x="6002031" y="3748073"/>
              <a:ext cx="567567" cy="2177573"/>
            </a:xfrm>
            <a:custGeom>
              <a:avLst/>
              <a:gdLst>
                <a:gd name="T0" fmla="*/ 50 w 349"/>
                <a:gd name="T1" fmla="*/ 0 h 1339"/>
                <a:gd name="T2" fmla="*/ 37 w 349"/>
                <a:gd name="T3" fmla="*/ 176 h 1339"/>
                <a:gd name="T4" fmla="*/ 70 w 349"/>
                <a:gd name="T5" fmla="*/ 652 h 1339"/>
                <a:gd name="T6" fmla="*/ 0 w 349"/>
                <a:gd name="T7" fmla="*/ 1339 h 1339"/>
                <a:gd name="T8" fmla="*/ 174 w 349"/>
                <a:gd name="T9" fmla="*/ 1339 h 1339"/>
                <a:gd name="T10" fmla="*/ 72 w 349"/>
                <a:gd name="T11" fmla="*/ 1300 h 1339"/>
                <a:gd name="T12" fmla="*/ 280 w 349"/>
                <a:gd name="T13" fmla="*/ 621 h 1339"/>
                <a:gd name="T14" fmla="*/ 349 w 349"/>
                <a:gd name="T15" fmla="*/ 50 h 1339"/>
                <a:gd name="T16" fmla="*/ 50 w 349"/>
                <a:gd name="T17" fmla="*/ 0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9" h="1339">
                  <a:moveTo>
                    <a:pt x="50" y="0"/>
                  </a:moveTo>
                  <a:lnTo>
                    <a:pt x="37" y="176"/>
                  </a:lnTo>
                  <a:lnTo>
                    <a:pt x="70" y="652"/>
                  </a:lnTo>
                  <a:lnTo>
                    <a:pt x="0" y="1339"/>
                  </a:lnTo>
                  <a:lnTo>
                    <a:pt x="174" y="1339"/>
                  </a:lnTo>
                  <a:lnTo>
                    <a:pt x="72" y="1300"/>
                  </a:lnTo>
                  <a:lnTo>
                    <a:pt x="280" y="621"/>
                  </a:lnTo>
                  <a:lnTo>
                    <a:pt x="349" y="5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5" name="Freeform 31"/>
            <p:cNvSpPr/>
            <p:nvPr/>
          </p:nvSpPr>
          <p:spPr bwMode="auto">
            <a:xfrm>
              <a:off x="6403718" y="3780599"/>
              <a:ext cx="686285" cy="2162936"/>
            </a:xfrm>
            <a:custGeom>
              <a:avLst/>
              <a:gdLst>
                <a:gd name="T0" fmla="*/ 0 w 422"/>
                <a:gd name="T1" fmla="*/ 40 h 1330"/>
                <a:gd name="T2" fmla="*/ 160 w 422"/>
                <a:gd name="T3" fmla="*/ 665 h 1330"/>
                <a:gd name="T4" fmla="*/ 254 w 422"/>
                <a:gd name="T5" fmla="*/ 1330 h 1330"/>
                <a:gd name="T6" fmla="*/ 422 w 422"/>
                <a:gd name="T7" fmla="*/ 1294 h 1330"/>
                <a:gd name="T8" fmla="*/ 301 w 422"/>
                <a:gd name="T9" fmla="*/ 1265 h 1330"/>
                <a:gd name="T10" fmla="*/ 353 w 422"/>
                <a:gd name="T11" fmla="*/ 565 h 1330"/>
                <a:gd name="T12" fmla="*/ 306 w 422"/>
                <a:gd name="T13" fmla="*/ 0 h 1330"/>
                <a:gd name="T14" fmla="*/ 0 w 422"/>
                <a:gd name="T15" fmla="*/ 40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2" h="1330">
                  <a:moveTo>
                    <a:pt x="0" y="40"/>
                  </a:moveTo>
                  <a:lnTo>
                    <a:pt x="160" y="665"/>
                  </a:lnTo>
                  <a:lnTo>
                    <a:pt x="254" y="1330"/>
                  </a:lnTo>
                  <a:lnTo>
                    <a:pt x="422" y="1294"/>
                  </a:lnTo>
                  <a:lnTo>
                    <a:pt x="301" y="1265"/>
                  </a:lnTo>
                  <a:lnTo>
                    <a:pt x="353" y="565"/>
                  </a:lnTo>
                  <a:lnTo>
                    <a:pt x="306" y="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6" name="Freeform 32"/>
            <p:cNvSpPr/>
            <p:nvPr/>
          </p:nvSpPr>
          <p:spPr bwMode="auto">
            <a:xfrm>
              <a:off x="6042686" y="2653597"/>
              <a:ext cx="894447" cy="1401842"/>
            </a:xfrm>
            <a:custGeom>
              <a:avLst/>
              <a:gdLst>
                <a:gd name="T0" fmla="*/ 390 w 550"/>
                <a:gd name="T1" fmla="*/ 31 h 862"/>
                <a:gd name="T2" fmla="*/ 461 w 550"/>
                <a:gd name="T3" fmla="*/ 72 h 862"/>
                <a:gd name="T4" fmla="*/ 523 w 550"/>
                <a:gd name="T5" fmla="*/ 401 h 862"/>
                <a:gd name="T6" fmla="*/ 550 w 550"/>
                <a:gd name="T7" fmla="*/ 816 h 862"/>
                <a:gd name="T8" fmla="*/ 266 w 550"/>
                <a:gd name="T9" fmla="*/ 862 h 862"/>
                <a:gd name="T10" fmla="*/ 0 w 550"/>
                <a:gd name="T11" fmla="*/ 781 h 862"/>
                <a:gd name="T12" fmla="*/ 68 w 550"/>
                <a:gd name="T13" fmla="*/ 349 h 862"/>
                <a:gd name="T14" fmla="*/ 120 w 550"/>
                <a:gd name="T15" fmla="*/ 85 h 862"/>
                <a:gd name="T16" fmla="*/ 203 w 550"/>
                <a:gd name="T17" fmla="*/ 0 h 862"/>
                <a:gd name="T18" fmla="*/ 297 w 550"/>
                <a:gd name="T19" fmla="*/ 0 h 862"/>
                <a:gd name="T20" fmla="*/ 390 w 550"/>
                <a:gd name="T21" fmla="*/ 31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0" h="862">
                  <a:moveTo>
                    <a:pt x="390" y="31"/>
                  </a:moveTo>
                  <a:lnTo>
                    <a:pt x="461" y="72"/>
                  </a:lnTo>
                  <a:lnTo>
                    <a:pt x="523" y="401"/>
                  </a:lnTo>
                  <a:lnTo>
                    <a:pt x="550" y="816"/>
                  </a:lnTo>
                  <a:lnTo>
                    <a:pt x="266" y="862"/>
                  </a:lnTo>
                  <a:lnTo>
                    <a:pt x="0" y="781"/>
                  </a:lnTo>
                  <a:lnTo>
                    <a:pt x="68" y="349"/>
                  </a:lnTo>
                  <a:lnTo>
                    <a:pt x="120" y="85"/>
                  </a:lnTo>
                  <a:lnTo>
                    <a:pt x="203" y="0"/>
                  </a:lnTo>
                  <a:lnTo>
                    <a:pt x="297" y="0"/>
                  </a:lnTo>
                  <a:lnTo>
                    <a:pt x="390" y="31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7" name="Freeform 34"/>
            <p:cNvSpPr/>
            <p:nvPr/>
          </p:nvSpPr>
          <p:spPr bwMode="auto">
            <a:xfrm>
              <a:off x="6068707" y="3318739"/>
              <a:ext cx="118718" cy="341517"/>
            </a:xfrm>
            <a:custGeom>
              <a:avLst/>
              <a:gdLst>
                <a:gd name="T0" fmla="*/ 0 w 73"/>
                <a:gd name="T1" fmla="*/ 185 h 210"/>
                <a:gd name="T2" fmla="*/ 0 w 73"/>
                <a:gd name="T3" fmla="*/ 54 h 210"/>
                <a:gd name="T4" fmla="*/ 31 w 73"/>
                <a:gd name="T5" fmla="*/ 21 h 210"/>
                <a:gd name="T6" fmla="*/ 71 w 73"/>
                <a:gd name="T7" fmla="*/ 0 h 210"/>
                <a:gd name="T8" fmla="*/ 73 w 73"/>
                <a:gd name="T9" fmla="*/ 112 h 210"/>
                <a:gd name="T10" fmla="*/ 11 w 73"/>
                <a:gd name="T11" fmla="*/ 210 h 210"/>
                <a:gd name="T12" fmla="*/ 0 w 73"/>
                <a:gd name="T13" fmla="*/ 18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210">
                  <a:moveTo>
                    <a:pt x="0" y="185"/>
                  </a:moveTo>
                  <a:lnTo>
                    <a:pt x="0" y="54"/>
                  </a:lnTo>
                  <a:lnTo>
                    <a:pt x="31" y="21"/>
                  </a:lnTo>
                  <a:lnTo>
                    <a:pt x="71" y="0"/>
                  </a:lnTo>
                  <a:lnTo>
                    <a:pt x="73" y="112"/>
                  </a:lnTo>
                  <a:lnTo>
                    <a:pt x="11" y="21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0024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8" name="Freeform 35"/>
            <p:cNvSpPr/>
            <p:nvPr/>
          </p:nvSpPr>
          <p:spPr bwMode="auto">
            <a:xfrm>
              <a:off x="7340448" y="2362494"/>
              <a:ext cx="0" cy="3253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9" name="Freeform 36"/>
            <p:cNvSpPr/>
            <p:nvPr/>
          </p:nvSpPr>
          <p:spPr bwMode="auto">
            <a:xfrm>
              <a:off x="7340448" y="2362494"/>
              <a:ext cx="0" cy="3253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0" name="Freeform 37"/>
            <p:cNvSpPr/>
            <p:nvPr/>
          </p:nvSpPr>
          <p:spPr bwMode="auto">
            <a:xfrm>
              <a:off x="7340448" y="2362494"/>
              <a:ext cx="104081" cy="115465"/>
            </a:xfrm>
            <a:custGeom>
              <a:avLst/>
              <a:gdLst>
                <a:gd name="T0" fmla="*/ 0 w 64"/>
                <a:gd name="T1" fmla="*/ 0 h 71"/>
                <a:gd name="T2" fmla="*/ 0 w 64"/>
                <a:gd name="T3" fmla="*/ 2 h 71"/>
                <a:gd name="T4" fmla="*/ 33 w 64"/>
                <a:gd name="T5" fmla="*/ 56 h 71"/>
                <a:gd name="T6" fmla="*/ 54 w 64"/>
                <a:gd name="T7" fmla="*/ 71 h 71"/>
                <a:gd name="T8" fmla="*/ 64 w 64"/>
                <a:gd name="T9" fmla="*/ 50 h 71"/>
                <a:gd name="T10" fmla="*/ 0 w 64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71">
                  <a:moveTo>
                    <a:pt x="0" y="0"/>
                  </a:moveTo>
                  <a:lnTo>
                    <a:pt x="0" y="2"/>
                  </a:lnTo>
                  <a:lnTo>
                    <a:pt x="33" y="56"/>
                  </a:lnTo>
                  <a:lnTo>
                    <a:pt x="54" y="71"/>
                  </a:lnTo>
                  <a:lnTo>
                    <a:pt x="64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A2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1" name="Freeform 39"/>
            <p:cNvSpPr/>
            <p:nvPr/>
          </p:nvSpPr>
          <p:spPr bwMode="auto">
            <a:xfrm>
              <a:off x="6387455" y="2390140"/>
              <a:ext cx="330133" cy="427709"/>
            </a:xfrm>
            <a:custGeom>
              <a:avLst/>
              <a:gdLst>
                <a:gd name="T0" fmla="*/ 85 w 98"/>
                <a:gd name="T1" fmla="*/ 33 h 127"/>
                <a:gd name="T2" fmla="*/ 73 w 98"/>
                <a:gd name="T3" fmla="*/ 63 h 127"/>
                <a:gd name="T4" fmla="*/ 82 w 98"/>
                <a:gd name="T5" fmla="*/ 78 h 127"/>
                <a:gd name="T6" fmla="*/ 93 w 98"/>
                <a:gd name="T7" fmla="*/ 84 h 127"/>
                <a:gd name="T8" fmla="*/ 0 w 98"/>
                <a:gd name="T9" fmla="*/ 71 h 127"/>
                <a:gd name="T10" fmla="*/ 25 w 98"/>
                <a:gd name="T11" fmla="*/ 56 h 127"/>
                <a:gd name="T12" fmla="*/ 43 w 98"/>
                <a:gd name="T13" fmla="*/ 0 h 127"/>
                <a:gd name="T14" fmla="*/ 85 w 98"/>
                <a:gd name="T15" fmla="*/ 3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127">
                  <a:moveTo>
                    <a:pt x="85" y="33"/>
                  </a:moveTo>
                  <a:cubicBezTo>
                    <a:pt x="85" y="33"/>
                    <a:pt x="67" y="33"/>
                    <a:pt x="73" y="63"/>
                  </a:cubicBezTo>
                  <a:cubicBezTo>
                    <a:pt x="74" y="69"/>
                    <a:pt x="77" y="74"/>
                    <a:pt x="82" y="78"/>
                  </a:cubicBezTo>
                  <a:cubicBezTo>
                    <a:pt x="85" y="79"/>
                    <a:pt x="88" y="82"/>
                    <a:pt x="93" y="84"/>
                  </a:cubicBezTo>
                  <a:cubicBezTo>
                    <a:pt x="93" y="84"/>
                    <a:pt x="98" y="127"/>
                    <a:pt x="0" y="71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46" y="33"/>
                    <a:pt x="43" y="0"/>
                  </a:cubicBezTo>
                  <a:lnTo>
                    <a:pt x="85" y="33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2" name="Freeform 40"/>
            <p:cNvSpPr/>
            <p:nvPr/>
          </p:nvSpPr>
          <p:spPr bwMode="auto">
            <a:xfrm>
              <a:off x="6515931" y="2390140"/>
              <a:ext cx="147990" cy="201657"/>
            </a:xfrm>
            <a:custGeom>
              <a:avLst/>
              <a:gdLst>
                <a:gd name="T0" fmla="*/ 0 w 44"/>
                <a:gd name="T1" fmla="*/ 33 h 60"/>
                <a:gd name="T2" fmla="*/ 5 w 44"/>
                <a:gd name="T3" fmla="*/ 0 h 60"/>
                <a:gd name="T4" fmla="*/ 29 w 44"/>
                <a:gd name="T5" fmla="*/ 20 h 60"/>
                <a:gd name="T6" fmla="*/ 44 w 44"/>
                <a:gd name="T7" fmla="*/ 37 h 60"/>
                <a:gd name="T8" fmla="*/ 34 w 44"/>
                <a:gd name="T9" fmla="*/ 60 h 60"/>
                <a:gd name="T10" fmla="*/ 0 w 44"/>
                <a:gd name="T11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0">
                  <a:moveTo>
                    <a:pt x="0" y="33"/>
                  </a:moveTo>
                  <a:cubicBezTo>
                    <a:pt x="4" y="24"/>
                    <a:pt x="6" y="13"/>
                    <a:pt x="5" y="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39" y="41"/>
                    <a:pt x="32" y="48"/>
                    <a:pt x="34" y="60"/>
                  </a:cubicBezTo>
                  <a:cubicBezTo>
                    <a:pt x="24" y="56"/>
                    <a:pt x="6" y="45"/>
                    <a:pt x="0" y="33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3" name="Freeform 41"/>
            <p:cNvSpPr/>
            <p:nvPr/>
          </p:nvSpPr>
          <p:spPr bwMode="auto">
            <a:xfrm>
              <a:off x="6494789" y="2115302"/>
              <a:ext cx="328506" cy="483001"/>
            </a:xfrm>
            <a:custGeom>
              <a:avLst/>
              <a:gdLst>
                <a:gd name="T0" fmla="*/ 88 w 97"/>
                <a:gd name="T1" fmla="*/ 16 h 143"/>
                <a:gd name="T2" fmla="*/ 94 w 97"/>
                <a:gd name="T3" fmla="*/ 30 h 143"/>
                <a:gd name="T4" fmla="*/ 95 w 97"/>
                <a:gd name="T5" fmla="*/ 81 h 143"/>
                <a:gd name="T6" fmla="*/ 61 w 97"/>
                <a:gd name="T7" fmla="*/ 143 h 143"/>
                <a:gd name="T8" fmla="*/ 17 w 97"/>
                <a:gd name="T9" fmla="*/ 102 h 143"/>
                <a:gd name="T10" fmla="*/ 11 w 97"/>
                <a:gd name="T11" fmla="*/ 26 h 143"/>
                <a:gd name="T12" fmla="*/ 51 w 97"/>
                <a:gd name="T13" fmla="*/ 3 h 143"/>
                <a:gd name="T14" fmla="*/ 88 w 97"/>
                <a:gd name="T15" fmla="*/ 1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43">
                  <a:moveTo>
                    <a:pt x="88" y="16"/>
                  </a:moveTo>
                  <a:cubicBezTo>
                    <a:pt x="91" y="20"/>
                    <a:pt x="92" y="25"/>
                    <a:pt x="94" y="30"/>
                  </a:cubicBezTo>
                  <a:cubicBezTo>
                    <a:pt x="97" y="40"/>
                    <a:pt x="94" y="68"/>
                    <a:pt x="95" y="81"/>
                  </a:cubicBezTo>
                  <a:cubicBezTo>
                    <a:pt x="97" y="98"/>
                    <a:pt x="71" y="143"/>
                    <a:pt x="61" y="143"/>
                  </a:cubicBezTo>
                  <a:cubicBezTo>
                    <a:pt x="58" y="143"/>
                    <a:pt x="31" y="134"/>
                    <a:pt x="17" y="102"/>
                  </a:cubicBezTo>
                  <a:cubicBezTo>
                    <a:pt x="0" y="62"/>
                    <a:pt x="11" y="26"/>
                    <a:pt x="11" y="26"/>
                  </a:cubicBezTo>
                  <a:cubicBezTo>
                    <a:pt x="11" y="26"/>
                    <a:pt x="30" y="3"/>
                    <a:pt x="51" y="3"/>
                  </a:cubicBezTo>
                  <a:cubicBezTo>
                    <a:pt x="64" y="3"/>
                    <a:pt x="75" y="0"/>
                    <a:pt x="88" y="16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4" name="Freeform 42"/>
            <p:cNvSpPr/>
            <p:nvPr/>
          </p:nvSpPr>
          <p:spPr bwMode="auto">
            <a:xfrm>
              <a:off x="6447627" y="2251908"/>
              <a:ext cx="162626" cy="245567"/>
            </a:xfrm>
            <a:custGeom>
              <a:avLst/>
              <a:gdLst>
                <a:gd name="T0" fmla="*/ 30 w 48"/>
                <a:gd name="T1" fmla="*/ 20 h 73"/>
                <a:gd name="T2" fmla="*/ 9 w 48"/>
                <a:gd name="T3" fmla="*/ 14 h 73"/>
                <a:gd name="T4" fmla="*/ 36 w 48"/>
                <a:gd name="T5" fmla="*/ 37 h 73"/>
                <a:gd name="T6" fmla="*/ 30 w 48"/>
                <a:gd name="T7" fmla="*/ 2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73">
                  <a:moveTo>
                    <a:pt x="30" y="20"/>
                  </a:moveTo>
                  <a:cubicBezTo>
                    <a:pt x="30" y="20"/>
                    <a:pt x="18" y="2"/>
                    <a:pt x="9" y="14"/>
                  </a:cubicBezTo>
                  <a:cubicBezTo>
                    <a:pt x="0" y="25"/>
                    <a:pt x="24" y="73"/>
                    <a:pt x="36" y="37"/>
                  </a:cubicBezTo>
                  <a:cubicBezTo>
                    <a:pt x="48" y="0"/>
                    <a:pt x="30" y="20"/>
                    <a:pt x="30" y="20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5" name="Freeform 43"/>
            <p:cNvSpPr/>
            <p:nvPr/>
          </p:nvSpPr>
          <p:spPr bwMode="auto">
            <a:xfrm>
              <a:off x="6732224" y="2211252"/>
              <a:ext cx="76435" cy="40657"/>
            </a:xfrm>
            <a:custGeom>
              <a:avLst/>
              <a:gdLst>
                <a:gd name="T0" fmla="*/ 22 w 23"/>
                <a:gd name="T1" fmla="*/ 10 h 12"/>
                <a:gd name="T2" fmla="*/ 5 w 23"/>
                <a:gd name="T3" fmla="*/ 4 h 12"/>
                <a:gd name="T4" fmla="*/ 6 w 23"/>
                <a:gd name="T5" fmla="*/ 9 h 12"/>
                <a:gd name="T6" fmla="*/ 22 w 23"/>
                <a:gd name="T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2">
                  <a:moveTo>
                    <a:pt x="22" y="10"/>
                  </a:moveTo>
                  <a:cubicBezTo>
                    <a:pt x="23" y="8"/>
                    <a:pt x="10" y="0"/>
                    <a:pt x="5" y="4"/>
                  </a:cubicBezTo>
                  <a:cubicBezTo>
                    <a:pt x="0" y="7"/>
                    <a:pt x="4" y="11"/>
                    <a:pt x="6" y="9"/>
                  </a:cubicBezTo>
                  <a:cubicBezTo>
                    <a:pt x="10" y="6"/>
                    <a:pt x="21" y="12"/>
                    <a:pt x="22" y="10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6" name="Freeform 44"/>
            <p:cNvSpPr/>
            <p:nvPr/>
          </p:nvSpPr>
          <p:spPr bwMode="auto">
            <a:xfrm>
              <a:off x="6603750" y="2221009"/>
              <a:ext cx="81313" cy="47162"/>
            </a:xfrm>
            <a:custGeom>
              <a:avLst/>
              <a:gdLst>
                <a:gd name="T0" fmla="*/ 2 w 24"/>
                <a:gd name="T1" fmla="*/ 13 h 14"/>
                <a:gd name="T2" fmla="*/ 18 w 24"/>
                <a:gd name="T3" fmla="*/ 3 h 14"/>
                <a:gd name="T4" fmla="*/ 18 w 24"/>
                <a:gd name="T5" fmla="*/ 9 h 14"/>
                <a:gd name="T6" fmla="*/ 2 w 24"/>
                <a:gd name="T7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2" y="13"/>
                  </a:moveTo>
                  <a:cubicBezTo>
                    <a:pt x="0" y="12"/>
                    <a:pt x="12" y="0"/>
                    <a:pt x="18" y="3"/>
                  </a:cubicBezTo>
                  <a:cubicBezTo>
                    <a:pt x="24" y="5"/>
                    <a:pt x="21" y="10"/>
                    <a:pt x="18" y="9"/>
                  </a:cubicBezTo>
                  <a:cubicBezTo>
                    <a:pt x="13" y="6"/>
                    <a:pt x="3" y="14"/>
                    <a:pt x="2" y="13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7" name="Freeform 45"/>
            <p:cNvSpPr/>
            <p:nvPr/>
          </p:nvSpPr>
          <p:spPr bwMode="auto">
            <a:xfrm>
              <a:off x="6748486" y="2258413"/>
              <a:ext cx="34152" cy="43909"/>
            </a:xfrm>
            <a:custGeom>
              <a:avLst/>
              <a:gdLst>
                <a:gd name="T0" fmla="*/ 10 w 10"/>
                <a:gd name="T1" fmla="*/ 6 h 13"/>
                <a:gd name="T2" fmla="*/ 5 w 10"/>
                <a:gd name="T3" fmla="*/ 2 h 13"/>
                <a:gd name="T4" fmla="*/ 4 w 10"/>
                <a:gd name="T5" fmla="*/ 11 h 13"/>
                <a:gd name="T6" fmla="*/ 1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10" y="6"/>
                  </a:moveTo>
                  <a:cubicBezTo>
                    <a:pt x="10" y="6"/>
                    <a:pt x="8" y="0"/>
                    <a:pt x="5" y="2"/>
                  </a:cubicBezTo>
                  <a:cubicBezTo>
                    <a:pt x="1" y="3"/>
                    <a:pt x="0" y="9"/>
                    <a:pt x="4" y="11"/>
                  </a:cubicBezTo>
                  <a:cubicBezTo>
                    <a:pt x="8" y="13"/>
                    <a:pt x="10" y="9"/>
                    <a:pt x="1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8" name="Freeform 46"/>
            <p:cNvSpPr/>
            <p:nvPr/>
          </p:nvSpPr>
          <p:spPr bwMode="auto">
            <a:xfrm>
              <a:off x="6626517" y="2268171"/>
              <a:ext cx="34152" cy="43909"/>
            </a:xfrm>
            <a:custGeom>
              <a:avLst/>
              <a:gdLst>
                <a:gd name="T0" fmla="*/ 10 w 10"/>
                <a:gd name="T1" fmla="*/ 6 h 13"/>
                <a:gd name="T2" fmla="*/ 5 w 10"/>
                <a:gd name="T3" fmla="*/ 1 h 13"/>
                <a:gd name="T4" fmla="*/ 4 w 10"/>
                <a:gd name="T5" fmla="*/ 10 h 13"/>
                <a:gd name="T6" fmla="*/ 1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10" y="6"/>
                  </a:moveTo>
                  <a:cubicBezTo>
                    <a:pt x="10" y="6"/>
                    <a:pt x="8" y="0"/>
                    <a:pt x="5" y="1"/>
                  </a:cubicBezTo>
                  <a:cubicBezTo>
                    <a:pt x="2" y="3"/>
                    <a:pt x="0" y="8"/>
                    <a:pt x="4" y="10"/>
                  </a:cubicBezTo>
                  <a:cubicBezTo>
                    <a:pt x="8" y="13"/>
                    <a:pt x="10" y="8"/>
                    <a:pt x="1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9" name="Freeform 47"/>
            <p:cNvSpPr/>
            <p:nvPr/>
          </p:nvSpPr>
          <p:spPr bwMode="auto">
            <a:xfrm>
              <a:off x="6694820" y="2295818"/>
              <a:ext cx="97575" cy="126848"/>
            </a:xfrm>
            <a:custGeom>
              <a:avLst/>
              <a:gdLst>
                <a:gd name="T0" fmla="*/ 6 w 29"/>
                <a:gd name="T1" fmla="*/ 0 h 38"/>
                <a:gd name="T2" fmla="*/ 14 w 29"/>
                <a:gd name="T3" fmla="*/ 17 h 38"/>
                <a:gd name="T4" fmla="*/ 16 w 29"/>
                <a:gd name="T5" fmla="*/ 33 h 38"/>
                <a:gd name="T6" fmla="*/ 6 w 29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8">
                  <a:moveTo>
                    <a:pt x="6" y="0"/>
                  </a:moveTo>
                  <a:cubicBezTo>
                    <a:pt x="6" y="0"/>
                    <a:pt x="6" y="10"/>
                    <a:pt x="14" y="17"/>
                  </a:cubicBezTo>
                  <a:cubicBezTo>
                    <a:pt x="18" y="22"/>
                    <a:pt x="29" y="29"/>
                    <a:pt x="16" y="33"/>
                  </a:cubicBezTo>
                  <a:cubicBezTo>
                    <a:pt x="0" y="38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DD9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0" name="Freeform 48"/>
            <p:cNvSpPr/>
            <p:nvPr/>
          </p:nvSpPr>
          <p:spPr bwMode="auto">
            <a:xfrm>
              <a:off x="6654163" y="2443807"/>
              <a:ext cx="113839" cy="63424"/>
            </a:xfrm>
            <a:custGeom>
              <a:avLst/>
              <a:gdLst>
                <a:gd name="T0" fmla="*/ 34 w 34"/>
                <a:gd name="T1" fmla="*/ 4 h 19"/>
                <a:gd name="T2" fmla="*/ 0 w 34"/>
                <a:gd name="T3" fmla="*/ 0 h 19"/>
                <a:gd name="T4" fmla="*/ 13 w 34"/>
                <a:gd name="T5" fmla="*/ 16 h 19"/>
                <a:gd name="T6" fmla="*/ 34 w 34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19">
                  <a:moveTo>
                    <a:pt x="34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4"/>
                    <a:pt x="13" y="16"/>
                  </a:cubicBezTo>
                  <a:cubicBezTo>
                    <a:pt x="25" y="19"/>
                    <a:pt x="34" y="4"/>
                    <a:pt x="34" y="4"/>
                  </a:cubicBezTo>
                  <a:close/>
                </a:path>
              </a:pathLst>
            </a:custGeom>
            <a:solidFill>
              <a:srgbClr val="A574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1" name="Freeform 49"/>
            <p:cNvSpPr/>
            <p:nvPr/>
          </p:nvSpPr>
          <p:spPr bwMode="auto">
            <a:xfrm>
              <a:off x="6667173" y="2447060"/>
              <a:ext cx="81313" cy="30899"/>
            </a:xfrm>
            <a:custGeom>
              <a:avLst/>
              <a:gdLst>
                <a:gd name="T0" fmla="*/ 24 w 24"/>
                <a:gd name="T1" fmla="*/ 2 h 9"/>
                <a:gd name="T2" fmla="*/ 11 w 24"/>
                <a:gd name="T3" fmla="*/ 7 h 9"/>
                <a:gd name="T4" fmla="*/ 0 w 24"/>
                <a:gd name="T5" fmla="*/ 0 h 9"/>
                <a:gd name="T6" fmla="*/ 24 w 24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9">
                  <a:moveTo>
                    <a:pt x="24" y="2"/>
                  </a:moveTo>
                  <a:cubicBezTo>
                    <a:pt x="24" y="2"/>
                    <a:pt x="21" y="9"/>
                    <a:pt x="11" y="7"/>
                  </a:cubicBezTo>
                  <a:cubicBezTo>
                    <a:pt x="1" y="6"/>
                    <a:pt x="0" y="0"/>
                    <a:pt x="0" y="0"/>
                  </a:cubicBezTo>
                  <a:lnTo>
                    <a:pt x="24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2" name="Freeform 50"/>
            <p:cNvSpPr/>
            <p:nvPr/>
          </p:nvSpPr>
          <p:spPr bwMode="auto">
            <a:xfrm>
              <a:off x="6463890" y="1970563"/>
              <a:ext cx="466739" cy="328506"/>
            </a:xfrm>
            <a:custGeom>
              <a:avLst/>
              <a:gdLst>
                <a:gd name="T0" fmla="*/ 91 w 138"/>
                <a:gd name="T1" fmla="*/ 34 h 97"/>
                <a:gd name="T2" fmla="*/ 99 w 138"/>
                <a:gd name="T3" fmla="*/ 28 h 97"/>
                <a:gd name="T4" fmla="*/ 90 w 138"/>
                <a:gd name="T5" fmla="*/ 30 h 97"/>
                <a:gd name="T6" fmla="*/ 85 w 138"/>
                <a:gd name="T7" fmla="*/ 29 h 97"/>
                <a:gd name="T8" fmla="*/ 83 w 138"/>
                <a:gd name="T9" fmla="*/ 30 h 97"/>
                <a:gd name="T10" fmla="*/ 82 w 138"/>
                <a:gd name="T11" fmla="*/ 30 h 97"/>
                <a:gd name="T12" fmla="*/ 80 w 138"/>
                <a:gd name="T13" fmla="*/ 30 h 97"/>
                <a:gd name="T14" fmla="*/ 79 w 138"/>
                <a:gd name="T15" fmla="*/ 30 h 97"/>
                <a:gd name="T16" fmla="*/ 79 w 138"/>
                <a:gd name="T17" fmla="*/ 30 h 97"/>
                <a:gd name="T18" fmla="*/ 77 w 138"/>
                <a:gd name="T19" fmla="*/ 30 h 97"/>
                <a:gd name="T20" fmla="*/ 76 w 138"/>
                <a:gd name="T21" fmla="*/ 33 h 97"/>
                <a:gd name="T22" fmla="*/ 52 w 138"/>
                <a:gd name="T23" fmla="*/ 30 h 97"/>
                <a:gd name="T24" fmla="*/ 8 w 138"/>
                <a:gd name="T25" fmla="*/ 70 h 97"/>
                <a:gd name="T26" fmla="*/ 16 w 138"/>
                <a:gd name="T27" fmla="*/ 97 h 97"/>
                <a:gd name="T28" fmla="*/ 19 w 138"/>
                <a:gd name="T29" fmla="*/ 96 h 97"/>
                <a:gd name="T30" fmla="*/ 27 w 138"/>
                <a:gd name="T31" fmla="*/ 65 h 97"/>
                <a:gd name="T32" fmla="*/ 42 w 138"/>
                <a:gd name="T33" fmla="*/ 61 h 97"/>
                <a:gd name="T34" fmla="*/ 131 w 138"/>
                <a:gd name="T35" fmla="*/ 35 h 97"/>
                <a:gd name="T36" fmla="*/ 91 w 138"/>
                <a:gd name="T37" fmla="*/ 3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8" h="97">
                  <a:moveTo>
                    <a:pt x="91" y="34"/>
                  </a:moveTo>
                  <a:cubicBezTo>
                    <a:pt x="91" y="34"/>
                    <a:pt x="94" y="31"/>
                    <a:pt x="99" y="28"/>
                  </a:cubicBezTo>
                  <a:cubicBezTo>
                    <a:pt x="96" y="29"/>
                    <a:pt x="94" y="30"/>
                    <a:pt x="90" y="30"/>
                  </a:cubicBezTo>
                  <a:cubicBezTo>
                    <a:pt x="89" y="30"/>
                    <a:pt x="87" y="30"/>
                    <a:pt x="85" y="29"/>
                  </a:cubicBezTo>
                  <a:cubicBezTo>
                    <a:pt x="85" y="30"/>
                    <a:pt x="84" y="30"/>
                    <a:pt x="83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0"/>
                    <a:pt x="78" y="30"/>
                    <a:pt x="77" y="30"/>
                  </a:cubicBezTo>
                  <a:cubicBezTo>
                    <a:pt x="77" y="31"/>
                    <a:pt x="76" y="32"/>
                    <a:pt x="76" y="33"/>
                  </a:cubicBezTo>
                  <a:cubicBezTo>
                    <a:pt x="76" y="33"/>
                    <a:pt x="75" y="32"/>
                    <a:pt x="52" y="30"/>
                  </a:cubicBezTo>
                  <a:cubicBezTo>
                    <a:pt x="30" y="28"/>
                    <a:pt x="0" y="42"/>
                    <a:pt x="8" y="70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21" y="66"/>
                    <a:pt x="27" y="65"/>
                  </a:cubicBezTo>
                  <a:cubicBezTo>
                    <a:pt x="32" y="65"/>
                    <a:pt x="42" y="61"/>
                    <a:pt x="42" y="61"/>
                  </a:cubicBezTo>
                  <a:cubicBezTo>
                    <a:pt x="42" y="61"/>
                    <a:pt x="122" y="78"/>
                    <a:pt x="131" y="35"/>
                  </a:cubicBezTo>
                  <a:cubicBezTo>
                    <a:pt x="138" y="0"/>
                    <a:pt x="91" y="34"/>
                    <a:pt x="91" y="34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3" name="Freeform 51"/>
            <p:cNvSpPr/>
            <p:nvPr/>
          </p:nvSpPr>
          <p:spPr bwMode="auto">
            <a:xfrm>
              <a:off x="6419981" y="2058382"/>
              <a:ext cx="87819" cy="165879"/>
            </a:xfrm>
            <a:custGeom>
              <a:avLst/>
              <a:gdLst>
                <a:gd name="T0" fmla="*/ 21 w 26"/>
                <a:gd name="T1" fmla="*/ 25 h 49"/>
                <a:gd name="T2" fmla="*/ 19 w 26"/>
                <a:gd name="T3" fmla="*/ 4 h 49"/>
                <a:gd name="T4" fmla="*/ 24 w 26"/>
                <a:gd name="T5" fmla="*/ 30 h 49"/>
                <a:gd name="T6" fmla="*/ 7 w 26"/>
                <a:gd name="T7" fmla="*/ 42 h 49"/>
                <a:gd name="T8" fmla="*/ 21 w 26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9">
                  <a:moveTo>
                    <a:pt x="21" y="25"/>
                  </a:moveTo>
                  <a:cubicBezTo>
                    <a:pt x="21" y="25"/>
                    <a:pt x="12" y="8"/>
                    <a:pt x="19" y="4"/>
                  </a:cubicBezTo>
                  <a:cubicBezTo>
                    <a:pt x="26" y="0"/>
                    <a:pt x="24" y="30"/>
                    <a:pt x="24" y="30"/>
                  </a:cubicBezTo>
                  <a:cubicBezTo>
                    <a:pt x="24" y="30"/>
                    <a:pt x="0" y="49"/>
                    <a:pt x="7" y="42"/>
                  </a:cubicBezTo>
                  <a:cubicBezTo>
                    <a:pt x="13" y="35"/>
                    <a:pt x="21" y="25"/>
                    <a:pt x="21" y="25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4" name="Freeform 52"/>
            <p:cNvSpPr/>
            <p:nvPr/>
          </p:nvSpPr>
          <p:spPr bwMode="auto">
            <a:xfrm>
              <a:off x="6504547" y="1951049"/>
              <a:ext cx="362658" cy="188647"/>
            </a:xfrm>
            <a:custGeom>
              <a:avLst/>
              <a:gdLst>
                <a:gd name="T0" fmla="*/ 0 w 107"/>
                <a:gd name="T1" fmla="*/ 56 h 56"/>
                <a:gd name="T2" fmla="*/ 17 w 107"/>
                <a:gd name="T3" fmla="*/ 36 h 56"/>
                <a:gd name="T4" fmla="*/ 72 w 107"/>
                <a:gd name="T5" fmla="*/ 27 h 56"/>
                <a:gd name="T6" fmla="*/ 106 w 107"/>
                <a:gd name="T7" fmla="*/ 18 h 56"/>
                <a:gd name="T8" fmla="*/ 44 w 107"/>
                <a:gd name="T9" fmla="*/ 45 h 56"/>
                <a:gd name="T10" fmla="*/ 0 w 107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56">
                  <a:moveTo>
                    <a:pt x="0" y="56"/>
                  </a:moveTo>
                  <a:cubicBezTo>
                    <a:pt x="0" y="56"/>
                    <a:pt x="0" y="39"/>
                    <a:pt x="17" y="36"/>
                  </a:cubicBezTo>
                  <a:cubicBezTo>
                    <a:pt x="35" y="32"/>
                    <a:pt x="58" y="37"/>
                    <a:pt x="72" y="27"/>
                  </a:cubicBezTo>
                  <a:cubicBezTo>
                    <a:pt x="86" y="17"/>
                    <a:pt x="106" y="0"/>
                    <a:pt x="106" y="18"/>
                  </a:cubicBezTo>
                  <a:cubicBezTo>
                    <a:pt x="107" y="36"/>
                    <a:pt x="73" y="47"/>
                    <a:pt x="44" y="45"/>
                  </a:cubicBezTo>
                  <a:cubicBezTo>
                    <a:pt x="15" y="43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5" name="Freeform 53"/>
            <p:cNvSpPr/>
            <p:nvPr/>
          </p:nvSpPr>
          <p:spPr bwMode="auto">
            <a:xfrm>
              <a:off x="6234586" y="4021287"/>
              <a:ext cx="216294" cy="266707"/>
            </a:xfrm>
            <a:custGeom>
              <a:avLst/>
              <a:gdLst>
                <a:gd name="T0" fmla="*/ 56 w 64"/>
                <a:gd name="T1" fmla="*/ 79 h 79"/>
                <a:gd name="T2" fmla="*/ 8 w 64"/>
                <a:gd name="T3" fmla="*/ 79 h 79"/>
                <a:gd name="T4" fmla="*/ 0 w 64"/>
                <a:gd name="T5" fmla="*/ 70 h 79"/>
                <a:gd name="T6" fmla="*/ 0 w 64"/>
                <a:gd name="T7" fmla="*/ 0 h 79"/>
                <a:gd name="T8" fmla="*/ 64 w 64"/>
                <a:gd name="T9" fmla="*/ 0 h 79"/>
                <a:gd name="T10" fmla="*/ 64 w 64"/>
                <a:gd name="T11" fmla="*/ 70 h 79"/>
                <a:gd name="T12" fmla="*/ 56 w 64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9">
                  <a:moveTo>
                    <a:pt x="56" y="79"/>
                  </a:moveTo>
                  <a:cubicBezTo>
                    <a:pt x="8" y="79"/>
                    <a:pt x="8" y="79"/>
                    <a:pt x="8" y="79"/>
                  </a:cubicBezTo>
                  <a:cubicBezTo>
                    <a:pt x="3" y="79"/>
                    <a:pt x="0" y="75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5"/>
                    <a:pt x="61" y="79"/>
                    <a:pt x="56" y="79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6" name="Rectangle 54"/>
            <p:cNvSpPr/>
            <p:nvPr/>
          </p:nvSpPr>
          <p:spPr bwMode="auto">
            <a:xfrm>
              <a:off x="6234586" y="2251908"/>
              <a:ext cx="216294" cy="1832803"/>
            </a:xfrm>
            <a:prstGeom prst="rect">
              <a:avLst/>
            </a:prstGeom>
            <a:solidFill>
              <a:srgbClr val="259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7" name="Rectangle 55"/>
            <p:cNvSpPr/>
            <p:nvPr/>
          </p:nvSpPr>
          <p:spPr bwMode="auto">
            <a:xfrm>
              <a:off x="6234586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8" name="Rectangle 56"/>
            <p:cNvSpPr/>
            <p:nvPr/>
          </p:nvSpPr>
          <p:spPr bwMode="auto">
            <a:xfrm>
              <a:off x="6322405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9" name="Rectangle 57"/>
            <p:cNvSpPr/>
            <p:nvPr/>
          </p:nvSpPr>
          <p:spPr bwMode="auto">
            <a:xfrm>
              <a:off x="6410223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0" name="Freeform 58"/>
            <p:cNvSpPr/>
            <p:nvPr/>
          </p:nvSpPr>
          <p:spPr bwMode="auto">
            <a:xfrm>
              <a:off x="6234586" y="1926654"/>
              <a:ext cx="216294" cy="325253"/>
            </a:xfrm>
            <a:custGeom>
              <a:avLst/>
              <a:gdLst>
                <a:gd name="T0" fmla="*/ 0 w 133"/>
                <a:gd name="T1" fmla="*/ 200 h 200"/>
                <a:gd name="T2" fmla="*/ 67 w 133"/>
                <a:gd name="T3" fmla="*/ 0 h 200"/>
                <a:gd name="T4" fmla="*/ 133 w 133"/>
                <a:gd name="T5" fmla="*/ 200 h 200"/>
                <a:gd name="T6" fmla="*/ 0 w 133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200">
                  <a:moveTo>
                    <a:pt x="0" y="200"/>
                  </a:moveTo>
                  <a:lnTo>
                    <a:pt x="67" y="0"/>
                  </a:lnTo>
                  <a:lnTo>
                    <a:pt x="133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1" name="Rectangle 59"/>
            <p:cNvSpPr/>
            <p:nvPr/>
          </p:nvSpPr>
          <p:spPr bwMode="auto">
            <a:xfrm>
              <a:off x="6234586" y="4084712"/>
              <a:ext cx="216294" cy="68304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2" name="Freeform 60"/>
            <p:cNvSpPr/>
            <p:nvPr/>
          </p:nvSpPr>
          <p:spPr bwMode="auto">
            <a:xfrm>
              <a:off x="6312647" y="1926654"/>
              <a:ext cx="60172" cy="87819"/>
            </a:xfrm>
            <a:custGeom>
              <a:avLst/>
              <a:gdLst>
                <a:gd name="T0" fmla="*/ 19 w 37"/>
                <a:gd name="T1" fmla="*/ 0 h 54"/>
                <a:gd name="T2" fmla="*/ 0 w 37"/>
                <a:gd name="T3" fmla="*/ 54 h 54"/>
                <a:gd name="T4" fmla="*/ 37 w 37"/>
                <a:gd name="T5" fmla="*/ 54 h 54"/>
                <a:gd name="T6" fmla="*/ 19 w 37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4">
                  <a:moveTo>
                    <a:pt x="19" y="0"/>
                  </a:moveTo>
                  <a:lnTo>
                    <a:pt x="0" y="54"/>
                  </a:lnTo>
                  <a:lnTo>
                    <a:pt x="37" y="5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3" name="Freeform 61"/>
            <p:cNvSpPr/>
            <p:nvPr/>
          </p:nvSpPr>
          <p:spPr bwMode="auto">
            <a:xfrm>
              <a:off x="6068707" y="3256941"/>
              <a:ext cx="304113" cy="274840"/>
            </a:xfrm>
            <a:custGeom>
              <a:avLst/>
              <a:gdLst>
                <a:gd name="T0" fmla="*/ 31 w 187"/>
                <a:gd name="T1" fmla="*/ 59 h 169"/>
                <a:gd name="T2" fmla="*/ 175 w 187"/>
                <a:gd name="T3" fmla="*/ 0 h 169"/>
                <a:gd name="T4" fmla="*/ 187 w 187"/>
                <a:gd name="T5" fmla="*/ 44 h 169"/>
                <a:gd name="T6" fmla="*/ 0 w 187"/>
                <a:gd name="T7" fmla="*/ 169 h 169"/>
                <a:gd name="T8" fmla="*/ 0 w 187"/>
                <a:gd name="T9" fmla="*/ 92 h 169"/>
                <a:gd name="T10" fmla="*/ 31 w 187"/>
                <a:gd name="T11" fmla="*/ 5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69">
                  <a:moveTo>
                    <a:pt x="31" y="59"/>
                  </a:moveTo>
                  <a:lnTo>
                    <a:pt x="175" y="0"/>
                  </a:lnTo>
                  <a:lnTo>
                    <a:pt x="187" y="44"/>
                  </a:lnTo>
                  <a:lnTo>
                    <a:pt x="0" y="169"/>
                  </a:lnTo>
                  <a:lnTo>
                    <a:pt x="0" y="92"/>
                  </a:lnTo>
                  <a:lnTo>
                    <a:pt x="31" y="59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4" name="Freeform 62"/>
            <p:cNvSpPr/>
            <p:nvPr/>
          </p:nvSpPr>
          <p:spPr bwMode="auto">
            <a:xfrm>
              <a:off x="6234586" y="3095941"/>
              <a:ext cx="243940" cy="235809"/>
            </a:xfrm>
            <a:custGeom>
              <a:avLst/>
              <a:gdLst>
                <a:gd name="T0" fmla="*/ 38 w 72"/>
                <a:gd name="T1" fmla="*/ 70 h 70"/>
                <a:gd name="T2" fmla="*/ 57 w 72"/>
                <a:gd name="T3" fmla="*/ 70 h 70"/>
                <a:gd name="T4" fmla="*/ 72 w 72"/>
                <a:gd name="T5" fmla="*/ 58 h 70"/>
                <a:gd name="T6" fmla="*/ 64 w 72"/>
                <a:gd name="T7" fmla="*/ 7 h 70"/>
                <a:gd name="T8" fmla="*/ 45 w 72"/>
                <a:gd name="T9" fmla="*/ 30 h 70"/>
                <a:gd name="T10" fmla="*/ 28 w 72"/>
                <a:gd name="T11" fmla="*/ 41 h 70"/>
                <a:gd name="T12" fmla="*/ 0 w 72"/>
                <a:gd name="T13" fmla="*/ 66 h 70"/>
                <a:gd name="T14" fmla="*/ 38 w 72"/>
                <a:gd name="T1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70">
                  <a:moveTo>
                    <a:pt x="38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66" y="0"/>
                    <a:pt x="64" y="7"/>
                  </a:cubicBezTo>
                  <a:cubicBezTo>
                    <a:pt x="63" y="12"/>
                    <a:pt x="45" y="30"/>
                    <a:pt x="45" y="30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38" y="70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5" name="Freeform 63"/>
            <p:cNvSpPr/>
            <p:nvPr/>
          </p:nvSpPr>
          <p:spPr bwMode="auto">
            <a:xfrm>
              <a:off x="6319152" y="3143102"/>
              <a:ext cx="81313" cy="128475"/>
            </a:xfrm>
            <a:custGeom>
              <a:avLst/>
              <a:gdLst>
                <a:gd name="T0" fmla="*/ 0 w 24"/>
                <a:gd name="T1" fmla="*/ 38 h 38"/>
                <a:gd name="T2" fmla="*/ 7 w 24"/>
                <a:gd name="T3" fmla="*/ 13 h 38"/>
                <a:gd name="T4" fmla="*/ 20 w 24"/>
                <a:gd name="T5" fmla="*/ 0 h 38"/>
                <a:gd name="T6" fmla="*/ 21 w 24"/>
                <a:gd name="T7" fmla="*/ 9 h 38"/>
                <a:gd name="T8" fmla="*/ 17 w 24"/>
                <a:gd name="T9" fmla="*/ 19 h 38"/>
                <a:gd name="T10" fmla="*/ 0 w 24"/>
                <a:gd name="T1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8">
                  <a:moveTo>
                    <a:pt x="0" y="38"/>
                  </a:moveTo>
                  <a:cubicBezTo>
                    <a:pt x="0" y="38"/>
                    <a:pt x="6" y="16"/>
                    <a:pt x="7" y="13"/>
                  </a:cubicBezTo>
                  <a:cubicBezTo>
                    <a:pt x="9" y="11"/>
                    <a:pt x="19" y="0"/>
                    <a:pt x="20" y="0"/>
                  </a:cubicBezTo>
                  <a:cubicBezTo>
                    <a:pt x="21" y="0"/>
                    <a:pt x="24" y="5"/>
                    <a:pt x="21" y="9"/>
                  </a:cubicBezTo>
                  <a:cubicBezTo>
                    <a:pt x="18" y="14"/>
                    <a:pt x="17" y="16"/>
                    <a:pt x="17" y="19"/>
                  </a:cubicBezTo>
                  <a:cubicBezTo>
                    <a:pt x="18" y="22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6" name="Freeform 64"/>
            <p:cNvSpPr/>
            <p:nvPr/>
          </p:nvSpPr>
          <p:spPr bwMode="auto">
            <a:xfrm>
              <a:off x="6068707" y="3338254"/>
              <a:ext cx="68304" cy="193526"/>
            </a:xfrm>
            <a:custGeom>
              <a:avLst/>
              <a:gdLst>
                <a:gd name="T0" fmla="*/ 0 w 42"/>
                <a:gd name="T1" fmla="*/ 119 h 119"/>
                <a:gd name="T2" fmla="*/ 42 w 42"/>
                <a:gd name="T3" fmla="*/ 0 h 119"/>
                <a:gd name="T4" fmla="*/ 31 w 42"/>
                <a:gd name="T5" fmla="*/ 9 h 119"/>
                <a:gd name="T6" fmla="*/ 0 w 42"/>
                <a:gd name="T7" fmla="*/ 42 h 119"/>
                <a:gd name="T8" fmla="*/ 0 w 42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9">
                  <a:moveTo>
                    <a:pt x="0" y="119"/>
                  </a:moveTo>
                  <a:lnTo>
                    <a:pt x="42" y="0"/>
                  </a:lnTo>
                  <a:lnTo>
                    <a:pt x="31" y="9"/>
                  </a:lnTo>
                  <a:lnTo>
                    <a:pt x="0" y="42"/>
                  </a:lnTo>
                  <a:lnTo>
                    <a:pt x="0" y="119"/>
                  </a:lnTo>
                  <a:close/>
                </a:path>
              </a:pathLst>
            </a:custGeom>
            <a:solidFill>
              <a:srgbClr val="EDA28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7" name="Freeform 65"/>
            <p:cNvSpPr/>
            <p:nvPr/>
          </p:nvSpPr>
          <p:spPr bwMode="auto">
            <a:xfrm>
              <a:off x="8529250" y="3078052"/>
              <a:ext cx="902578" cy="2040966"/>
            </a:xfrm>
            <a:custGeom>
              <a:avLst/>
              <a:gdLst>
                <a:gd name="T0" fmla="*/ 12 w 267"/>
                <a:gd name="T1" fmla="*/ 504 h 604"/>
                <a:gd name="T2" fmla="*/ 22 w 267"/>
                <a:gd name="T3" fmla="*/ 404 h 604"/>
                <a:gd name="T4" fmla="*/ 60 w 267"/>
                <a:gd name="T5" fmla="*/ 351 h 604"/>
                <a:gd name="T6" fmla="*/ 38 w 267"/>
                <a:gd name="T7" fmla="*/ 296 h 604"/>
                <a:gd name="T8" fmla="*/ 50 w 267"/>
                <a:gd name="T9" fmla="*/ 197 h 604"/>
                <a:gd name="T10" fmla="*/ 94 w 267"/>
                <a:gd name="T11" fmla="*/ 142 h 604"/>
                <a:gd name="T12" fmla="*/ 99 w 267"/>
                <a:gd name="T13" fmla="*/ 78 h 604"/>
                <a:gd name="T14" fmla="*/ 149 w 267"/>
                <a:gd name="T15" fmla="*/ 0 h 604"/>
                <a:gd name="T16" fmla="*/ 208 w 267"/>
                <a:gd name="T17" fmla="*/ 65 h 604"/>
                <a:gd name="T18" fmla="*/ 212 w 267"/>
                <a:gd name="T19" fmla="*/ 96 h 604"/>
                <a:gd name="T20" fmla="*/ 211 w 267"/>
                <a:gd name="T21" fmla="*/ 132 h 604"/>
                <a:gd name="T22" fmla="*/ 220 w 267"/>
                <a:gd name="T23" fmla="*/ 170 h 604"/>
                <a:gd name="T24" fmla="*/ 238 w 267"/>
                <a:gd name="T25" fmla="*/ 199 h 604"/>
                <a:gd name="T26" fmla="*/ 245 w 267"/>
                <a:gd name="T27" fmla="*/ 320 h 604"/>
                <a:gd name="T28" fmla="*/ 241 w 267"/>
                <a:gd name="T29" fmla="*/ 394 h 604"/>
                <a:gd name="T30" fmla="*/ 261 w 267"/>
                <a:gd name="T31" fmla="*/ 457 h 604"/>
                <a:gd name="T32" fmla="*/ 209 w 267"/>
                <a:gd name="T33" fmla="*/ 565 h 604"/>
                <a:gd name="T34" fmla="*/ 206 w 267"/>
                <a:gd name="T35" fmla="*/ 565 h 604"/>
                <a:gd name="T36" fmla="*/ 12 w 267"/>
                <a:gd name="T37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7" h="604">
                  <a:moveTo>
                    <a:pt x="12" y="504"/>
                  </a:moveTo>
                  <a:cubicBezTo>
                    <a:pt x="0" y="471"/>
                    <a:pt x="2" y="433"/>
                    <a:pt x="22" y="404"/>
                  </a:cubicBezTo>
                  <a:cubicBezTo>
                    <a:pt x="34" y="387"/>
                    <a:pt x="61" y="374"/>
                    <a:pt x="60" y="351"/>
                  </a:cubicBezTo>
                  <a:cubicBezTo>
                    <a:pt x="60" y="330"/>
                    <a:pt x="45" y="314"/>
                    <a:pt x="38" y="296"/>
                  </a:cubicBezTo>
                  <a:cubicBezTo>
                    <a:pt x="26" y="263"/>
                    <a:pt x="31" y="225"/>
                    <a:pt x="50" y="197"/>
                  </a:cubicBezTo>
                  <a:cubicBezTo>
                    <a:pt x="63" y="177"/>
                    <a:pt x="85" y="165"/>
                    <a:pt x="94" y="142"/>
                  </a:cubicBezTo>
                  <a:cubicBezTo>
                    <a:pt x="103" y="122"/>
                    <a:pt x="100" y="99"/>
                    <a:pt x="99" y="78"/>
                  </a:cubicBezTo>
                  <a:cubicBezTo>
                    <a:pt x="99" y="47"/>
                    <a:pt x="110" y="0"/>
                    <a:pt x="149" y="0"/>
                  </a:cubicBezTo>
                  <a:cubicBezTo>
                    <a:pt x="183" y="1"/>
                    <a:pt x="202" y="37"/>
                    <a:pt x="208" y="65"/>
                  </a:cubicBezTo>
                  <a:cubicBezTo>
                    <a:pt x="211" y="75"/>
                    <a:pt x="212" y="86"/>
                    <a:pt x="212" y="96"/>
                  </a:cubicBezTo>
                  <a:cubicBezTo>
                    <a:pt x="212" y="108"/>
                    <a:pt x="210" y="120"/>
                    <a:pt x="211" y="132"/>
                  </a:cubicBezTo>
                  <a:cubicBezTo>
                    <a:pt x="212" y="144"/>
                    <a:pt x="214" y="158"/>
                    <a:pt x="220" y="170"/>
                  </a:cubicBezTo>
                  <a:cubicBezTo>
                    <a:pt x="225" y="180"/>
                    <a:pt x="233" y="188"/>
                    <a:pt x="238" y="199"/>
                  </a:cubicBezTo>
                  <a:cubicBezTo>
                    <a:pt x="258" y="236"/>
                    <a:pt x="256" y="280"/>
                    <a:pt x="245" y="320"/>
                  </a:cubicBezTo>
                  <a:cubicBezTo>
                    <a:pt x="237" y="346"/>
                    <a:pt x="232" y="367"/>
                    <a:pt x="241" y="394"/>
                  </a:cubicBezTo>
                  <a:cubicBezTo>
                    <a:pt x="248" y="415"/>
                    <a:pt x="258" y="435"/>
                    <a:pt x="261" y="457"/>
                  </a:cubicBezTo>
                  <a:cubicBezTo>
                    <a:pt x="267" y="500"/>
                    <a:pt x="243" y="540"/>
                    <a:pt x="209" y="565"/>
                  </a:cubicBezTo>
                  <a:cubicBezTo>
                    <a:pt x="208" y="565"/>
                    <a:pt x="207" y="566"/>
                    <a:pt x="206" y="565"/>
                  </a:cubicBezTo>
                  <a:cubicBezTo>
                    <a:pt x="138" y="604"/>
                    <a:pt x="45" y="576"/>
                    <a:pt x="12" y="504"/>
                  </a:cubicBezTo>
                </a:path>
              </a:pathLst>
            </a:custGeom>
            <a:gradFill>
              <a:gsLst>
                <a:gs pos="0">
                  <a:srgbClr val="ECA612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8" name="Freeform 68"/>
            <p:cNvSpPr/>
            <p:nvPr/>
          </p:nvSpPr>
          <p:spPr bwMode="auto">
            <a:xfrm>
              <a:off x="8776442" y="3234173"/>
              <a:ext cx="530163" cy="881438"/>
            </a:xfrm>
            <a:custGeom>
              <a:avLst/>
              <a:gdLst>
                <a:gd name="T0" fmla="*/ 6 w 157"/>
                <a:gd name="T1" fmla="*/ 215 h 261"/>
                <a:gd name="T2" fmla="*/ 2 w 157"/>
                <a:gd name="T3" fmla="*/ 220 h 261"/>
                <a:gd name="T4" fmla="*/ 24 w 157"/>
                <a:gd name="T5" fmla="*/ 261 h 261"/>
                <a:gd name="T6" fmla="*/ 34 w 157"/>
                <a:gd name="T7" fmla="*/ 261 h 261"/>
                <a:gd name="T8" fmla="*/ 10 w 157"/>
                <a:gd name="T9" fmla="*/ 218 h 261"/>
                <a:gd name="T10" fmla="*/ 6 w 157"/>
                <a:gd name="T11" fmla="*/ 215 h 261"/>
                <a:gd name="T12" fmla="*/ 151 w 157"/>
                <a:gd name="T13" fmla="*/ 166 h 261"/>
                <a:gd name="T14" fmla="*/ 147 w 157"/>
                <a:gd name="T15" fmla="*/ 168 h 261"/>
                <a:gd name="T16" fmla="*/ 131 w 157"/>
                <a:gd name="T17" fmla="*/ 194 h 261"/>
                <a:gd name="T18" fmla="*/ 152 w 157"/>
                <a:gd name="T19" fmla="*/ 176 h 261"/>
                <a:gd name="T20" fmla="*/ 155 w 157"/>
                <a:gd name="T21" fmla="*/ 172 h 261"/>
                <a:gd name="T22" fmla="*/ 151 w 157"/>
                <a:gd name="T23" fmla="*/ 166 h 261"/>
                <a:gd name="T24" fmla="*/ 88 w 157"/>
                <a:gd name="T25" fmla="*/ 0 h 261"/>
                <a:gd name="T26" fmla="*/ 83 w 157"/>
                <a:gd name="T27" fmla="*/ 5 h 261"/>
                <a:gd name="T28" fmla="*/ 81 w 157"/>
                <a:gd name="T29" fmla="*/ 76 h 261"/>
                <a:gd name="T30" fmla="*/ 52 w 157"/>
                <a:gd name="T31" fmla="*/ 35 h 261"/>
                <a:gd name="T32" fmla="*/ 49 w 157"/>
                <a:gd name="T33" fmla="*/ 34 h 261"/>
                <a:gd name="T34" fmla="*/ 45 w 157"/>
                <a:gd name="T35" fmla="*/ 40 h 261"/>
                <a:gd name="T36" fmla="*/ 79 w 157"/>
                <a:gd name="T37" fmla="*/ 87 h 261"/>
                <a:gd name="T38" fmla="*/ 80 w 157"/>
                <a:gd name="T39" fmla="*/ 88 h 261"/>
                <a:gd name="T40" fmla="*/ 76 w 157"/>
                <a:gd name="T41" fmla="*/ 194 h 261"/>
                <a:gd name="T42" fmla="*/ 35 w 157"/>
                <a:gd name="T43" fmla="*/ 128 h 261"/>
                <a:gd name="T44" fmla="*/ 32 w 157"/>
                <a:gd name="T45" fmla="*/ 126 h 261"/>
                <a:gd name="T46" fmla="*/ 28 w 157"/>
                <a:gd name="T47" fmla="*/ 133 h 261"/>
                <a:gd name="T48" fmla="*/ 76 w 157"/>
                <a:gd name="T49" fmla="*/ 207 h 261"/>
                <a:gd name="T50" fmla="*/ 74 w 157"/>
                <a:gd name="T51" fmla="*/ 261 h 261"/>
                <a:gd name="T52" fmla="*/ 88 w 157"/>
                <a:gd name="T53" fmla="*/ 261 h 261"/>
                <a:gd name="T54" fmla="*/ 98 w 157"/>
                <a:gd name="T55" fmla="*/ 249 h 261"/>
                <a:gd name="T56" fmla="*/ 110 w 157"/>
                <a:gd name="T57" fmla="*/ 223 h 261"/>
                <a:gd name="T58" fmla="*/ 82 w 157"/>
                <a:gd name="T59" fmla="*/ 254 h 261"/>
                <a:gd name="T60" fmla="*/ 84 w 157"/>
                <a:gd name="T61" fmla="*/ 206 h 261"/>
                <a:gd name="T62" fmla="*/ 84 w 157"/>
                <a:gd name="T63" fmla="*/ 205 h 261"/>
                <a:gd name="T64" fmla="*/ 87 w 157"/>
                <a:gd name="T65" fmla="*/ 119 h 261"/>
                <a:gd name="T66" fmla="*/ 123 w 157"/>
                <a:gd name="T67" fmla="*/ 63 h 261"/>
                <a:gd name="T68" fmla="*/ 120 w 157"/>
                <a:gd name="T69" fmla="*/ 56 h 261"/>
                <a:gd name="T70" fmla="*/ 117 w 157"/>
                <a:gd name="T71" fmla="*/ 58 h 261"/>
                <a:gd name="T72" fmla="*/ 88 w 157"/>
                <a:gd name="T73" fmla="*/ 102 h 261"/>
                <a:gd name="T74" fmla="*/ 91 w 157"/>
                <a:gd name="T75" fmla="*/ 4 h 261"/>
                <a:gd name="T76" fmla="*/ 88 w 157"/>
                <a:gd name="T7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" h="261">
                  <a:moveTo>
                    <a:pt x="6" y="215"/>
                  </a:moveTo>
                  <a:cubicBezTo>
                    <a:pt x="3" y="215"/>
                    <a:pt x="0" y="217"/>
                    <a:pt x="2" y="220"/>
                  </a:cubicBezTo>
                  <a:cubicBezTo>
                    <a:pt x="9" y="234"/>
                    <a:pt x="16" y="248"/>
                    <a:pt x="24" y="261"/>
                  </a:cubicBezTo>
                  <a:cubicBezTo>
                    <a:pt x="34" y="261"/>
                    <a:pt x="34" y="261"/>
                    <a:pt x="34" y="261"/>
                  </a:cubicBezTo>
                  <a:cubicBezTo>
                    <a:pt x="25" y="247"/>
                    <a:pt x="17" y="232"/>
                    <a:pt x="10" y="218"/>
                  </a:cubicBezTo>
                  <a:cubicBezTo>
                    <a:pt x="9" y="216"/>
                    <a:pt x="7" y="215"/>
                    <a:pt x="6" y="215"/>
                  </a:cubicBezTo>
                  <a:moveTo>
                    <a:pt x="151" y="166"/>
                  </a:moveTo>
                  <a:cubicBezTo>
                    <a:pt x="150" y="166"/>
                    <a:pt x="148" y="167"/>
                    <a:pt x="147" y="168"/>
                  </a:cubicBezTo>
                  <a:cubicBezTo>
                    <a:pt x="142" y="177"/>
                    <a:pt x="137" y="186"/>
                    <a:pt x="131" y="194"/>
                  </a:cubicBezTo>
                  <a:cubicBezTo>
                    <a:pt x="137" y="188"/>
                    <a:pt x="144" y="181"/>
                    <a:pt x="152" y="176"/>
                  </a:cubicBezTo>
                  <a:cubicBezTo>
                    <a:pt x="153" y="175"/>
                    <a:pt x="154" y="173"/>
                    <a:pt x="155" y="172"/>
                  </a:cubicBezTo>
                  <a:cubicBezTo>
                    <a:pt x="157" y="169"/>
                    <a:pt x="154" y="166"/>
                    <a:pt x="151" y="166"/>
                  </a:cubicBezTo>
                  <a:moveTo>
                    <a:pt x="88" y="0"/>
                  </a:moveTo>
                  <a:cubicBezTo>
                    <a:pt x="86" y="0"/>
                    <a:pt x="83" y="2"/>
                    <a:pt x="83" y="5"/>
                  </a:cubicBezTo>
                  <a:cubicBezTo>
                    <a:pt x="82" y="28"/>
                    <a:pt x="82" y="52"/>
                    <a:pt x="81" y="76"/>
                  </a:cubicBezTo>
                  <a:cubicBezTo>
                    <a:pt x="71" y="63"/>
                    <a:pt x="61" y="49"/>
                    <a:pt x="52" y="35"/>
                  </a:cubicBezTo>
                  <a:cubicBezTo>
                    <a:pt x="51" y="34"/>
                    <a:pt x="50" y="34"/>
                    <a:pt x="49" y="34"/>
                  </a:cubicBezTo>
                  <a:cubicBezTo>
                    <a:pt x="46" y="34"/>
                    <a:pt x="43" y="37"/>
                    <a:pt x="45" y="40"/>
                  </a:cubicBezTo>
                  <a:cubicBezTo>
                    <a:pt x="56" y="56"/>
                    <a:pt x="67" y="72"/>
                    <a:pt x="79" y="87"/>
                  </a:cubicBezTo>
                  <a:cubicBezTo>
                    <a:pt x="79" y="87"/>
                    <a:pt x="80" y="88"/>
                    <a:pt x="80" y="88"/>
                  </a:cubicBezTo>
                  <a:cubicBezTo>
                    <a:pt x="79" y="123"/>
                    <a:pt x="78" y="159"/>
                    <a:pt x="76" y="194"/>
                  </a:cubicBezTo>
                  <a:cubicBezTo>
                    <a:pt x="61" y="173"/>
                    <a:pt x="47" y="151"/>
                    <a:pt x="35" y="128"/>
                  </a:cubicBezTo>
                  <a:cubicBezTo>
                    <a:pt x="34" y="127"/>
                    <a:pt x="33" y="126"/>
                    <a:pt x="32" y="126"/>
                  </a:cubicBezTo>
                  <a:cubicBezTo>
                    <a:pt x="30" y="126"/>
                    <a:pt x="27" y="130"/>
                    <a:pt x="28" y="133"/>
                  </a:cubicBezTo>
                  <a:cubicBezTo>
                    <a:pt x="42" y="159"/>
                    <a:pt x="58" y="184"/>
                    <a:pt x="76" y="207"/>
                  </a:cubicBezTo>
                  <a:cubicBezTo>
                    <a:pt x="75" y="225"/>
                    <a:pt x="75" y="243"/>
                    <a:pt x="74" y="261"/>
                  </a:cubicBezTo>
                  <a:cubicBezTo>
                    <a:pt x="88" y="261"/>
                    <a:pt x="88" y="261"/>
                    <a:pt x="88" y="261"/>
                  </a:cubicBezTo>
                  <a:cubicBezTo>
                    <a:pt x="92" y="257"/>
                    <a:pt x="95" y="253"/>
                    <a:pt x="98" y="249"/>
                  </a:cubicBezTo>
                  <a:cubicBezTo>
                    <a:pt x="101" y="240"/>
                    <a:pt x="105" y="231"/>
                    <a:pt x="110" y="223"/>
                  </a:cubicBezTo>
                  <a:cubicBezTo>
                    <a:pt x="101" y="234"/>
                    <a:pt x="92" y="244"/>
                    <a:pt x="82" y="254"/>
                  </a:cubicBezTo>
                  <a:cubicBezTo>
                    <a:pt x="83" y="238"/>
                    <a:pt x="84" y="222"/>
                    <a:pt x="84" y="206"/>
                  </a:cubicBezTo>
                  <a:cubicBezTo>
                    <a:pt x="84" y="205"/>
                    <a:pt x="84" y="205"/>
                    <a:pt x="84" y="205"/>
                  </a:cubicBezTo>
                  <a:cubicBezTo>
                    <a:pt x="85" y="176"/>
                    <a:pt x="86" y="148"/>
                    <a:pt x="87" y="119"/>
                  </a:cubicBezTo>
                  <a:cubicBezTo>
                    <a:pt x="98" y="100"/>
                    <a:pt x="110" y="81"/>
                    <a:pt x="123" y="63"/>
                  </a:cubicBezTo>
                  <a:cubicBezTo>
                    <a:pt x="125" y="60"/>
                    <a:pt x="122" y="56"/>
                    <a:pt x="120" y="56"/>
                  </a:cubicBezTo>
                  <a:cubicBezTo>
                    <a:pt x="119" y="56"/>
                    <a:pt x="117" y="57"/>
                    <a:pt x="117" y="58"/>
                  </a:cubicBezTo>
                  <a:cubicBezTo>
                    <a:pt x="107" y="72"/>
                    <a:pt x="97" y="87"/>
                    <a:pt x="88" y="102"/>
                  </a:cubicBezTo>
                  <a:cubicBezTo>
                    <a:pt x="89" y="69"/>
                    <a:pt x="90" y="37"/>
                    <a:pt x="91" y="4"/>
                  </a:cubicBezTo>
                  <a:cubicBezTo>
                    <a:pt x="92" y="1"/>
                    <a:pt x="90" y="0"/>
                    <a:pt x="88" y="0"/>
                  </a:cubicBezTo>
                </a:path>
              </a:pathLst>
            </a:custGeom>
            <a:solidFill>
              <a:srgbClr val="D077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9" name="Freeform 69"/>
            <p:cNvSpPr/>
            <p:nvPr/>
          </p:nvSpPr>
          <p:spPr bwMode="auto">
            <a:xfrm>
              <a:off x="8641461" y="3152860"/>
              <a:ext cx="1517308" cy="2345077"/>
            </a:xfrm>
            <a:custGeom>
              <a:avLst/>
              <a:gdLst>
                <a:gd name="T0" fmla="*/ 125 w 449"/>
                <a:gd name="T1" fmla="*/ 694 h 694"/>
                <a:gd name="T2" fmla="*/ 274 w 449"/>
                <a:gd name="T3" fmla="*/ 662 h 694"/>
                <a:gd name="T4" fmla="*/ 311 w 449"/>
                <a:gd name="T5" fmla="*/ 603 h 694"/>
                <a:gd name="T6" fmla="*/ 318 w 449"/>
                <a:gd name="T7" fmla="*/ 520 h 694"/>
                <a:gd name="T8" fmla="*/ 359 w 449"/>
                <a:gd name="T9" fmla="*/ 436 h 694"/>
                <a:gd name="T10" fmla="*/ 412 w 449"/>
                <a:gd name="T11" fmla="*/ 293 h 694"/>
                <a:gd name="T12" fmla="*/ 405 w 449"/>
                <a:gd name="T13" fmla="*/ 251 h 694"/>
                <a:gd name="T14" fmla="*/ 413 w 449"/>
                <a:gd name="T15" fmla="*/ 202 h 694"/>
                <a:gd name="T16" fmla="*/ 432 w 449"/>
                <a:gd name="T17" fmla="*/ 162 h 694"/>
                <a:gd name="T18" fmla="*/ 443 w 449"/>
                <a:gd name="T19" fmla="*/ 124 h 694"/>
                <a:gd name="T20" fmla="*/ 407 w 449"/>
                <a:gd name="T21" fmla="*/ 20 h 694"/>
                <a:gd name="T22" fmla="*/ 311 w 449"/>
                <a:gd name="T23" fmla="*/ 85 h 694"/>
                <a:gd name="T24" fmla="*/ 273 w 449"/>
                <a:gd name="T25" fmla="*/ 157 h 694"/>
                <a:gd name="T26" fmla="*/ 195 w 449"/>
                <a:gd name="T27" fmla="*/ 198 h 694"/>
                <a:gd name="T28" fmla="*/ 133 w 449"/>
                <a:gd name="T29" fmla="*/ 306 h 694"/>
                <a:gd name="T30" fmla="*/ 131 w 449"/>
                <a:gd name="T31" fmla="*/ 381 h 694"/>
                <a:gd name="T32" fmla="*/ 60 w 449"/>
                <a:gd name="T33" fmla="*/ 424 h 694"/>
                <a:gd name="T34" fmla="*/ 0 w 449"/>
                <a:gd name="T35" fmla="*/ 534 h 694"/>
                <a:gd name="T36" fmla="*/ 125 w 449"/>
                <a:gd name="T37" fmla="*/ 694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9" h="694">
                  <a:moveTo>
                    <a:pt x="125" y="694"/>
                  </a:moveTo>
                  <a:cubicBezTo>
                    <a:pt x="274" y="662"/>
                    <a:pt x="274" y="662"/>
                    <a:pt x="274" y="662"/>
                  </a:cubicBezTo>
                  <a:cubicBezTo>
                    <a:pt x="291" y="646"/>
                    <a:pt x="304" y="627"/>
                    <a:pt x="311" y="603"/>
                  </a:cubicBezTo>
                  <a:cubicBezTo>
                    <a:pt x="318" y="576"/>
                    <a:pt x="315" y="548"/>
                    <a:pt x="318" y="520"/>
                  </a:cubicBezTo>
                  <a:cubicBezTo>
                    <a:pt x="321" y="485"/>
                    <a:pt x="337" y="463"/>
                    <a:pt x="359" y="436"/>
                  </a:cubicBezTo>
                  <a:cubicBezTo>
                    <a:pt x="392" y="397"/>
                    <a:pt x="416" y="346"/>
                    <a:pt x="412" y="293"/>
                  </a:cubicBezTo>
                  <a:cubicBezTo>
                    <a:pt x="411" y="279"/>
                    <a:pt x="406" y="265"/>
                    <a:pt x="405" y="251"/>
                  </a:cubicBezTo>
                  <a:cubicBezTo>
                    <a:pt x="404" y="235"/>
                    <a:pt x="408" y="217"/>
                    <a:pt x="413" y="202"/>
                  </a:cubicBezTo>
                  <a:cubicBezTo>
                    <a:pt x="418" y="188"/>
                    <a:pt x="427" y="175"/>
                    <a:pt x="432" y="162"/>
                  </a:cubicBezTo>
                  <a:cubicBezTo>
                    <a:pt x="437" y="150"/>
                    <a:pt x="441" y="137"/>
                    <a:pt x="443" y="124"/>
                  </a:cubicBezTo>
                  <a:cubicBezTo>
                    <a:pt x="449" y="89"/>
                    <a:pt x="445" y="37"/>
                    <a:pt x="407" y="20"/>
                  </a:cubicBezTo>
                  <a:cubicBezTo>
                    <a:pt x="362" y="0"/>
                    <a:pt x="326" y="49"/>
                    <a:pt x="311" y="85"/>
                  </a:cubicBezTo>
                  <a:cubicBezTo>
                    <a:pt x="301" y="110"/>
                    <a:pt x="293" y="138"/>
                    <a:pt x="273" y="157"/>
                  </a:cubicBezTo>
                  <a:cubicBezTo>
                    <a:pt x="252" y="178"/>
                    <a:pt x="220" y="182"/>
                    <a:pt x="195" y="198"/>
                  </a:cubicBezTo>
                  <a:cubicBezTo>
                    <a:pt x="159" y="222"/>
                    <a:pt x="135" y="263"/>
                    <a:pt x="133" y="306"/>
                  </a:cubicBezTo>
                  <a:cubicBezTo>
                    <a:pt x="131" y="331"/>
                    <a:pt x="141" y="358"/>
                    <a:pt x="131" y="381"/>
                  </a:cubicBezTo>
                  <a:cubicBezTo>
                    <a:pt x="120" y="408"/>
                    <a:pt x="83" y="410"/>
                    <a:pt x="60" y="424"/>
                  </a:cubicBezTo>
                  <a:cubicBezTo>
                    <a:pt x="22" y="447"/>
                    <a:pt x="1" y="490"/>
                    <a:pt x="0" y="534"/>
                  </a:cubicBezTo>
                  <a:cubicBezTo>
                    <a:pt x="1" y="610"/>
                    <a:pt x="56" y="673"/>
                    <a:pt x="125" y="694"/>
                  </a:cubicBezTo>
                </a:path>
              </a:pathLst>
            </a:custGeom>
            <a:gradFill>
              <a:gsLst>
                <a:gs pos="0">
                  <a:srgbClr val="FCD840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0" name="Freeform 70"/>
            <p:cNvSpPr/>
            <p:nvPr/>
          </p:nvSpPr>
          <p:spPr bwMode="auto">
            <a:xfrm>
              <a:off x="9365151" y="3416315"/>
              <a:ext cx="634243" cy="1392084"/>
            </a:xfrm>
            <a:custGeom>
              <a:avLst/>
              <a:gdLst>
                <a:gd name="T0" fmla="*/ 81 w 188"/>
                <a:gd name="T1" fmla="*/ 405 h 412"/>
                <a:gd name="T2" fmla="*/ 79 w 188"/>
                <a:gd name="T3" fmla="*/ 405 h 412"/>
                <a:gd name="T4" fmla="*/ 63 w 188"/>
                <a:gd name="T5" fmla="*/ 412 h 412"/>
                <a:gd name="T6" fmla="*/ 86 w 188"/>
                <a:gd name="T7" fmla="*/ 412 h 412"/>
                <a:gd name="T8" fmla="*/ 81 w 188"/>
                <a:gd name="T9" fmla="*/ 405 h 412"/>
                <a:gd name="T10" fmla="*/ 173 w 188"/>
                <a:gd name="T11" fmla="*/ 223 h 412"/>
                <a:gd name="T12" fmla="*/ 169 w 188"/>
                <a:gd name="T13" fmla="*/ 224 h 412"/>
                <a:gd name="T14" fmla="*/ 157 w 188"/>
                <a:gd name="T15" fmla="*/ 233 h 412"/>
                <a:gd name="T16" fmla="*/ 160 w 188"/>
                <a:gd name="T17" fmla="*/ 244 h 412"/>
                <a:gd name="T18" fmla="*/ 176 w 188"/>
                <a:gd name="T19" fmla="*/ 232 h 412"/>
                <a:gd name="T20" fmla="*/ 173 w 188"/>
                <a:gd name="T21" fmla="*/ 223 h 412"/>
                <a:gd name="T22" fmla="*/ 55 w 188"/>
                <a:gd name="T23" fmla="*/ 118 h 412"/>
                <a:gd name="T24" fmla="*/ 49 w 188"/>
                <a:gd name="T25" fmla="*/ 125 h 412"/>
                <a:gd name="T26" fmla="*/ 68 w 188"/>
                <a:gd name="T27" fmla="*/ 234 h 412"/>
                <a:gd name="T28" fmla="*/ 10 w 188"/>
                <a:gd name="T29" fmla="*/ 355 h 412"/>
                <a:gd name="T30" fmla="*/ 0 w 188"/>
                <a:gd name="T31" fmla="*/ 316 h 412"/>
                <a:gd name="T32" fmla="*/ 0 w 188"/>
                <a:gd name="T33" fmla="*/ 357 h 412"/>
                <a:gd name="T34" fmla="*/ 3 w 188"/>
                <a:gd name="T35" fmla="*/ 367 h 412"/>
                <a:gd name="T36" fmla="*/ 4 w 188"/>
                <a:gd name="T37" fmla="*/ 369 h 412"/>
                <a:gd name="T38" fmla="*/ 0 w 188"/>
                <a:gd name="T39" fmla="*/ 376 h 412"/>
                <a:gd name="T40" fmla="*/ 0 w 188"/>
                <a:gd name="T41" fmla="*/ 400 h 412"/>
                <a:gd name="T42" fmla="*/ 45 w 188"/>
                <a:gd name="T43" fmla="*/ 306 h 412"/>
                <a:gd name="T44" fmla="*/ 122 w 188"/>
                <a:gd name="T45" fmla="*/ 268 h 412"/>
                <a:gd name="T46" fmla="*/ 118 w 188"/>
                <a:gd name="T47" fmla="*/ 258 h 412"/>
                <a:gd name="T48" fmla="*/ 52 w 188"/>
                <a:gd name="T49" fmla="*/ 292 h 412"/>
                <a:gd name="T50" fmla="*/ 78 w 188"/>
                <a:gd name="T51" fmla="*/ 237 h 412"/>
                <a:gd name="T52" fmla="*/ 78 w 188"/>
                <a:gd name="T53" fmla="*/ 236 h 412"/>
                <a:gd name="T54" fmla="*/ 94 w 188"/>
                <a:gd name="T55" fmla="*/ 202 h 412"/>
                <a:gd name="T56" fmla="*/ 89 w 188"/>
                <a:gd name="T57" fmla="*/ 189 h 412"/>
                <a:gd name="T58" fmla="*/ 75 w 188"/>
                <a:gd name="T59" fmla="*/ 219 h 412"/>
                <a:gd name="T60" fmla="*/ 60 w 188"/>
                <a:gd name="T61" fmla="*/ 122 h 412"/>
                <a:gd name="T62" fmla="*/ 55 w 188"/>
                <a:gd name="T63" fmla="*/ 118 h 412"/>
                <a:gd name="T64" fmla="*/ 120 w 188"/>
                <a:gd name="T65" fmla="*/ 20 h 412"/>
                <a:gd name="T66" fmla="*/ 114 w 188"/>
                <a:gd name="T67" fmla="*/ 26 h 412"/>
                <a:gd name="T68" fmla="*/ 125 w 188"/>
                <a:gd name="T69" fmla="*/ 75 h 412"/>
                <a:gd name="T70" fmla="*/ 133 w 188"/>
                <a:gd name="T71" fmla="*/ 64 h 412"/>
                <a:gd name="T72" fmla="*/ 125 w 188"/>
                <a:gd name="T73" fmla="*/ 24 h 412"/>
                <a:gd name="T74" fmla="*/ 120 w 188"/>
                <a:gd name="T75" fmla="*/ 20 h 412"/>
                <a:gd name="T76" fmla="*/ 181 w 188"/>
                <a:gd name="T77" fmla="*/ 0 h 412"/>
                <a:gd name="T78" fmla="*/ 176 w 188"/>
                <a:gd name="T79" fmla="*/ 3 h 412"/>
                <a:gd name="T80" fmla="*/ 162 w 188"/>
                <a:gd name="T81" fmla="*/ 34 h 412"/>
                <a:gd name="T82" fmla="*/ 162 w 188"/>
                <a:gd name="T83" fmla="*/ 34 h 412"/>
                <a:gd name="T84" fmla="*/ 175 w 188"/>
                <a:gd name="T85" fmla="*/ 30 h 412"/>
                <a:gd name="T86" fmla="*/ 186 w 188"/>
                <a:gd name="T87" fmla="*/ 7 h 412"/>
                <a:gd name="T88" fmla="*/ 181 w 188"/>
                <a:gd name="T89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8" h="412">
                  <a:moveTo>
                    <a:pt x="81" y="405"/>
                  </a:moveTo>
                  <a:cubicBezTo>
                    <a:pt x="80" y="405"/>
                    <a:pt x="79" y="405"/>
                    <a:pt x="79" y="405"/>
                  </a:cubicBezTo>
                  <a:cubicBezTo>
                    <a:pt x="73" y="407"/>
                    <a:pt x="68" y="409"/>
                    <a:pt x="63" y="412"/>
                  </a:cubicBezTo>
                  <a:cubicBezTo>
                    <a:pt x="86" y="412"/>
                    <a:pt x="86" y="412"/>
                    <a:pt x="86" y="412"/>
                  </a:cubicBezTo>
                  <a:cubicBezTo>
                    <a:pt x="87" y="409"/>
                    <a:pt x="84" y="405"/>
                    <a:pt x="81" y="405"/>
                  </a:cubicBezTo>
                  <a:moveTo>
                    <a:pt x="173" y="223"/>
                  </a:moveTo>
                  <a:cubicBezTo>
                    <a:pt x="172" y="223"/>
                    <a:pt x="170" y="223"/>
                    <a:pt x="169" y="224"/>
                  </a:cubicBezTo>
                  <a:cubicBezTo>
                    <a:pt x="165" y="227"/>
                    <a:pt x="161" y="230"/>
                    <a:pt x="157" y="233"/>
                  </a:cubicBezTo>
                  <a:cubicBezTo>
                    <a:pt x="160" y="244"/>
                    <a:pt x="160" y="244"/>
                    <a:pt x="160" y="244"/>
                  </a:cubicBezTo>
                  <a:cubicBezTo>
                    <a:pt x="165" y="240"/>
                    <a:pt x="171" y="236"/>
                    <a:pt x="176" y="232"/>
                  </a:cubicBezTo>
                  <a:cubicBezTo>
                    <a:pt x="181" y="229"/>
                    <a:pt x="177" y="223"/>
                    <a:pt x="173" y="223"/>
                  </a:cubicBezTo>
                  <a:moveTo>
                    <a:pt x="55" y="118"/>
                  </a:moveTo>
                  <a:cubicBezTo>
                    <a:pt x="52" y="118"/>
                    <a:pt x="49" y="121"/>
                    <a:pt x="49" y="125"/>
                  </a:cubicBezTo>
                  <a:cubicBezTo>
                    <a:pt x="53" y="162"/>
                    <a:pt x="59" y="198"/>
                    <a:pt x="68" y="234"/>
                  </a:cubicBezTo>
                  <a:cubicBezTo>
                    <a:pt x="49" y="274"/>
                    <a:pt x="29" y="315"/>
                    <a:pt x="10" y="355"/>
                  </a:cubicBezTo>
                  <a:cubicBezTo>
                    <a:pt x="7" y="342"/>
                    <a:pt x="3" y="329"/>
                    <a:pt x="0" y="316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1" y="361"/>
                    <a:pt x="2" y="364"/>
                    <a:pt x="3" y="367"/>
                  </a:cubicBezTo>
                  <a:cubicBezTo>
                    <a:pt x="3" y="368"/>
                    <a:pt x="4" y="368"/>
                    <a:pt x="4" y="369"/>
                  </a:cubicBezTo>
                  <a:cubicBezTo>
                    <a:pt x="3" y="371"/>
                    <a:pt x="1" y="374"/>
                    <a:pt x="0" y="376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15" y="369"/>
                    <a:pt x="30" y="337"/>
                    <a:pt x="45" y="306"/>
                  </a:cubicBezTo>
                  <a:cubicBezTo>
                    <a:pt x="72" y="295"/>
                    <a:pt x="98" y="282"/>
                    <a:pt x="122" y="268"/>
                  </a:cubicBezTo>
                  <a:cubicBezTo>
                    <a:pt x="118" y="258"/>
                    <a:pt x="118" y="258"/>
                    <a:pt x="118" y="258"/>
                  </a:cubicBezTo>
                  <a:cubicBezTo>
                    <a:pt x="97" y="271"/>
                    <a:pt x="75" y="282"/>
                    <a:pt x="52" y="292"/>
                  </a:cubicBezTo>
                  <a:cubicBezTo>
                    <a:pt x="60" y="274"/>
                    <a:pt x="69" y="255"/>
                    <a:pt x="78" y="237"/>
                  </a:cubicBezTo>
                  <a:cubicBezTo>
                    <a:pt x="78" y="237"/>
                    <a:pt x="78" y="236"/>
                    <a:pt x="78" y="236"/>
                  </a:cubicBezTo>
                  <a:cubicBezTo>
                    <a:pt x="84" y="224"/>
                    <a:pt x="89" y="213"/>
                    <a:pt x="94" y="202"/>
                  </a:cubicBezTo>
                  <a:cubicBezTo>
                    <a:pt x="89" y="189"/>
                    <a:pt x="89" y="189"/>
                    <a:pt x="89" y="189"/>
                  </a:cubicBezTo>
                  <a:cubicBezTo>
                    <a:pt x="84" y="199"/>
                    <a:pt x="79" y="209"/>
                    <a:pt x="75" y="219"/>
                  </a:cubicBezTo>
                  <a:cubicBezTo>
                    <a:pt x="67" y="187"/>
                    <a:pt x="62" y="155"/>
                    <a:pt x="60" y="122"/>
                  </a:cubicBezTo>
                  <a:cubicBezTo>
                    <a:pt x="59" y="120"/>
                    <a:pt x="57" y="118"/>
                    <a:pt x="55" y="118"/>
                  </a:cubicBezTo>
                  <a:moveTo>
                    <a:pt x="120" y="20"/>
                  </a:moveTo>
                  <a:cubicBezTo>
                    <a:pt x="117" y="20"/>
                    <a:pt x="114" y="22"/>
                    <a:pt x="114" y="26"/>
                  </a:cubicBezTo>
                  <a:cubicBezTo>
                    <a:pt x="117" y="42"/>
                    <a:pt x="121" y="59"/>
                    <a:pt x="125" y="75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0" y="51"/>
                    <a:pt x="127" y="37"/>
                    <a:pt x="125" y="24"/>
                  </a:cubicBezTo>
                  <a:cubicBezTo>
                    <a:pt x="124" y="21"/>
                    <a:pt x="122" y="20"/>
                    <a:pt x="120" y="20"/>
                  </a:cubicBezTo>
                  <a:moveTo>
                    <a:pt x="181" y="0"/>
                  </a:moveTo>
                  <a:cubicBezTo>
                    <a:pt x="179" y="0"/>
                    <a:pt x="177" y="1"/>
                    <a:pt x="176" y="3"/>
                  </a:cubicBezTo>
                  <a:cubicBezTo>
                    <a:pt x="172" y="14"/>
                    <a:pt x="167" y="24"/>
                    <a:pt x="162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9" y="22"/>
                    <a:pt x="182" y="14"/>
                    <a:pt x="186" y="7"/>
                  </a:cubicBezTo>
                  <a:cubicBezTo>
                    <a:pt x="188" y="3"/>
                    <a:pt x="185" y="0"/>
                    <a:pt x="181" y="0"/>
                  </a:cubicBezTo>
                </a:path>
              </a:pathLst>
            </a:custGeom>
            <a:solidFill>
              <a:srgbClr val="E098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1" name="Freeform 71"/>
            <p:cNvSpPr/>
            <p:nvPr/>
          </p:nvSpPr>
          <p:spPr bwMode="auto">
            <a:xfrm>
              <a:off x="8378007" y="4808400"/>
              <a:ext cx="3028109" cy="289476"/>
            </a:xfrm>
            <a:custGeom>
              <a:avLst/>
              <a:gdLst>
                <a:gd name="T0" fmla="*/ 853 w 896"/>
                <a:gd name="T1" fmla="*/ 86 h 86"/>
                <a:gd name="T2" fmla="*/ 43 w 896"/>
                <a:gd name="T3" fmla="*/ 86 h 86"/>
                <a:gd name="T4" fmla="*/ 0 w 896"/>
                <a:gd name="T5" fmla="*/ 43 h 86"/>
                <a:gd name="T6" fmla="*/ 43 w 896"/>
                <a:gd name="T7" fmla="*/ 0 h 86"/>
                <a:gd name="T8" fmla="*/ 853 w 896"/>
                <a:gd name="T9" fmla="*/ 0 h 86"/>
                <a:gd name="T10" fmla="*/ 896 w 896"/>
                <a:gd name="T11" fmla="*/ 43 h 86"/>
                <a:gd name="T12" fmla="*/ 853 w 896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6" h="86">
                  <a:moveTo>
                    <a:pt x="853" y="86"/>
                  </a:moveTo>
                  <a:cubicBezTo>
                    <a:pt x="43" y="86"/>
                    <a:pt x="43" y="86"/>
                    <a:pt x="43" y="86"/>
                  </a:cubicBezTo>
                  <a:cubicBezTo>
                    <a:pt x="19" y="86"/>
                    <a:pt x="0" y="67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77" y="0"/>
                    <a:pt x="896" y="19"/>
                    <a:pt x="896" y="43"/>
                  </a:cubicBezTo>
                  <a:cubicBezTo>
                    <a:pt x="896" y="67"/>
                    <a:pt x="877" y="86"/>
                    <a:pt x="853" y="86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2" name="Freeform 72"/>
            <p:cNvSpPr/>
            <p:nvPr/>
          </p:nvSpPr>
          <p:spPr bwMode="auto">
            <a:xfrm>
              <a:off x="9365151" y="4808400"/>
              <a:ext cx="2040966" cy="289476"/>
            </a:xfrm>
            <a:custGeom>
              <a:avLst/>
              <a:gdLst>
                <a:gd name="T0" fmla="*/ 149 w 604"/>
                <a:gd name="T1" fmla="*/ 43 h 86"/>
                <a:gd name="T2" fmla="*/ 149 w 604"/>
                <a:gd name="T3" fmla="*/ 43 h 86"/>
                <a:gd name="T4" fmla="*/ 179 w 604"/>
                <a:gd name="T5" fmla="*/ 13 h 86"/>
                <a:gd name="T6" fmla="*/ 209 w 604"/>
                <a:gd name="T7" fmla="*/ 43 h 86"/>
                <a:gd name="T8" fmla="*/ 209 w 604"/>
                <a:gd name="T9" fmla="*/ 43 h 86"/>
                <a:gd name="T10" fmla="*/ 209 w 604"/>
                <a:gd name="T11" fmla="*/ 43 h 86"/>
                <a:gd name="T12" fmla="*/ 179 w 604"/>
                <a:gd name="T13" fmla="*/ 73 h 86"/>
                <a:gd name="T14" fmla="*/ 149 w 604"/>
                <a:gd name="T15" fmla="*/ 43 h 86"/>
                <a:gd name="T16" fmla="*/ 149 w 604"/>
                <a:gd name="T17" fmla="*/ 43 h 86"/>
                <a:gd name="T18" fmla="*/ 268 w 604"/>
                <a:gd name="T19" fmla="*/ 43 h 86"/>
                <a:gd name="T20" fmla="*/ 268 w 604"/>
                <a:gd name="T21" fmla="*/ 43 h 86"/>
                <a:gd name="T22" fmla="*/ 298 w 604"/>
                <a:gd name="T23" fmla="*/ 13 h 86"/>
                <a:gd name="T24" fmla="*/ 328 w 604"/>
                <a:gd name="T25" fmla="*/ 43 h 86"/>
                <a:gd name="T26" fmla="*/ 328 w 604"/>
                <a:gd name="T27" fmla="*/ 43 h 86"/>
                <a:gd name="T28" fmla="*/ 328 w 604"/>
                <a:gd name="T29" fmla="*/ 43 h 86"/>
                <a:gd name="T30" fmla="*/ 298 w 604"/>
                <a:gd name="T31" fmla="*/ 73 h 86"/>
                <a:gd name="T32" fmla="*/ 268 w 604"/>
                <a:gd name="T33" fmla="*/ 43 h 86"/>
                <a:gd name="T34" fmla="*/ 268 w 604"/>
                <a:gd name="T35" fmla="*/ 43 h 86"/>
                <a:gd name="T36" fmla="*/ 561 w 604"/>
                <a:gd name="T37" fmla="*/ 0 h 86"/>
                <a:gd name="T38" fmla="*/ 86 w 604"/>
                <a:gd name="T39" fmla="*/ 0 h 86"/>
                <a:gd name="T40" fmla="*/ 63 w 604"/>
                <a:gd name="T41" fmla="*/ 0 h 86"/>
                <a:gd name="T42" fmla="*/ 0 w 604"/>
                <a:gd name="T43" fmla="*/ 0 h 86"/>
                <a:gd name="T44" fmla="*/ 0 w 604"/>
                <a:gd name="T45" fmla="*/ 86 h 86"/>
                <a:gd name="T46" fmla="*/ 561 w 604"/>
                <a:gd name="T47" fmla="*/ 86 h 86"/>
                <a:gd name="T48" fmla="*/ 604 w 604"/>
                <a:gd name="T49" fmla="*/ 43 h 86"/>
                <a:gd name="T50" fmla="*/ 561 w 604"/>
                <a:gd name="T5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4" h="86">
                  <a:moveTo>
                    <a:pt x="149" y="43"/>
                  </a:moveTo>
                  <a:cubicBezTo>
                    <a:pt x="149" y="43"/>
                    <a:pt x="149" y="43"/>
                    <a:pt x="149" y="43"/>
                  </a:cubicBezTo>
                  <a:cubicBezTo>
                    <a:pt x="149" y="26"/>
                    <a:pt x="162" y="13"/>
                    <a:pt x="179" y="13"/>
                  </a:cubicBezTo>
                  <a:cubicBezTo>
                    <a:pt x="196" y="13"/>
                    <a:pt x="209" y="26"/>
                    <a:pt x="209" y="43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60"/>
                    <a:pt x="196" y="73"/>
                    <a:pt x="179" y="73"/>
                  </a:cubicBezTo>
                  <a:cubicBezTo>
                    <a:pt x="162" y="73"/>
                    <a:pt x="149" y="60"/>
                    <a:pt x="149" y="43"/>
                  </a:cubicBezTo>
                  <a:cubicBezTo>
                    <a:pt x="149" y="43"/>
                    <a:pt x="149" y="43"/>
                    <a:pt x="149" y="43"/>
                  </a:cubicBezTo>
                  <a:moveTo>
                    <a:pt x="268" y="43"/>
                  </a:moveTo>
                  <a:cubicBezTo>
                    <a:pt x="268" y="43"/>
                    <a:pt x="268" y="43"/>
                    <a:pt x="268" y="43"/>
                  </a:cubicBezTo>
                  <a:cubicBezTo>
                    <a:pt x="268" y="26"/>
                    <a:pt x="281" y="13"/>
                    <a:pt x="298" y="13"/>
                  </a:cubicBezTo>
                  <a:cubicBezTo>
                    <a:pt x="315" y="13"/>
                    <a:pt x="328" y="26"/>
                    <a:pt x="328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60"/>
                    <a:pt x="315" y="73"/>
                    <a:pt x="298" y="73"/>
                  </a:cubicBezTo>
                  <a:cubicBezTo>
                    <a:pt x="281" y="73"/>
                    <a:pt x="268" y="60"/>
                    <a:pt x="268" y="43"/>
                  </a:cubicBezTo>
                  <a:cubicBezTo>
                    <a:pt x="268" y="43"/>
                    <a:pt x="268" y="43"/>
                    <a:pt x="268" y="43"/>
                  </a:cubicBezTo>
                  <a:moveTo>
                    <a:pt x="561" y="0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561" y="86"/>
                    <a:pt x="561" y="86"/>
                    <a:pt x="561" y="86"/>
                  </a:cubicBezTo>
                  <a:cubicBezTo>
                    <a:pt x="585" y="86"/>
                    <a:pt x="604" y="67"/>
                    <a:pt x="604" y="43"/>
                  </a:cubicBezTo>
                  <a:cubicBezTo>
                    <a:pt x="604" y="19"/>
                    <a:pt x="585" y="0"/>
                    <a:pt x="561" y="0"/>
                  </a:cubicBezTo>
                </a:path>
              </a:pathLst>
            </a:custGeom>
            <a:solidFill>
              <a:srgbClr val="002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3" name="Freeform 73"/>
            <p:cNvSpPr/>
            <p:nvPr/>
          </p:nvSpPr>
          <p:spPr bwMode="auto">
            <a:xfrm>
              <a:off x="10472639" y="2447060"/>
              <a:ext cx="385426" cy="458608"/>
            </a:xfrm>
            <a:custGeom>
              <a:avLst/>
              <a:gdLst>
                <a:gd name="T0" fmla="*/ 114 w 114"/>
                <a:gd name="T1" fmla="*/ 58 h 136"/>
                <a:gd name="T2" fmla="*/ 54 w 114"/>
                <a:gd name="T3" fmla="*/ 2 h 136"/>
                <a:gd name="T4" fmla="*/ 2 w 114"/>
                <a:gd name="T5" fmla="*/ 52 h 136"/>
                <a:gd name="T6" fmla="*/ 19 w 114"/>
                <a:gd name="T7" fmla="*/ 99 h 136"/>
                <a:gd name="T8" fmla="*/ 35 w 114"/>
                <a:gd name="T9" fmla="*/ 136 h 136"/>
                <a:gd name="T10" fmla="*/ 81 w 114"/>
                <a:gd name="T11" fmla="*/ 136 h 136"/>
                <a:gd name="T12" fmla="*/ 97 w 114"/>
                <a:gd name="T13" fmla="*/ 98 h 136"/>
                <a:gd name="T14" fmla="*/ 114 w 114"/>
                <a:gd name="T15" fmla="*/ 5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6">
                  <a:moveTo>
                    <a:pt x="114" y="58"/>
                  </a:moveTo>
                  <a:cubicBezTo>
                    <a:pt x="114" y="26"/>
                    <a:pt x="87" y="0"/>
                    <a:pt x="54" y="2"/>
                  </a:cubicBezTo>
                  <a:cubicBezTo>
                    <a:pt x="27" y="4"/>
                    <a:pt x="5" y="25"/>
                    <a:pt x="2" y="52"/>
                  </a:cubicBezTo>
                  <a:cubicBezTo>
                    <a:pt x="0" y="71"/>
                    <a:pt x="7" y="88"/>
                    <a:pt x="19" y="99"/>
                  </a:cubicBezTo>
                  <a:cubicBezTo>
                    <a:pt x="30" y="109"/>
                    <a:pt x="35" y="122"/>
                    <a:pt x="35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22"/>
                    <a:pt x="87" y="109"/>
                    <a:pt x="97" y="98"/>
                  </a:cubicBezTo>
                  <a:cubicBezTo>
                    <a:pt x="108" y="88"/>
                    <a:pt x="114" y="74"/>
                    <a:pt x="114" y="58"/>
                  </a:cubicBezTo>
                  <a:close/>
                </a:path>
              </a:pathLst>
            </a:custGeom>
            <a:solidFill>
              <a:srgbClr val="FEC00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4" name="任意多边形: 形状 255"/>
            <p:cNvSpPr/>
            <p:nvPr/>
          </p:nvSpPr>
          <p:spPr bwMode="auto">
            <a:xfrm>
              <a:off x="10560456" y="2622698"/>
              <a:ext cx="216294" cy="276466"/>
            </a:xfrm>
            <a:custGeom>
              <a:avLst/>
              <a:gdLst>
                <a:gd name="connsiteX0" fmla="*/ 181723 w 211138"/>
                <a:gd name="connsiteY0" fmla="*/ 9874 h 269875"/>
                <a:gd name="connsiteX1" fmla="*/ 145771 w 211138"/>
                <a:gd name="connsiteY1" fmla="*/ 46076 h 269875"/>
                <a:gd name="connsiteX2" fmla="*/ 142502 w 211138"/>
                <a:gd name="connsiteY2" fmla="*/ 52659 h 269875"/>
                <a:gd name="connsiteX3" fmla="*/ 181723 w 211138"/>
                <a:gd name="connsiteY3" fmla="*/ 52659 h 269875"/>
                <a:gd name="connsiteX4" fmla="*/ 201333 w 211138"/>
                <a:gd name="connsiteY4" fmla="*/ 29621 h 269875"/>
                <a:gd name="connsiteX5" fmla="*/ 181723 w 211138"/>
                <a:gd name="connsiteY5" fmla="*/ 9874 h 269875"/>
                <a:gd name="connsiteX6" fmla="*/ 29836 w 211138"/>
                <a:gd name="connsiteY6" fmla="*/ 9874 h 269875"/>
                <a:gd name="connsiteX7" fmla="*/ 9945 w 211138"/>
                <a:gd name="connsiteY7" fmla="*/ 29621 h 269875"/>
                <a:gd name="connsiteX8" fmla="*/ 29836 w 211138"/>
                <a:gd name="connsiteY8" fmla="*/ 52659 h 269875"/>
                <a:gd name="connsiteX9" fmla="*/ 69617 w 211138"/>
                <a:gd name="connsiteY9" fmla="*/ 52659 h 269875"/>
                <a:gd name="connsiteX10" fmla="*/ 69617 w 211138"/>
                <a:gd name="connsiteY10" fmla="*/ 46076 h 269875"/>
                <a:gd name="connsiteX11" fmla="*/ 29836 w 211138"/>
                <a:gd name="connsiteY11" fmla="*/ 9874 h 269875"/>
                <a:gd name="connsiteX12" fmla="*/ 29836 w 211138"/>
                <a:gd name="connsiteY12" fmla="*/ 0 h 269875"/>
                <a:gd name="connsiteX13" fmla="*/ 79562 w 211138"/>
                <a:gd name="connsiteY13" fmla="*/ 46076 h 269875"/>
                <a:gd name="connsiteX14" fmla="*/ 79562 w 211138"/>
                <a:gd name="connsiteY14" fmla="*/ 52659 h 269875"/>
                <a:gd name="connsiteX15" fmla="*/ 98727 w 211138"/>
                <a:gd name="connsiteY15" fmla="*/ 52659 h 269875"/>
                <a:gd name="connsiteX16" fmla="*/ 100013 w 211138"/>
                <a:gd name="connsiteY16" fmla="*/ 52659 h 269875"/>
                <a:gd name="connsiteX17" fmla="*/ 108569 w 211138"/>
                <a:gd name="connsiteY17" fmla="*/ 52659 h 269875"/>
                <a:gd name="connsiteX18" fmla="*/ 112713 w 211138"/>
                <a:gd name="connsiteY18" fmla="*/ 52659 h 269875"/>
                <a:gd name="connsiteX19" fmla="*/ 118909 w 211138"/>
                <a:gd name="connsiteY19" fmla="*/ 52659 h 269875"/>
                <a:gd name="connsiteX20" fmla="*/ 132697 w 211138"/>
                <a:gd name="connsiteY20" fmla="*/ 52659 h 269875"/>
                <a:gd name="connsiteX21" fmla="*/ 132697 w 211138"/>
                <a:gd name="connsiteY21" fmla="*/ 46076 h 269875"/>
                <a:gd name="connsiteX22" fmla="*/ 181723 w 211138"/>
                <a:gd name="connsiteY22" fmla="*/ 0 h 269875"/>
                <a:gd name="connsiteX23" fmla="*/ 211138 w 211138"/>
                <a:gd name="connsiteY23" fmla="*/ 29621 h 269875"/>
                <a:gd name="connsiteX24" fmla="*/ 181723 w 211138"/>
                <a:gd name="connsiteY24" fmla="*/ 62532 h 269875"/>
                <a:gd name="connsiteX25" fmla="*/ 142502 w 211138"/>
                <a:gd name="connsiteY25" fmla="*/ 62532 h 269875"/>
                <a:gd name="connsiteX26" fmla="*/ 126160 w 211138"/>
                <a:gd name="connsiteY26" fmla="*/ 269875 h 269875"/>
                <a:gd name="connsiteX27" fmla="*/ 116355 w 211138"/>
                <a:gd name="connsiteY27" fmla="*/ 269875 h 269875"/>
                <a:gd name="connsiteX28" fmla="*/ 132697 w 211138"/>
                <a:gd name="connsiteY28" fmla="*/ 62532 h 269875"/>
                <a:gd name="connsiteX29" fmla="*/ 113802 w 211138"/>
                <a:gd name="connsiteY29" fmla="*/ 62532 h 269875"/>
                <a:gd name="connsiteX30" fmla="*/ 112713 w 211138"/>
                <a:gd name="connsiteY30" fmla="*/ 62532 h 269875"/>
                <a:gd name="connsiteX31" fmla="*/ 104099 w 211138"/>
                <a:gd name="connsiteY31" fmla="*/ 62532 h 269875"/>
                <a:gd name="connsiteX32" fmla="*/ 100013 w 211138"/>
                <a:gd name="connsiteY32" fmla="*/ 62532 h 269875"/>
                <a:gd name="connsiteX33" fmla="*/ 93547 w 211138"/>
                <a:gd name="connsiteY33" fmla="*/ 62532 h 269875"/>
                <a:gd name="connsiteX34" fmla="*/ 79562 w 211138"/>
                <a:gd name="connsiteY34" fmla="*/ 62532 h 269875"/>
                <a:gd name="connsiteX35" fmla="*/ 96137 w 211138"/>
                <a:gd name="connsiteY35" fmla="*/ 269875 h 269875"/>
                <a:gd name="connsiteX36" fmla="*/ 86192 w 211138"/>
                <a:gd name="connsiteY36" fmla="*/ 269875 h 269875"/>
                <a:gd name="connsiteX37" fmla="*/ 69617 w 211138"/>
                <a:gd name="connsiteY37" fmla="*/ 62532 h 269875"/>
                <a:gd name="connsiteX38" fmla="*/ 29836 w 211138"/>
                <a:gd name="connsiteY38" fmla="*/ 62532 h 269875"/>
                <a:gd name="connsiteX39" fmla="*/ 0 w 211138"/>
                <a:gd name="connsiteY39" fmla="*/ 29621 h 269875"/>
                <a:gd name="connsiteX40" fmla="*/ 29836 w 211138"/>
                <a:gd name="connsiteY40" fmla="*/ 0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1138" h="269875">
                  <a:moveTo>
                    <a:pt x="181723" y="9874"/>
                  </a:moveTo>
                  <a:cubicBezTo>
                    <a:pt x="162113" y="9874"/>
                    <a:pt x="145771" y="26329"/>
                    <a:pt x="145771" y="46076"/>
                  </a:cubicBezTo>
                  <a:lnTo>
                    <a:pt x="142502" y="52659"/>
                  </a:lnTo>
                  <a:cubicBezTo>
                    <a:pt x="181723" y="52659"/>
                    <a:pt x="181723" y="52659"/>
                    <a:pt x="181723" y="52659"/>
                  </a:cubicBezTo>
                  <a:cubicBezTo>
                    <a:pt x="194796" y="52659"/>
                    <a:pt x="201333" y="42785"/>
                    <a:pt x="201333" y="29621"/>
                  </a:cubicBezTo>
                  <a:cubicBezTo>
                    <a:pt x="201333" y="19747"/>
                    <a:pt x="194796" y="9874"/>
                    <a:pt x="181723" y="9874"/>
                  </a:cubicBezTo>
                  <a:close/>
                  <a:moveTo>
                    <a:pt x="29836" y="9874"/>
                  </a:moveTo>
                  <a:cubicBezTo>
                    <a:pt x="19890" y="9874"/>
                    <a:pt x="9945" y="19747"/>
                    <a:pt x="9945" y="29621"/>
                  </a:cubicBezTo>
                  <a:cubicBezTo>
                    <a:pt x="9945" y="42785"/>
                    <a:pt x="19890" y="52659"/>
                    <a:pt x="29836" y="52659"/>
                  </a:cubicBezTo>
                  <a:cubicBezTo>
                    <a:pt x="69617" y="52659"/>
                    <a:pt x="69617" y="52659"/>
                    <a:pt x="69617" y="52659"/>
                  </a:cubicBezTo>
                  <a:cubicBezTo>
                    <a:pt x="69617" y="46076"/>
                    <a:pt x="69617" y="46076"/>
                    <a:pt x="69617" y="46076"/>
                  </a:cubicBezTo>
                  <a:cubicBezTo>
                    <a:pt x="66302" y="26329"/>
                    <a:pt x="49726" y="9874"/>
                    <a:pt x="29836" y="9874"/>
                  </a:cubicBezTo>
                  <a:close/>
                  <a:moveTo>
                    <a:pt x="29836" y="0"/>
                  </a:moveTo>
                  <a:cubicBezTo>
                    <a:pt x="56356" y="0"/>
                    <a:pt x="76247" y="19747"/>
                    <a:pt x="79562" y="46076"/>
                  </a:cubicBezTo>
                  <a:cubicBezTo>
                    <a:pt x="79562" y="52659"/>
                    <a:pt x="79562" y="52659"/>
                    <a:pt x="79562" y="52659"/>
                  </a:cubicBezTo>
                  <a:cubicBezTo>
                    <a:pt x="87850" y="52659"/>
                    <a:pt x="94065" y="52659"/>
                    <a:pt x="98727" y="52659"/>
                  </a:cubicBezTo>
                  <a:lnTo>
                    <a:pt x="100013" y="52659"/>
                  </a:lnTo>
                  <a:lnTo>
                    <a:pt x="108569" y="52659"/>
                  </a:lnTo>
                  <a:lnTo>
                    <a:pt x="112713" y="52659"/>
                  </a:lnTo>
                  <a:lnTo>
                    <a:pt x="118909" y="52659"/>
                  </a:lnTo>
                  <a:cubicBezTo>
                    <a:pt x="132697" y="52659"/>
                    <a:pt x="132697" y="52659"/>
                    <a:pt x="132697" y="52659"/>
                  </a:cubicBezTo>
                  <a:cubicBezTo>
                    <a:pt x="132697" y="46076"/>
                    <a:pt x="132697" y="46076"/>
                    <a:pt x="132697" y="46076"/>
                  </a:cubicBezTo>
                  <a:cubicBezTo>
                    <a:pt x="135965" y="19747"/>
                    <a:pt x="155576" y="0"/>
                    <a:pt x="181723" y="0"/>
                  </a:cubicBezTo>
                  <a:cubicBezTo>
                    <a:pt x="198065" y="0"/>
                    <a:pt x="211138" y="13165"/>
                    <a:pt x="211138" y="29621"/>
                  </a:cubicBezTo>
                  <a:cubicBezTo>
                    <a:pt x="211138" y="49368"/>
                    <a:pt x="198065" y="62532"/>
                    <a:pt x="181723" y="62532"/>
                  </a:cubicBezTo>
                  <a:cubicBezTo>
                    <a:pt x="142502" y="62532"/>
                    <a:pt x="142502" y="62532"/>
                    <a:pt x="142502" y="62532"/>
                  </a:cubicBezTo>
                  <a:lnTo>
                    <a:pt x="126160" y="269875"/>
                  </a:lnTo>
                  <a:cubicBezTo>
                    <a:pt x="116355" y="269875"/>
                    <a:pt x="116355" y="269875"/>
                    <a:pt x="116355" y="269875"/>
                  </a:cubicBezTo>
                  <a:cubicBezTo>
                    <a:pt x="132697" y="62532"/>
                    <a:pt x="132697" y="62532"/>
                    <a:pt x="132697" y="62532"/>
                  </a:cubicBezTo>
                  <a:cubicBezTo>
                    <a:pt x="124526" y="62532"/>
                    <a:pt x="118398" y="62532"/>
                    <a:pt x="113802" y="62532"/>
                  </a:cubicBezTo>
                  <a:lnTo>
                    <a:pt x="112713" y="62532"/>
                  </a:lnTo>
                  <a:lnTo>
                    <a:pt x="104099" y="62532"/>
                  </a:lnTo>
                  <a:cubicBezTo>
                    <a:pt x="100013" y="62532"/>
                    <a:pt x="100013" y="62532"/>
                    <a:pt x="100013" y="62532"/>
                  </a:cubicBezTo>
                  <a:lnTo>
                    <a:pt x="93547" y="62532"/>
                  </a:lnTo>
                  <a:cubicBezTo>
                    <a:pt x="79562" y="62532"/>
                    <a:pt x="79562" y="62532"/>
                    <a:pt x="79562" y="62532"/>
                  </a:cubicBezTo>
                  <a:cubicBezTo>
                    <a:pt x="96137" y="269875"/>
                    <a:pt x="96137" y="269875"/>
                    <a:pt x="96137" y="269875"/>
                  </a:cubicBezTo>
                  <a:lnTo>
                    <a:pt x="86192" y="269875"/>
                  </a:lnTo>
                  <a:cubicBezTo>
                    <a:pt x="69617" y="62532"/>
                    <a:pt x="69617" y="62532"/>
                    <a:pt x="69617" y="62532"/>
                  </a:cubicBezTo>
                  <a:cubicBezTo>
                    <a:pt x="29836" y="62532"/>
                    <a:pt x="29836" y="62532"/>
                    <a:pt x="29836" y="62532"/>
                  </a:cubicBezTo>
                  <a:cubicBezTo>
                    <a:pt x="13260" y="62532"/>
                    <a:pt x="0" y="49368"/>
                    <a:pt x="0" y="29621"/>
                  </a:cubicBezTo>
                  <a:cubicBezTo>
                    <a:pt x="0" y="13165"/>
                    <a:pt x="13260" y="0"/>
                    <a:pt x="29836" y="0"/>
                  </a:cubicBezTo>
                  <a:close/>
                </a:path>
              </a:pathLst>
            </a:custGeom>
            <a:solidFill>
              <a:srgbClr val="DCA4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15" name="Freeform 76"/>
            <p:cNvSpPr/>
            <p:nvPr/>
          </p:nvSpPr>
          <p:spPr bwMode="auto">
            <a:xfrm>
              <a:off x="10591357" y="2889405"/>
              <a:ext cx="156121" cy="144738"/>
            </a:xfrm>
            <a:custGeom>
              <a:avLst/>
              <a:gdLst>
                <a:gd name="T0" fmla="*/ 46 w 46"/>
                <a:gd name="T1" fmla="*/ 0 h 43"/>
                <a:gd name="T2" fmla="*/ 37 w 46"/>
                <a:gd name="T3" fmla="*/ 0 h 43"/>
                <a:gd name="T4" fmla="*/ 9 w 46"/>
                <a:gd name="T5" fmla="*/ 0 h 43"/>
                <a:gd name="T6" fmla="*/ 0 w 46"/>
                <a:gd name="T7" fmla="*/ 0 h 43"/>
                <a:gd name="T8" fmla="*/ 0 w 46"/>
                <a:gd name="T9" fmla="*/ 36 h 43"/>
                <a:gd name="T10" fmla="*/ 10 w 46"/>
                <a:gd name="T11" fmla="*/ 36 h 43"/>
                <a:gd name="T12" fmla="*/ 23 w 46"/>
                <a:gd name="T13" fmla="*/ 43 h 43"/>
                <a:gd name="T14" fmla="*/ 36 w 46"/>
                <a:gd name="T15" fmla="*/ 36 h 43"/>
                <a:gd name="T16" fmla="*/ 46 w 46"/>
                <a:gd name="T17" fmla="*/ 36 h 43"/>
                <a:gd name="T18" fmla="*/ 46 w 4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3">
                  <a:moveTo>
                    <a:pt x="4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3" y="40"/>
                    <a:pt x="18" y="43"/>
                    <a:pt x="23" y="43"/>
                  </a:cubicBezTo>
                  <a:cubicBezTo>
                    <a:pt x="29" y="43"/>
                    <a:pt x="33" y="40"/>
                    <a:pt x="36" y="36"/>
                  </a:cubicBezTo>
                  <a:cubicBezTo>
                    <a:pt x="46" y="36"/>
                    <a:pt x="46" y="36"/>
                    <a:pt x="46" y="36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6" name="Freeform 77"/>
            <p:cNvSpPr/>
            <p:nvPr/>
          </p:nvSpPr>
          <p:spPr bwMode="auto">
            <a:xfrm>
              <a:off x="10591357" y="2889405"/>
              <a:ext cx="156121" cy="144738"/>
            </a:xfrm>
            <a:custGeom>
              <a:avLst/>
              <a:gdLst>
                <a:gd name="T0" fmla="*/ 46 w 46"/>
                <a:gd name="T1" fmla="*/ 0 h 43"/>
                <a:gd name="T2" fmla="*/ 37 w 46"/>
                <a:gd name="T3" fmla="*/ 0 h 43"/>
                <a:gd name="T4" fmla="*/ 9 w 46"/>
                <a:gd name="T5" fmla="*/ 0 h 43"/>
                <a:gd name="T6" fmla="*/ 0 w 46"/>
                <a:gd name="T7" fmla="*/ 0 h 43"/>
                <a:gd name="T8" fmla="*/ 0 w 46"/>
                <a:gd name="T9" fmla="*/ 36 h 43"/>
                <a:gd name="T10" fmla="*/ 10 w 46"/>
                <a:gd name="T11" fmla="*/ 36 h 43"/>
                <a:gd name="T12" fmla="*/ 23 w 46"/>
                <a:gd name="T13" fmla="*/ 43 h 43"/>
                <a:gd name="T14" fmla="*/ 36 w 46"/>
                <a:gd name="T15" fmla="*/ 36 h 43"/>
                <a:gd name="T16" fmla="*/ 46 w 46"/>
                <a:gd name="T17" fmla="*/ 36 h 43"/>
                <a:gd name="T18" fmla="*/ 46 w 4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3">
                  <a:moveTo>
                    <a:pt x="4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3" y="40"/>
                    <a:pt x="18" y="43"/>
                    <a:pt x="23" y="43"/>
                  </a:cubicBezTo>
                  <a:cubicBezTo>
                    <a:pt x="29" y="43"/>
                    <a:pt x="33" y="40"/>
                    <a:pt x="36" y="36"/>
                  </a:cubicBezTo>
                  <a:cubicBezTo>
                    <a:pt x="46" y="36"/>
                    <a:pt x="46" y="36"/>
                    <a:pt x="46" y="36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00298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7" name="Freeform 78"/>
            <p:cNvSpPr/>
            <p:nvPr/>
          </p:nvSpPr>
          <p:spPr bwMode="auto">
            <a:xfrm>
              <a:off x="10581599" y="2889405"/>
              <a:ext cx="175638" cy="21143"/>
            </a:xfrm>
            <a:custGeom>
              <a:avLst/>
              <a:gdLst>
                <a:gd name="T0" fmla="*/ 1 w 52"/>
                <a:gd name="T1" fmla="*/ 0 h 6"/>
                <a:gd name="T2" fmla="*/ 0 w 52"/>
                <a:gd name="T3" fmla="*/ 2 h 6"/>
                <a:gd name="T4" fmla="*/ 4 w 52"/>
                <a:gd name="T5" fmla="*/ 6 h 6"/>
                <a:gd name="T6" fmla="*/ 48 w 52"/>
                <a:gd name="T7" fmla="*/ 6 h 6"/>
                <a:gd name="T8" fmla="*/ 52 w 52"/>
                <a:gd name="T9" fmla="*/ 2 h 6"/>
                <a:gd name="T10" fmla="*/ 51 w 52"/>
                <a:gd name="T11" fmla="*/ 0 h 6"/>
                <a:gd name="T12" fmla="*/ 1 w 5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6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5"/>
                    <a:pt x="2" y="6"/>
                    <a:pt x="4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0" y="6"/>
                    <a:pt x="52" y="5"/>
                    <a:pt x="52" y="2"/>
                  </a:cubicBezTo>
                  <a:cubicBezTo>
                    <a:pt x="52" y="2"/>
                    <a:pt x="52" y="1"/>
                    <a:pt x="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939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8" name="Freeform 79"/>
            <p:cNvSpPr/>
            <p:nvPr/>
          </p:nvSpPr>
          <p:spPr bwMode="auto">
            <a:xfrm>
              <a:off x="10581599" y="2933314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6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9" name="Freeform 80"/>
            <p:cNvSpPr/>
            <p:nvPr/>
          </p:nvSpPr>
          <p:spPr bwMode="auto">
            <a:xfrm>
              <a:off x="10581599" y="2983728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6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0" name="Freeform 81"/>
            <p:cNvSpPr/>
            <p:nvPr/>
          </p:nvSpPr>
          <p:spPr bwMode="auto">
            <a:xfrm>
              <a:off x="10581599" y="2882899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7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1" name="Freeform 82"/>
            <p:cNvSpPr/>
            <p:nvPr/>
          </p:nvSpPr>
          <p:spPr bwMode="auto">
            <a:xfrm>
              <a:off x="9979880" y="5179188"/>
              <a:ext cx="455355" cy="670022"/>
            </a:xfrm>
            <a:custGeom>
              <a:avLst/>
              <a:gdLst>
                <a:gd name="T0" fmla="*/ 32 w 135"/>
                <a:gd name="T1" fmla="*/ 8 h 198"/>
                <a:gd name="T2" fmla="*/ 118 w 135"/>
                <a:gd name="T3" fmla="*/ 41 h 198"/>
                <a:gd name="T4" fmla="*/ 111 w 135"/>
                <a:gd name="T5" fmla="*/ 165 h 198"/>
                <a:gd name="T6" fmla="*/ 132 w 135"/>
                <a:gd name="T7" fmla="*/ 198 h 198"/>
                <a:gd name="T8" fmla="*/ 3 w 135"/>
                <a:gd name="T9" fmla="*/ 198 h 198"/>
                <a:gd name="T10" fmla="*/ 31 w 135"/>
                <a:gd name="T11" fmla="*/ 131 h 198"/>
                <a:gd name="T12" fmla="*/ 54 w 135"/>
                <a:gd name="T13" fmla="*/ 94 h 198"/>
                <a:gd name="T14" fmla="*/ 37 w 135"/>
                <a:gd name="T15" fmla="*/ 98 h 198"/>
                <a:gd name="T16" fmla="*/ 32 w 135"/>
                <a:gd name="T17" fmla="*/ 116 h 198"/>
                <a:gd name="T18" fmla="*/ 11 w 135"/>
                <a:gd name="T19" fmla="*/ 126 h 198"/>
                <a:gd name="T20" fmla="*/ 3 w 135"/>
                <a:gd name="T21" fmla="*/ 101 h 198"/>
                <a:gd name="T22" fmla="*/ 14 w 135"/>
                <a:gd name="T23" fmla="*/ 80 h 198"/>
                <a:gd name="T24" fmla="*/ 19 w 135"/>
                <a:gd name="T25" fmla="*/ 47 h 198"/>
                <a:gd name="T26" fmla="*/ 24 w 135"/>
                <a:gd name="T27" fmla="*/ 36 h 198"/>
                <a:gd name="T28" fmla="*/ 11 w 135"/>
                <a:gd name="T29" fmla="*/ 19 h 198"/>
                <a:gd name="T30" fmla="*/ 32 w 135"/>
                <a:gd name="T31" fmla="*/ 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5" h="198">
                  <a:moveTo>
                    <a:pt x="32" y="8"/>
                  </a:moveTo>
                  <a:cubicBezTo>
                    <a:pt x="61" y="0"/>
                    <a:pt x="102" y="4"/>
                    <a:pt x="118" y="41"/>
                  </a:cubicBezTo>
                  <a:cubicBezTo>
                    <a:pt x="135" y="79"/>
                    <a:pt x="91" y="132"/>
                    <a:pt x="111" y="165"/>
                  </a:cubicBezTo>
                  <a:cubicBezTo>
                    <a:pt x="132" y="198"/>
                    <a:pt x="132" y="198"/>
                    <a:pt x="132" y="198"/>
                  </a:cubicBezTo>
                  <a:cubicBezTo>
                    <a:pt x="3" y="198"/>
                    <a:pt x="3" y="198"/>
                    <a:pt x="3" y="198"/>
                  </a:cubicBezTo>
                  <a:cubicBezTo>
                    <a:pt x="3" y="198"/>
                    <a:pt x="0" y="154"/>
                    <a:pt x="31" y="131"/>
                  </a:cubicBezTo>
                  <a:cubicBezTo>
                    <a:pt x="62" y="107"/>
                    <a:pt x="54" y="94"/>
                    <a:pt x="54" y="94"/>
                  </a:cubicBezTo>
                  <a:cubicBezTo>
                    <a:pt x="54" y="94"/>
                    <a:pt x="47" y="96"/>
                    <a:pt x="37" y="98"/>
                  </a:cubicBezTo>
                  <a:cubicBezTo>
                    <a:pt x="26" y="100"/>
                    <a:pt x="36" y="111"/>
                    <a:pt x="32" y="116"/>
                  </a:cubicBezTo>
                  <a:cubicBezTo>
                    <a:pt x="28" y="122"/>
                    <a:pt x="11" y="126"/>
                    <a:pt x="11" y="126"/>
                  </a:cubicBezTo>
                  <a:cubicBezTo>
                    <a:pt x="11" y="126"/>
                    <a:pt x="4" y="106"/>
                    <a:pt x="3" y="101"/>
                  </a:cubicBezTo>
                  <a:cubicBezTo>
                    <a:pt x="2" y="96"/>
                    <a:pt x="11" y="95"/>
                    <a:pt x="14" y="80"/>
                  </a:cubicBezTo>
                  <a:cubicBezTo>
                    <a:pt x="17" y="65"/>
                    <a:pt x="18" y="55"/>
                    <a:pt x="19" y="47"/>
                  </a:cubicBezTo>
                  <a:cubicBezTo>
                    <a:pt x="20" y="38"/>
                    <a:pt x="24" y="36"/>
                    <a:pt x="24" y="36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21" y="11"/>
                    <a:pt x="32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2" name="Rectangle 83"/>
            <p:cNvSpPr/>
            <p:nvPr/>
          </p:nvSpPr>
          <p:spPr bwMode="auto">
            <a:xfrm>
              <a:off x="9973374" y="5834575"/>
              <a:ext cx="465112" cy="91072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3" name="Rectangle 84"/>
            <p:cNvSpPr/>
            <p:nvPr/>
          </p:nvSpPr>
          <p:spPr bwMode="auto">
            <a:xfrm>
              <a:off x="9952233" y="5912636"/>
              <a:ext cx="507396" cy="125223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4" name="Rectangle 85"/>
            <p:cNvSpPr/>
            <p:nvPr/>
          </p:nvSpPr>
          <p:spPr bwMode="auto">
            <a:xfrm>
              <a:off x="9973374" y="5834575"/>
              <a:ext cx="465112" cy="91072"/>
            </a:xfrm>
            <a:prstGeom prst="rect">
              <a:avLst/>
            </a:prstGeom>
            <a:solidFill>
              <a:srgbClr val="002D94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5" name="Rectangle 86"/>
            <p:cNvSpPr/>
            <p:nvPr/>
          </p:nvSpPr>
          <p:spPr bwMode="auto">
            <a:xfrm>
              <a:off x="9952233" y="5912636"/>
              <a:ext cx="507396" cy="125223"/>
            </a:xfrm>
            <a:prstGeom prst="rect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6" name="Oval 87"/>
            <p:cNvSpPr/>
            <p:nvPr/>
          </p:nvSpPr>
          <p:spPr bwMode="auto">
            <a:xfrm>
              <a:off x="9064291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7" name="Oval 88"/>
            <p:cNvSpPr/>
            <p:nvPr/>
          </p:nvSpPr>
          <p:spPr bwMode="auto">
            <a:xfrm>
              <a:off x="9049656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8" name="Oval 89"/>
            <p:cNvSpPr/>
            <p:nvPr/>
          </p:nvSpPr>
          <p:spPr bwMode="auto">
            <a:xfrm>
              <a:off x="9114706" y="4915734"/>
              <a:ext cx="73183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9" name="Oval 90"/>
            <p:cNvSpPr/>
            <p:nvPr/>
          </p:nvSpPr>
          <p:spPr bwMode="auto">
            <a:xfrm>
              <a:off x="9465980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0" name="Oval 91"/>
            <p:cNvSpPr/>
            <p:nvPr/>
          </p:nvSpPr>
          <p:spPr bwMode="auto">
            <a:xfrm>
              <a:off x="9465980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1" name="Oval 92"/>
            <p:cNvSpPr/>
            <p:nvPr/>
          </p:nvSpPr>
          <p:spPr bwMode="auto">
            <a:xfrm>
              <a:off x="9452969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2" name="Oval 93"/>
            <p:cNvSpPr/>
            <p:nvPr/>
          </p:nvSpPr>
          <p:spPr bwMode="auto">
            <a:xfrm>
              <a:off x="9516393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3" name="Oval 94"/>
            <p:cNvSpPr/>
            <p:nvPr/>
          </p:nvSpPr>
          <p:spPr bwMode="auto">
            <a:xfrm>
              <a:off x="986766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4" name="Oval 95"/>
            <p:cNvSpPr/>
            <p:nvPr/>
          </p:nvSpPr>
          <p:spPr bwMode="auto">
            <a:xfrm>
              <a:off x="9867667" y="4852310"/>
              <a:ext cx="203284" cy="201657"/>
            </a:xfrm>
            <a:prstGeom prst="ellipse">
              <a:avLst/>
            </a:prstGeom>
            <a:solidFill>
              <a:srgbClr val="000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5" name="Oval 96"/>
            <p:cNvSpPr/>
            <p:nvPr/>
          </p:nvSpPr>
          <p:spPr bwMode="auto">
            <a:xfrm>
              <a:off x="985465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6" name="Oval 97"/>
            <p:cNvSpPr/>
            <p:nvPr/>
          </p:nvSpPr>
          <p:spPr bwMode="auto">
            <a:xfrm>
              <a:off x="9918081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7" name="Oval 98"/>
            <p:cNvSpPr/>
            <p:nvPr/>
          </p:nvSpPr>
          <p:spPr bwMode="auto">
            <a:xfrm>
              <a:off x="10270981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8" name="Oval 99"/>
            <p:cNvSpPr/>
            <p:nvPr/>
          </p:nvSpPr>
          <p:spPr bwMode="auto">
            <a:xfrm>
              <a:off x="10270981" y="4852310"/>
              <a:ext cx="201657" cy="201657"/>
            </a:xfrm>
            <a:prstGeom prst="ellipse">
              <a:avLst/>
            </a:prstGeom>
            <a:solidFill>
              <a:srgbClr val="000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9" name="Oval 100"/>
            <p:cNvSpPr/>
            <p:nvPr/>
          </p:nvSpPr>
          <p:spPr bwMode="auto">
            <a:xfrm>
              <a:off x="10256345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0" name="Oval 101"/>
            <p:cNvSpPr/>
            <p:nvPr/>
          </p:nvSpPr>
          <p:spPr bwMode="auto">
            <a:xfrm>
              <a:off x="10321396" y="4915734"/>
              <a:ext cx="73183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1" name="Oval 102"/>
            <p:cNvSpPr/>
            <p:nvPr/>
          </p:nvSpPr>
          <p:spPr bwMode="auto">
            <a:xfrm>
              <a:off x="10672671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2" name="Oval 103"/>
            <p:cNvSpPr/>
            <p:nvPr/>
          </p:nvSpPr>
          <p:spPr bwMode="auto">
            <a:xfrm>
              <a:off x="10672671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3" name="Oval 104"/>
            <p:cNvSpPr/>
            <p:nvPr/>
          </p:nvSpPr>
          <p:spPr bwMode="auto">
            <a:xfrm>
              <a:off x="10659659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4" name="Oval 105"/>
            <p:cNvSpPr/>
            <p:nvPr/>
          </p:nvSpPr>
          <p:spPr bwMode="auto">
            <a:xfrm>
              <a:off x="10723084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5" name="Oval 106"/>
            <p:cNvSpPr/>
            <p:nvPr/>
          </p:nvSpPr>
          <p:spPr bwMode="auto">
            <a:xfrm>
              <a:off x="11074358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6" name="Oval 107"/>
            <p:cNvSpPr/>
            <p:nvPr/>
          </p:nvSpPr>
          <p:spPr bwMode="auto">
            <a:xfrm>
              <a:off x="11074358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7" name="Oval 108"/>
            <p:cNvSpPr/>
            <p:nvPr/>
          </p:nvSpPr>
          <p:spPr bwMode="auto">
            <a:xfrm>
              <a:off x="1106134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8" name="Oval 109"/>
            <p:cNvSpPr/>
            <p:nvPr/>
          </p:nvSpPr>
          <p:spPr bwMode="auto">
            <a:xfrm>
              <a:off x="11124773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9" name="Freeform 110"/>
            <p:cNvSpPr/>
            <p:nvPr/>
          </p:nvSpPr>
          <p:spPr bwMode="auto">
            <a:xfrm>
              <a:off x="9716425" y="4501036"/>
              <a:ext cx="787113" cy="169132"/>
            </a:xfrm>
            <a:custGeom>
              <a:avLst/>
              <a:gdLst>
                <a:gd name="T0" fmla="*/ 177 w 233"/>
                <a:gd name="T1" fmla="*/ 50 h 50"/>
                <a:gd name="T2" fmla="*/ 0 w 233"/>
                <a:gd name="T3" fmla="*/ 50 h 50"/>
                <a:gd name="T4" fmla="*/ 0 w 233"/>
                <a:gd name="T5" fmla="*/ 0 h 50"/>
                <a:gd name="T6" fmla="*/ 233 w 233"/>
                <a:gd name="T7" fmla="*/ 0 h 50"/>
                <a:gd name="T8" fmla="*/ 191 w 233"/>
                <a:gd name="T9" fmla="*/ 44 h 50"/>
                <a:gd name="T10" fmla="*/ 177 w 23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3" h="50">
                  <a:moveTo>
                    <a:pt x="177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88" y="48"/>
                    <a:pt x="183" y="50"/>
                    <a:pt x="177" y="50"/>
                  </a:cubicBezTo>
                  <a:close/>
                </a:path>
              </a:pathLst>
            </a:custGeom>
            <a:solidFill>
              <a:srgbClr val="A3C7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0" name="Freeform 111"/>
            <p:cNvSpPr/>
            <p:nvPr/>
          </p:nvSpPr>
          <p:spPr bwMode="auto">
            <a:xfrm>
              <a:off x="9604212" y="4453873"/>
              <a:ext cx="899326" cy="1496166"/>
            </a:xfrm>
            <a:custGeom>
              <a:avLst/>
              <a:gdLst>
                <a:gd name="T0" fmla="*/ 349 w 553"/>
                <a:gd name="T1" fmla="*/ 0 h 920"/>
                <a:gd name="T2" fmla="*/ 148 w 553"/>
                <a:gd name="T3" fmla="*/ 139 h 920"/>
                <a:gd name="T4" fmla="*/ 100 w 553"/>
                <a:gd name="T5" fmla="*/ 205 h 920"/>
                <a:gd name="T6" fmla="*/ 92 w 553"/>
                <a:gd name="T7" fmla="*/ 880 h 920"/>
                <a:gd name="T8" fmla="*/ 0 w 553"/>
                <a:gd name="T9" fmla="*/ 920 h 920"/>
                <a:gd name="T10" fmla="*/ 135 w 553"/>
                <a:gd name="T11" fmla="*/ 920 h 920"/>
                <a:gd name="T12" fmla="*/ 283 w 553"/>
                <a:gd name="T13" fmla="*/ 324 h 920"/>
                <a:gd name="T14" fmla="*/ 545 w 553"/>
                <a:gd name="T15" fmla="*/ 176 h 920"/>
                <a:gd name="T16" fmla="*/ 553 w 553"/>
                <a:gd name="T17" fmla="*/ 29 h 920"/>
                <a:gd name="T18" fmla="*/ 374 w 553"/>
                <a:gd name="T19" fmla="*/ 0 h 920"/>
                <a:gd name="T20" fmla="*/ 349 w 553"/>
                <a:gd name="T21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920">
                  <a:moveTo>
                    <a:pt x="349" y="0"/>
                  </a:moveTo>
                  <a:lnTo>
                    <a:pt x="148" y="139"/>
                  </a:lnTo>
                  <a:lnTo>
                    <a:pt x="100" y="205"/>
                  </a:lnTo>
                  <a:lnTo>
                    <a:pt x="92" y="880"/>
                  </a:lnTo>
                  <a:lnTo>
                    <a:pt x="0" y="920"/>
                  </a:lnTo>
                  <a:lnTo>
                    <a:pt x="135" y="920"/>
                  </a:lnTo>
                  <a:lnTo>
                    <a:pt x="283" y="324"/>
                  </a:lnTo>
                  <a:lnTo>
                    <a:pt x="545" y="176"/>
                  </a:lnTo>
                  <a:lnTo>
                    <a:pt x="553" y="29"/>
                  </a:lnTo>
                  <a:lnTo>
                    <a:pt x="374" y="0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1" name="Freeform 112"/>
            <p:cNvSpPr/>
            <p:nvPr/>
          </p:nvSpPr>
          <p:spPr bwMode="auto">
            <a:xfrm>
              <a:off x="9604212" y="4453873"/>
              <a:ext cx="899326" cy="1496166"/>
            </a:xfrm>
            <a:custGeom>
              <a:avLst/>
              <a:gdLst>
                <a:gd name="T0" fmla="*/ 349 w 553"/>
                <a:gd name="T1" fmla="*/ 0 h 920"/>
                <a:gd name="T2" fmla="*/ 148 w 553"/>
                <a:gd name="T3" fmla="*/ 139 h 920"/>
                <a:gd name="T4" fmla="*/ 100 w 553"/>
                <a:gd name="T5" fmla="*/ 205 h 920"/>
                <a:gd name="T6" fmla="*/ 92 w 553"/>
                <a:gd name="T7" fmla="*/ 880 h 920"/>
                <a:gd name="T8" fmla="*/ 0 w 553"/>
                <a:gd name="T9" fmla="*/ 920 h 920"/>
                <a:gd name="T10" fmla="*/ 135 w 553"/>
                <a:gd name="T11" fmla="*/ 920 h 920"/>
                <a:gd name="T12" fmla="*/ 283 w 553"/>
                <a:gd name="T13" fmla="*/ 324 h 920"/>
                <a:gd name="T14" fmla="*/ 545 w 553"/>
                <a:gd name="T15" fmla="*/ 176 h 920"/>
                <a:gd name="T16" fmla="*/ 553 w 553"/>
                <a:gd name="T17" fmla="*/ 29 h 920"/>
                <a:gd name="T18" fmla="*/ 374 w 553"/>
                <a:gd name="T19" fmla="*/ 0 h 920"/>
                <a:gd name="T20" fmla="*/ 349 w 553"/>
                <a:gd name="T21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920">
                  <a:moveTo>
                    <a:pt x="349" y="0"/>
                  </a:moveTo>
                  <a:lnTo>
                    <a:pt x="148" y="139"/>
                  </a:lnTo>
                  <a:lnTo>
                    <a:pt x="100" y="205"/>
                  </a:lnTo>
                  <a:lnTo>
                    <a:pt x="92" y="880"/>
                  </a:lnTo>
                  <a:lnTo>
                    <a:pt x="0" y="920"/>
                  </a:lnTo>
                  <a:lnTo>
                    <a:pt x="135" y="920"/>
                  </a:lnTo>
                  <a:lnTo>
                    <a:pt x="283" y="324"/>
                  </a:lnTo>
                  <a:lnTo>
                    <a:pt x="545" y="176"/>
                  </a:lnTo>
                  <a:lnTo>
                    <a:pt x="553" y="29"/>
                  </a:lnTo>
                  <a:lnTo>
                    <a:pt x="374" y="0"/>
                  </a:lnTo>
                  <a:lnTo>
                    <a:pt x="349" y="0"/>
                  </a:lnTo>
                  <a:close/>
                </a:path>
              </a:pathLst>
            </a:custGeom>
            <a:gradFill>
              <a:gsLst>
                <a:gs pos="0">
                  <a:srgbClr val="EBAF14"/>
                </a:gs>
                <a:gs pos="100000">
                  <a:srgbClr val="FAD33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2" name="Freeform 113"/>
            <p:cNvSpPr/>
            <p:nvPr/>
          </p:nvSpPr>
          <p:spPr bwMode="auto">
            <a:xfrm>
              <a:off x="9657880" y="3757831"/>
              <a:ext cx="494385" cy="696042"/>
            </a:xfrm>
            <a:custGeom>
              <a:avLst/>
              <a:gdLst>
                <a:gd name="T0" fmla="*/ 71 w 304"/>
                <a:gd name="T1" fmla="*/ 0 h 428"/>
                <a:gd name="T2" fmla="*/ 0 w 304"/>
                <a:gd name="T3" fmla="*/ 174 h 428"/>
                <a:gd name="T4" fmla="*/ 110 w 304"/>
                <a:gd name="T5" fmla="*/ 428 h 428"/>
                <a:gd name="T6" fmla="*/ 179 w 304"/>
                <a:gd name="T7" fmla="*/ 411 h 428"/>
                <a:gd name="T8" fmla="*/ 129 w 304"/>
                <a:gd name="T9" fmla="*/ 210 h 428"/>
                <a:gd name="T10" fmla="*/ 304 w 304"/>
                <a:gd name="T11" fmla="*/ 27 h 428"/>
                <a:gd name="T12" fmla="*/ 71 w 304"/>
                <a:gd name="T1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71" y="0"/>
                  </a:moveTo>
                  <a:lnTo>
                    <a:pt x="0" y="174"/>
                  </a:lnTo>
                  <a:lnTo>
                    <a:pt x="110" y="428"/>
                  </a:lnTo>
                  <a:lnTo>
                    <a:pt x="179" y="411"/>
                  </a:lnTo>
                  <a:lnTo>
                    <a:pt x="129" y="210"/>
                  </a:lnTo>
                  <a:lnTo>
                    <a:pt x="304" y="27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3" name="Freeform 114"/>
            <p:cNvSpPr/>
            <p:nvPr/>
          </p:nvSpPr>
          <p:spPr bwMode="auto">
            <a:xfrm>
              <a:off x="9657880" y="3757831"/>
              <a:ext cx="494385" cy="696042"/>
            </a:xfrm>
            <a:custGeom>
              <a:avLst/>
              <a:gdLst>
                <a:gd name="T0" fmla="*/ 71 w 304"/>
                <a:gd name="T1" fmla="*/ 0 h 428"/>
                <a:gd name="T2" fmla="*/ 0 w 304"/>
                <a:gd name="T3" fmla="*/ 174 h 428"/>
                <a:gd name="T4" fmla="*/ 110 w 304"/>
                <a:gd name="T5" fmla="*/ 428 h 428"/>
                <a:gd name="T6" fmla="*/ 179 w 304"/>
                <a:gd name="T7" fmla="*/ 411 h 428"/>
                <a:gd name="T8" fmla="*/ 129 w 304"/>
                <a:gd name="T9" fmla="*/ 210 h 428"/>
                <a:gd name="T10" fmla="*/ 304 w 304"/>
                <a:gd name="T11" fmla="*/ 27 h 428"/>
                <a:gd name="T12" fmla="*/ 71 w 304"/>
                <a:gd name="T1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71" y="0"/>
                  </a:moveTo>
                  <a:lnTo>
                    <a:pt x="0" y="174"/>
                  </a:lnTo>
                  <a:lnTo>
                    <a:pt x="110" y="428"/>
                  </a:lnTo>
                  <a:lnTo>
                    <a:pt x="179" y="411"/>
                  </a:lnTo>
                  <a:lnTo>
                    <a:pt x="129" y="210"/>
                  </a:lnTo>
                  <a:lnTo>
                    <a:pt x="304" y="27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4" name="Freeform 115"/>
            <p:cNvSpPr/>
            <p:nvPr/>
          </p:nvSpPr>
          <p:spPr bwMode="auto">
            <a:xfrm>
              <a:off x="10171779" y="4435986"/>
              <a:ext cx="783861" cy="1554712"/>
            </a:xfrm>
            <a:custGeom>
              <a:avLst/>
              <a:gdLst>
                <a:gd name="T0" fmla="*/ 468 w 482"/>
                <a:gd name="T1" fmla="*/ 73 h 956"/>
                <a:gd name="T2" fmla="*/ 482 w 482"/>
                <a:gd name="T3" fmla="*/ 187 h 956"/>
                <a:gd name="T4" fmla="*/ 468 w 482"/>
                <a:gd name="T5" fmla="*/ 225 h 956"/>
                <a:gd name="T6" fmla="*/ 254 w 482"/>
                <a:gd name="T7" fmla="*/ 279 h 956"/>
                <a:gd name="T8" fmla="*/ 391 w 482"/>
                <a:gd name="T9" fmla="*/ 918 h 956"/>
                <a:gd name="T10" fmla="*/ 289 w 482"/>
                <a:gd name="T11" fmla="*/ 956 h 956"/>
                <a:gd name="T12" fmla="*/ 335 w 482"/>
                <a:gd name="T13" fmla="*/ 908 h 956"/>
                <a:gd name="T14" fmla="*/ 17 w 482"/>
                <a:gd name="T15" fmla="*/ 279 h 956"/>
                <a:gd name="T16" fmla="*/ 0 w 482"/>
                <a:gd name="T17" fmla="*/ 216 h 956"/>
                <a:gd name="T18" fmla="*/ 169 w 482"/>
                <a:gd name="T19" fmla="*/ 0 h 956"/>
                <a:gd name="T20" fmla="*/ 468 w 482"/>
                <a:gd name="T21" fmla="*/ 73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2" h="956">
                  <a:moveTo>
                    <a:pt x="468" y="73"/>
                  </a:moveTo>
                  <a:lnTo>
                    <a:pt x="482" y="187"/>
                  </a:lnTo>
                  <a:lnTo>
                    <a:pt x="468" y="225"/>
                  </a:lnTo>
                  <a:lnTo>
                    <a:pt x="254" y="279"/>
                  </a:lnTo>
                  <a:lnTo>
                    <a:pt x="391" y="918"/>
                  </a:lnTo>
                  <a:lnTo>
                    <a:pt x="289" y="956"/>
                  </a:lnTo>
                  <a:lnTo>
                    <a:pt x="335" y="908"/>
                  </a:lnTo>
                  <a:lnTo>
                    <a:pt x="17" y="279"/>
                  </a:lnTo>
                  <a:lnTo>
                    <a:pt x="0" y="216"/>
                  </a:lnTo>
                  <a:lnTo>
                    <a:pt x="169" y="0"/>
                  </a:lnTo>
                  <a:lnTo>
                    <a:pt x="468" y="73"/>
                  </a:ln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5" name="Freeform 116"/>
            <p:cNvSpPr/>
            <p:nvPr/>
          </p:nvSpPr>
          <p:spPr bwMode="auto">
            <a:xfrm>
              <a:off x="9973374" y="3466730"/>
              <a:ext cx="959498" cy="1203438"/>
            </a:xfrm>
            <a:custGeom>
              <a:avLst/>
              <a:gdLst>
                <a:gd name="T0" fmla="*/ 0 w 590"/>
                <a:gd name="T1" fmla="*/ 237 h 740"/>
                <a:gd name="T2" fmla="*/ 50 w 590"/>
                <a:gd name="T3" fmla="*/ 472 h 740"/>
                <a:gd name="T4" fmla="*/ 37 w 590"/>
                <a:gd name="T5" fmla="*/ 669 h 740"/>
                <a:gd name="T6" fmla="*/ 376 w 590"/>
                <a:gd name="T7" fmla="*/ 740 h 740"/>
                <a:gd name="T8" fmla="*/ 590 w 590"/>
                <a:gd name="T9" fmla="*/ 669 h 740"/>
                <a:gd name="T10" fmla="*/ 496 w 590"/>
                <a:gd name="T11" fmla="*/ 258 h 740"/>
                <a:gd name="T12" fmla="*/ 226 w 590"/>
                <a:gd name="T13" fmla="*/ 0 h 740"/>
                <a:gd name="T14" fmla="*/ 0 w 590"/>
                <a:gd name="T15" fmla="*/ 2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740">
                  <a:moveTo>
                    <a:pt x="0" y="237"/>
                  </a:moveTo>
                  <a:lnTo>
                    <a:pt x="50" y="472"/>
                  </a:lnTo>
                  <a:lnTo>
                    <a:pt x="37" y="669"/>
                  </a:lnTo>
                  <a:lnTo>
                    <a:pt x="376" y="740"/>
                  </a:lnTo>
                  <a:lnTo>
                    <a:pt x="590" y="669"/>
                  </a:lnTo>
                  <a:lnTo>
                    <a:pt x="496" y="258"/>
                  </a:lnTo>
                  <a:lnTo>
                    <a:pt x="226" y="0"/>
                  </a:lnTo>
                  <a:lnTo>
                    <a:pt x="0" y="23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6" name="Freeform 117"/>
            <p:cNvSpPr/>
            <p:nvPr/>
          </p:nvSpPr>
          <p:spPr bwMode="auto">
            <a:xfrm>
              <a:off x="9973374" y="3466730"/>
              <a:ext cx="959498" cy="1203438"/>
            </a:xfrm>
            <a:custGeom>
              <a:avLst/>
              <a:gdLst>
                <a:gd name="T0" fmla="*/ 0 w 590"/>
                <a:gd name="T1" fmla="*/ 237 h 740"/>
                <a:gd name="T2" fmla="*/ 50 w 590"/>
                <a:gd name="T3" fmla="*/ 472 h 740"/>
                <a:gd name="T4" fmla="*/ 37 w 590"/>
                <a:gd name="T5" fmla="*/ 669 h 740"/>
                <a:gd name="T6" fmla="*/ 376 w 590"/>
                <a:gd name="T7" fmla="*/ 740 h 740"/>
                <a:gd name="T8" fmla="*/ 590 w 590"/>
                <a:gd name="T9" fmla="*/ 669 h 740"/>
                <a:gd name="T10" fmla="*/ 496 w 590"/>
                <a:gd name="T11" fmla="*/ 258 h 740"/>
                <a:gd name="T12" fmla="*/ 226 w 590"/>
                <a:gd name="T13" fmla="*/ 0 h 740"/>
                <a:gd name="T14" fmla="*/ 0 w 590"/>
                <a:gd name="T15" fmla="*/ 2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740">
                  <a:moveTo>
                    <a:pt x="0" y="237"/>
                  </a:moveTo>
                  <a:lnTo>
                    <a:pt x="50" y="472"/>
                  </a:lnTo>
                  <a:lnTo>
                    <a:pt x="37" y="669"/>
                  </a:lnTo>
                  <a:lnTo>
                    <a:pt x="376" y="740"/>
                  </a:lnTo>
                  <a:lnTo>
                    <a:pt x="590" y="669"/>
                  </a:lnTo>
                  <a:lnTo>
                    <a:pt x="496" y="258"/>
                  </a:lnTo>
                  <a:lnTo>
                    <a:pt x="226" y="0"/>
                  </a:lnTo>
                  <a:lnTo>
                    <a:pt x="0" y="2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7" name="Freeform 118"/>
            <p:cNvSpPr/>
            <p:nvPr/>
          </p:nvSpPr>
          <p:spPr bwMode="auto">
            <a:xfrm>
              <a:off x="9713172" y="3440710"/>
              <a:ext cx="526911" cy="590336"/>
            </a:xfrm>
            <a:custGeom>
              <a:avLst/>
              <a:gdLst>
                <a:gd name="T0" fmla="*/ 156 w 156"/>
                <a:gd name="T1" fmla="*/ 0 h 175"/>
                <a:gd name="T2" fmla="*/ 59 w 156"/>
                <a:gd name="T3" fmla="*/ 27 h 175"/>
                <a:gd name="T4" fmla="*/ 44 w 156"/>
                <a:gd name="T5" fmla="*/ 37 h 175"/>
                <a:gd name="T6" fmla="*/ 0 w 156"/>
                <a:gd name="T7" fmla="*/ 99 h 175"/>
                <a:gd name="T8" fmla="*/ 78 w 156"/>
                <a:gd name="T9" fmla="*/ 175 h 175"/>
                <a:gd name="T10" fmla="*/ 156 w 156"/>
                <a:gd name="T11" fmla="*/ 81 h 175"/>
                <a:gd name="T12" fmla="*/ 156 w 156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75">
                  <a:moveTo>
                    <a:pt x="156" y="0"/>
                  </a:moveTo>
                  <a:cubicBezTo>
                    <a:pt x="59" y="27"/>
                    <a:pt x="59" y="27"/>
                    <a:pt x="59" y="27"/>
                  </a:cubicBezTo>
                  <a:cubicBezTo>
                    <a:pt x="53" y="28"/>
                    <a:pt x="48" y="32"/>
                    <a:pt x="44" y="3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78" y="175"/>
                    <a:pt x="78" y="175"/>
                    <a:pt x="78" y="175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0"/>
                    <a:pt x="156" y="0"/>
                    <a:pt x="156" y="0"/>
                  </a:cubicBez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8" name="Freeform 119"/>
            <p:cNvSpPr/>
            <p:nvPr/>
          </p:nvSpPr>
          <p:spPr bwMode="auto">
            <a:xfrm>
              <a:off x="10443365" y="3832639"/>
              <a:ext cx="728568" cy="621234"/>
            </a:xfrm>
            <a:custGeom>
              <a:avLst/>
              <a:gdLst>
                <a:gd name="T0" fmla="*/ 376 w 448"/>
                <a:gd name="T1" fmla="*/ 0 h 382"/>
                <a:gd name="T2" fmla="*/ 384 w 448"/>
                <a:gd name="T3" fmla="*/ 29 h 382"/>
                <a:gd name="T4" fmla="*/ 448 w 448"/>
                <a:gd name="T5" fmla="*/ 257 h 382"/>
                <a:gd name="T6" fmla="*/ 351 w 448"/>
                <a:gd name="T7" fmla="*/ 373 h 382"/>
                <a:gd name="T8" fmla="*/ 2 w 448"/>
                <a:gd name="T9" fmla="*/ 382 h 382"/>
                <a:gd name="T10" fmla="*/ 0 w 448"/>
                <a:gd name="T11" fmla="*/ 322 h 382"/>
                <a:gd name="T12" fmla="*/ 228 w 448"/>
                <a:gd name="T13" fmla="*/ 259 h 382"/>
                <a:gd name="T14" fmla="*/ 178 w 448"/>
                <a:gd name="T15" fmla="*/ 99 h 382"/>
                <a:gd name="T16" fmla="*/ 376 w 448"/>
                <a:gd name="T17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382">
                  <a:moveTo>
                    <a:pt x="376" y="0"/>
                  </a:moveTo>
                  <a:lnTo>
                    <a:pt x="384" y="29"/>
                  </a:lnTo>
                  <a:lnTo>
                    <a:pt x="448" y="257"/>
                  </a:lnTo>
                  <a:lnTo>
                    <a:pt x="351" y="373"/>
                  </a:lnTo>
                  <a:lnTo>
                    <a:pt x="2" y="382"/>
                  </a:lnTo>
                  <a:lnTo>
                    <a:pt x="0" y="322"/>
                  </a:lnTo>
                  <a:lnTo>
                    <a:pt x="228" y="259"/>
                  </a:lnTo>
                  <a:lnTo>
                    <a:pt x="178" y="99"/>
                  </a:lnTo>
                  <a:lnTo>
                    <a:pt x="376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9" name="Freeform 120"/>
            <p:cNvSpPr/>
            <p:nvPr/>
          </p:nvSpPr>
          <p:spPr bwMode="auto">
            <a:xfrm>
              <a:off x="10443365" y="3832639"/>
              <a:ext cx="728568" cy="621234"/>
            </a:xfrm>
            <a:custGeom>
              <a:avLst/>
              <a:gdLst>
                <a:gd name="T0" fmla="*/ 376 w 448"/>
                <a:gd name="T1" fmla="*/ 0 h 382"/>
                <a:gd name="T2" fmla="*/ 384 w 448"/>
                <a:gd name="T3" fmla="*/ 29 h 382"/>
                <a:gd name="T4" fmla="*/ 448 w 448"/>
                <a:gd name="T5" fmla="*/ 257 h 382"/>
                <a:gd name="T6" fmla="*/ 351 w 448"/>
                <a:gd name="T7" fmla="*/ 373 h 382"/>
                <a:gd name="T8" fmla="*/ 2 w 448"/>
                <a:gd name="T9" fmla="*/ 382 h 382"/>
                <a:gd name="T10" fmla="*/ 0 w 448"/>
                <a:gd name="T11" fmla="*/ 322 h 382"/>
                <a:gd name="T12" fmla="*/ 228 w 448"/>
                <a:gd name="T13" fmla="*/ 259 h 382"/>
                <a:gd name="T14" fmla="*/ 178 w 448"/>
                <a:gd name="T15" fmla="*/ 99 h 382"/>
                <a:gd name="T16" fmla="*/ 376 w 448"/>
                <a:gd name="T17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382">
                  <a:moveTo>
                    <a:pt x="376" y="0"/>
                  </a:moveTo>
                  <a:lnTo>
                    <a:pt x="384" y="29"/>
                  </a:lnTo>
                  <a:lnTo>
                    <a:pt x="448" y="257"/>
                  </a:lnTo>
                  <a:lnTo>
                    <a:pt x="351" y="373"/>
                  </a:lnTo>
                  <a:lnTo>
                    <a:pt x="2" y="382"/>
                  </a:lnTo>
                  <a:lnTo>
                    <a:pt x="0" y="322"/>
                  </a:lnTo>
                  <a:lnTo>
                    <a:pt x="228" y="259"/>
                  </a:lnTo>
                  <a:lnTo>
                    <a:pt x="178" y="99"/>
                  </a:lnTo>
                  <a:lnTo>
                    <a:pt x="3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0" name="Freeform 121"/>
            <p:cNvSpPr/>
            <p:nvPr/>
          </p:nvSpPr>
          <p:spPr bwMode="auto">
            <a:xfrm>
              <a:off x="10222193" y="4356298"/>
              <a:ext cx="224425" cy="131728"/>
            </a:xfrm>
            <a:custGeom>
              <a:avLst/>
              <a:gdLst>
                <a:gd name="T0" fmla="*/ 66 w 66"/>
                <a:gd name="T1" fmla="*/ 29 h 39"/>
                <a:gd name="T2" fmla="*/ 56 w 66"/>
                <a:gd name="T3" fmla="*/ 36 h 39"/>
                <a:gd name="T4" fmla="*/ 29 w 66"/>
                <a:gd name="T5" fmla="*/ 39 h 39"/>
                <a:gd name="T6" fmla="*/ 5 w 66"/>
                <a:gd name="T7" fmla="*/ 7 h 39"/>
                <a:gd name="T8" fmla="*/ 29 w 66"/>
                <a:gd name="T9" fmla="*/ 0 h 39"/>
                <a:gd name="T10" fmla="*/ 56 w 66"/>
                <a:gd name="T11" fmla="*/ 0 h 39"/>
                <a:gd name="T12" fmla="*/ 65 w 66"/>
                <a:gd name="T13" fmla="*/ 0 h 39"/>
                <a:gd name="T14" fmla="*/ 66 w 66"/>
                <a:gd name="T15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39">
                  <a:moveTo>
                    <a:pt x="66" y="29"/>
                  </a:moveTo>
                  <a:cubicBezTo>
                    <a:pt x="56" y="36"/>
                    <a:pt x="56" y="36"/>
                    <a:pt x="56" y="36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0" y="9"/>
                    <a:pt x="5" y="7"/>
                  </a:cubicBezTo>
                  <a:cubicBezTo>
                    <a:pt x="10" y="5"/>
                    <a:pt x="29" y="0"/>
                    <a:pt x="29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6" y="29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1" name="Freeform 122"/>
            <p:cNvSpPr/>
            <p:nvPr/>
          </p:nvSpPr>
          <p:spPr bwMode="auto">
            <a:xfrm>
              <a:off x="10340911" y="3422820"/>
              <a:ext cx="777356" cy="673275"/>
            </a:xfrm>
            <a:custGeom>
              <a:avLst/>
              <a:gdLst>
                <a:gd name="T0" fmla="*/ 44 w 230"/>
                <a:gd name="T1" fmla="*/ 0 h 199"/>
                <a:gd name="T2" fmla="*/ 173 w 230"/>
                <a:gd name="T3" fmla="*/ 54 h 199"/>
                <a:gd name="T4" fmla="*/ 193 w 230"/>
                <a:gd name="T5" fmla="*/ 70 h 199"/>
                <a:gd name="T6" fmla="*/ 203 w 230"/>
                <a:gd name="T7" fmla="*/ 82 h 199"/>
                <a:gd name="T8" fmla="*/ 214 w 230"/>
                <a:gd name="T9" fmla="*/ 100 h 199"/>
                <a:gd name="T10" fmla="*/ 230 w 230"/>
                <a:gd name="T11" fmla="*/ 134 h 199"/>
                <a:gd name="T12" fmla="*/ 100 w 230"/>
                <a:gd name="T13" fmla="*/ 199 h 199"/>
                <a:gd name="T14" fmla="*/ 0 w 230"/>
                <a:gd name="T15" fmla="*/ 34 h 199"/>
                <a:gd name="T16" fmla="*/ 44 w 230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199">
                  <a:moveTo>
                    <a:pt x="44" y="0"/>
                  </a:moveTo>
                  <a:cubicBezTo>
                    <a:pt x="173" y="54"/>
                    <a:pt x="173" y="54"/>
                    <a:pt x="173" y="54"/>
                  </a:cubicBezTo>
                  <a:cubicBezTo>
                    <a:pt x="181" y="58"/>
                    <a:pt x="188" y="63"/>
                    <a:pt x="193" y="70"/>
                  </a:cubicBezTo>
                  <a:cubicBezTo>
                    <a:pt x="203" y="82"/>
                    <a:pt x="203" y="82"/>
                    <a:pt x="203" y="82"/>
                  </a:cubicBezTo>
                  <a:cubicBezTo>
                    <a:pt x="207" y="87"/>
                    <a:pt x="211" y="94"/>
                    <a:pt x="214" y="100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100" y="199"/>
                    <a:pt x="100" y="199"/>
                    <a:pt x="100" y="19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2" name="Freeform 123"/>
            <p:cNvSpPr/>
            <p:nvPr/>
          </p:nvSpPr>
          <p:spPr bwMode="auto">
            <a:xfrm>
              <a:off x="10111607" y="2895910"/>
              <a:ext cx="40657" cy="112213"/>
            </a:xfrm>
            <a:custGeom>
              <a:avLst/>
              <a:gdLst>
                <a:gd name="T0" fmla="*/ 12 w 12"/>
                <a:gd name="T1" fmla="*/ 0 h 33"/>
                <a:gd name="T2" fmla="*/ 0 w 12"/>
                <a:gd name="T3" fmla="*/ 33 h 33"/>
                <a:gd name="T4" fmla="*/ 7 w 12"/>
                <a:gd name="T5" fmla="*/ 29 h 33"/>
                <a:gd name="T6" fmla="*/ 12 w 12"/>
                <a:gd name="T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3">
                  <a:moveTo>
                    <a:pt x="12" y="0"/>
                  </a:moveTo>
                  <a:cubicBezTo>
                    <a:pt x="12" y="0"/>
                    <a:pt x="1" y="9"/>
                    <a:pt x="0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0"/>
                    <a:pt x="12" y="10"/>
                    <a:pt x="12" y="10"/>
                  </a:cubicBezTo>
                </a:path>
              </a:pathLst>
            </a:custGeom>
            <a:solidFill>
              <a:srgbClr val="5F32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3" name="Freeform 124"/>
            <p:cNvSpPr/>
            <p:nvPr/>
          </p:nvSpPr>
          <p:spPr bwMode="auto">
            <a:xfrm>
              <a:off x="10111607" y="2895910"/>
              <a:ext cx="43909" cy="112213"/>
            </a:xfrm>
            <a:custGeom>
              <a:avLst/>
              <a:gdLst>
                <a:gd name="T0" fmla="*/ 0 w 13"/>
                <a:gd name="T1" fmla="*/ 33 h 33"/>
                <a:gd name="T2" fmla="*/ 7 w 13"/>
                <a:gd name="T3" fmla="*/ 29 h 33"/>
                <a:gd name="T4" fmla="*/ 13 w 13"/>
                <a:gd name="T5" fmla="*/ 10 h 33"/>
                <a:gd name="T6" fmla="*/ 12 w 13"/>
                <a:gd name="T7" fmla="*/ 10 h 33"/>
                <a:gd name="T8" fmla="*/ 7 w 13"/>
                <a:gd name="T9" fmla="*/ 28 h 33"/>
                <a:gd name="T10" fmla="*/ 1 w 13"/>
                <a:gd name="T11" fmla="*/ 32 h 33"/>
                <a:gd name="T12" fmla="*/ 13 w 13"/>
                <a:gd name="T13" fmla="*/ 0 h 33"/>
                <a:gd name="T14" fmla="*/ 12 w 13"/>
                <a:gd name="T15" fmla="*/ 0 h 33"/>
                <a:gd name="T16" fmla="*/ 0 w 13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3">
                  <a:moveTo>
                    <a:pt x="0" y="33"/>
                  </a:moveTo>
                  <a:cubicBezTo>
                    <a:pt x="7" y="29"/>
                    <a:pt x="7" y="29"/>
                    <a:pt x="7" y="29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10"/>
                    <a:pt x="12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9"/>
                    <a:pt x="0" y="33"/>
                  </a:cubicBezTo>
                  <a:close/>
                </a:path>
              </a:pathLst>
            </a:custGeom>
            <a:solidFill>
              <a:srgbClr val="5F32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4" name="Freeform 126"/>
            <p:cNvSpPr/>
            <p:nvPr/>
          </p:nvSpPr>
          <p:spPr bwMode="auto">
            <a:xfrm>
              <a:off x="10111607" y="3169122"/>
              <a:ext cx="378920" cy="447224"/>
            </a:xfrm>
            <a:custGeom>
              <a:avLst/>
              <a:gdLst>
                <a:gd name="T0" fmla="*/ 79 w 112"/>
                <a:gd name="T1" fmla="*/ 0 h 132"/>
                <a:gd name="T2" fmla="*/ 112 w 112"/>
                <a:gd name="T3" fmla="*/ 75 h 132"/>
                <a:gd name="T4" fmla="*/ 50 w 112"/>
                <a:gd name="T5" fmla="*/ 122 h 132"/>
                <a:gd name="T6" fmla="*/ 38 w 112"/>
                <a:gd name="T7" fmla="*/ 81 h 132"/>
                <a:gd name="T8" fmla="*/ 27 w 112"/>
                <a:gd name="T9" fmla="*/ 50 h 132"/>
                <a:gd name="T10" fmla="*/ 79 w 112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32">
                  <a:moveTo>
                    <a:pt x="79" y="0"/>
                  </a:moveTo>
                  <a:cubicBezTo>
                    <a:pt x="79" y="0"/>
                    <a:pt x="83" y="63"/>
                    <a:pt x="112" y="75"/>
                  </a:cubicBezTo>
                  <a:cubicBezTo>
                    <a:pt x="112" y="75"/>
                    <a:pt x="100" y="132"/>
                    <a:pt x="50" y="122"/>
                  </a:cubicBezTo>
                  <a:cubicBezTo>
                    <a:pt x="0" y="113"/>
                    <a:pt x="38" y="81"/>
                    <a:pt x="38" y="81"/>
                  </a:cubicBezTo>
                  <a:cubicBezTo>
                    <a:pt x="38" y="81"/>
                    <a:pt x="40" y="60"/>
                    <a:pt x="27" y="5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5" name="Freeform 127"/>
            <p:cNvSpPr/>
            <p:nvPr/>
          </p:nvSpPr>
          <p:spPr bwMode="auto">
            <a:xfrm>
              <a:off x="10202679" y="3169122"/>
              <a:ext cx="203284" cy="271587"/>
            </a:xfrm>
            <a:custGeom>
              <a:avLst/>
              <a:gdLst>
                <a:gd name="T0" fmla="*/ 0 w 60"/>
                <a:gd name="T1" fmla="*/ 50 h 80"/>
                <a:gd name="T2" fmla="*/ 52 w 60"/>
                <a:gd name="T3" fmla="*/ 0 h 80"/>
                <a:gd name="T4" fmla="*/ 11 w 60"/>
                <a:gd name="T5" fmla="*/ 80 h 80"/>
                <a:gd name="T6" fmla="*/ 0 w 60"/>
                <a:gd name="T7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80">
                  <a:moveTo>
                    <a:pt x="0" y="5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60" y="69"/>
                    <a:pt x="11" y="80"/>
                  </a:cubicBezTo>
                  <a:cubicBezTo>
                    <a:pt x="11" y="76"/>
                    <a:pt x="11" y="59"/>
                    <a:pt x="0" y="50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6" name="Freeform 128"/>
            <p:cNvSpPr/>
            <p:nvPr/>
          </p:nvSpPr>
          <p:spPr bwMode="auto">
            <a:xfrm>
              <a:off x="10083962" y="2902415"/>
              <a:ext cx="328506" cy="450476"/>
            </a:xfrm>
            <a:custGeom>
              <a:avLst/>
              <a:gdLst>
                <a:gd name="T0" fmla="*/ 12 w 97"/>
                <a:gd name="T1" fmla="*/ 16 h 133"/>
                <a:gd name="T2" fmla="*/ 6 w 97"/>
                <a:gd name="T3" fmla="*/ 30 h 133"/>
                <a:gd name="T4" fmla="*/ 2 w 97"/>
                <a:gd name="T5" fmla="*/ 79 h 133"/>
                <a:gd name="T6" fmla="*/ 29 w 97"/>
                <a:gd name="T7" fmla="*/ 130 h 133"/>
                <a:gd name="T8" fmla="*/ 81 w 97"/>
                <a:gd name="T9" fmla="*/ 100 h 133"/>
                <a:gd name="T10" fmla="*/ 87 w 97"/>
                <a:gd name="T11" fmla="*/ 26 h 133"/>
                <a:gd name="T12" fmla="*/ 48 w 97"/>
                <a:gd name="T13" fmla="*/ 3 h 133"/>
                <a:gd name="T14" fmla="*/ 12 w 97"/>
                <a:gd name="T15" fmla="*/ 1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33">
                  <a:moveTo>
                    <a:pt x="12" y="16"/>
                  </a:moveTo>
                  <a:cubicBezTo>
                    <a:pt x="9" y="20"/>
                    <a:pt x="7" y="25"/>
                    <a:pt x="6" y="30"/>
                  </a:cubicBezTo>
                  <a:cubicBezTo>
                    <a:pt x="5" y="39"/>
                    <a:pt x="3" y="67"/>
                    <a:pt x="2" y="79"/>
                  </a:cubicBezTo>
                  <a:cubicBezTo>
                    <a:pt x="0" y="96"/>
                    <a:pt x="6" y="127"/>
                    <a:pt x="29" y="130"/>
                  </a:cubicBezTo>
                  <a:cubicBezTo>
                    <a:pt x="53" y="133"/>
                    <a:pt x="72" y="122"/>
                    <a:pt x="81" y="100"/>
                  </a:cubicBezTo>
                  <a:cubicBezTo>
                    <a:pt x="97" y="61"/>
                    <a:pt x="87" y="26"/>
                    <a:pt x="87" y="26"/>
                  </a:cubicBezTo>
                  <a:cubicBezTo>
                    <a:pt x="87" y="26"/>
                    <a:pt x="68" y="3"/>
                    <a:pt x="48" y="3"/>
                  </a:cubicBezTo>
                  <a:cubicBezTo>
                    <a:pt x="35" y="3"/>
                    <a:pt x="24" y="0"/>
                    <a:pt x="12" y="16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7" name="Freeform 129"/>
            <p:cNvSpPr/>
            <p:nvPr/>
          </p:nvSpPr>
          <p:spPr bwMode="auto">
            <a:xfrm>
              <a:off x="10108354" y="2998365"/>
              <a:ext cx="73183" cy="35778"/>
            </a:xfrm>
            <a:custGeom>
              <a:avLst/>
              <a:gdLst>
                <a:gd name="T0" fmla="*/ 1 w 22"/>
                <a:gd name="T1" fmla="*/ 10 h 11"/>
                <a:gd name="T2" fmla="*/ 17 w 22"/>
                <a:gd name="T3" fmla="*/ 3 h 11"/>
                <a:gd name="T4" fmla="*/ 16 w 22"/>
                <a:gd name="T5" fmla="*/ 9 h 11"/>
                <a:gd name="T6" fmla="*/ 1 w 22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1">
                  <a:moveTo>
                    <a:pt x="1" y="10"/>
                  </a:moveTo>
                  <a:cubicBezTo>
                    <a:pt x="0" y="8"/>
                    <a:pt x="13" y="0"/>
                    <a:pt x="17" y="3"/>
                  </a:cubicBezTo>
                  <a:cubicBezTo>
                    <a:pt x="22" y="7"/>
                    <a:pt x="19" y="11"/>
                    <a:pt x="16" y="9"/>
                  </a:cubicBezTo>
                  <a:cubicBezTo>
                    <a:pt x="13" y="6"/>
                    <a:pt x="2" y="11"/>
                    <a:pt x="1" y="10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8" name="Freeform 130"/>
            <p:cNvSpPr/>
            <p:nvPr/>
          </p:nvSpPr>
          <p:spPr bwMode="auto">
            <a:xfrm>
              <a:off x="10230325" y="3008122"/>
              <a:ext cx="79688" cy="47162"/>
            </a:xfrm>
            <a:custGeom>
              <a:avLst/>
              <a:gdLst>
                <a:gd name="T0" fmla="*/ 22 w 24"/>
                <a:gd name="T1" fmla="*/ 13 h 14"/>
                <a:gd name="T2" fmla="*/ 6 w 24"/>
                <a:gd name="T3" fmla="*/ 2 h 14"/>
                <a:gd name="T4" fmla="*/ 6 w 24"/>
                <a:gd name="T5" fmla="*/ 8 h 14"/>
                <a:gd name="T6" fmla="*/ 22 w 24"/>
                <a:gd name="T7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22" y="13"/>
                  </a:moveTo>
                  <a:cubicBezTo>
                    <a:pt x="24" y="11"/>
                    <a:pt x="12" y="0"/>
                    <a:pt x="6" y="2"/>
                  </a:cubicBezTo>
                  <a:cubicBezTo>
                    <a:pt x="0" y="5"/>
                    <a:pt x="3" y="10"/>
                    <a:pt x="6" y="8"/>
                  </a:cubicBezTo>
                  <a:cubicBezTo>
                    <a:pt x="11" y="6"/>
                    <a:pt x="20" y="14"/>
                    <a:pt x="22" y="13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9" name="Freeform 131"/>
            <p:cNvSpPr/>
            <p:nvPr/>
          </p:nvSpPr>
          <p:spPr bwMode="auto">
            <a:xfrm>
              <a:off x="10134375" y="3045527"/>
              <a:ext cx="30899" cy="43909"/>
            </a:xfrm>
            <a:custGeom>
              <a:avLst/>
              <a:gdLst>
                <a:gd name="T0" fmla="*/ 0 w 9"/>
                <a:gd name="T1" fmla="*/ 5 h 13"/>
                <a:gd name="T2" fmla="*/ 5 w 9"/>
                <a:gd name="T3" fmla="*/ 1 h 13"/>
                <a:gd name="T4" fmla="*/ 6 w 9"/>
                <a:gd name="T5" fmla="*/ 10 h 13"/>
                <a:gd name="T6" fmla="*/ 0 w 9"/>
                <a:gd name="T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5"/>
                  </a:moveTo>
                  <a:cubicBezTo>
                    <a:pt x="0" y="5"/>
                    <a:pt x="2" y="0"/>
                    <a:pt x="5" y="1"/>
                  </a:cubicBezTo>
                  <a:cubicBezTo>
                    <a:pt x="8" y="3"/>
                    <a:pt x="9" y="8"/>
                    <a:pt x="6" y="10"/>
                  </a:cubicBezTo>
                  <a:cubicBezTo>
                    <a:pt x="2" y="13"/>
                    <a:pt x="0" y="8"/>
                    <a:pt x="0" y="5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0" name="Freeform 132"/>
            <p:cNvSpPr/>
            <p:nvPr/>
          </p:nvSpPr>
          <p:spPr bwMode="auto">
            <a:xfrm>
              <a:off x="10253093" y="3052031"/>
              <a:ext cx="30899" cy="43909"/>
            </a:xfrm>
            <a:custGeom>
              <a:avLst/>
              <a:gdLst>
                <a:gd name="T0" fmla="*/ 0 w 9"/>
                <a:gd name="T1" fmla="*/ 6 h 13"/>
                <a:gd name="T2" fmla="*/ 5 w 9"/>
                <a:gd name="T3" fmla="*/ 2 h 13"/>
                <a:gd name="T4" fmla="*/ 5 w 9"/>
                <a:gd name="T5" fmla="*/ 11 h 13"/>
                <a:gd name="T6" fmla="*/ 0 w 9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6"/>
                  </a:moveTo>
                  <a:cubicBezTo>
                    <a:pt x="0" y="6"/>
                    <a:pt x="1" y="0"/>
                    <a:pt x="5" y="2"/>
                  </a:cubicBezTo>
                  <a:cubicBezTo>
                    <a:pt x="8" y="3"/>
                    <a:pt x="9" y="8"/>
                    <a:pt x="5" y="11"/>
                  </a:cubicBezTo>
                  <a:cubicBezTo>
                    <a:pt x="2" y="13"/>
                    <a:pt x="0" y="9"/>
                    <a:pt x="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1" name="Freeform 133"/>
            <p:cNvSpPr/>
            <p:nvPr/>
          </p:nvSpPr>
          <p:spPr bwMode="auto">
            <a:xfrm>
              <a:off x="10108354" y="3061789"/>
              <a:ext cx="107334" cy="141485"/>
            </a:xfrm>
            <a:custGeom>
              <a:avLst/>
              <a:gdLst>
                <a:gd name="T0" fmla="*/ 26 w 32"/>
                <a:gd name="T1" fmla="*/ 0 h 42"/>
                <a:gd name="T2" fmla="*/ 17 w 32"/>
                <a:gd name="T3" fmla="*/ 18 h 42"/>
                <a:gd name="T4" fmla="*/ 14 w 32"/>
                <a:gd name="T5" fmla="*/ 36 h 42"/>
                <a:gd name="T6" fmla="*/ 26 w 3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2">
                  <a:moveTo>
                    <a:pt x="26" y="0"/>
                  </a:moveTo>
                  <a:cubicBezTo>
                    <a:pt x="26" y="0"/>
                    <a:pt x="25" y="10"/>
                    <a:pt x="17" y="18"/>
                  </a:cubicBezTo>
                  <a:cubicBezTo>
                    <a:pt x="12" y="23"/>
                    <a:pt x="0" y="31"/>
                    <a:pt x="14" y="36"/>
                  </a:cubicBezTo>
                  <a:cubicBezTo>
                    <a:pt x="32" y="4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DD9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2" name="Freeform 134"/>
            <p:cNvSpPr/>
            <p:nvPr/>
          </p:nvSpPr>
          <p:spPr bwMode="auto">
            <a:xfrm>
              <a:off x="10358799" y="3027639"/>
              <a:ext cx="110586" cy="185394"/>
            </a:xfrm>
            <a:custGeom>
              <a:avLst/>
              <a:gdLst>
                <a:gd name="T0" fmla="*/ 0 w 33"/>
                <a:gd name="T1" fmla="*/ 39 h 55"/>
                <a:gd name="T2" fmla="*/ 11 w 33"/>
                <a:gd name="T3" fmla="*/ 51 h 55"/>
                <a:gd name="T4" fmla="*/ 31 w 33"/>
                <a:gd name="T5" fmla="*/ 18 h 55"/>
                <a:gd name="T6" fmla="*/ 6 w 33"/>
                <a:gd name="T7" fmla="*/ 16 h 55"/>
                <a:gd name="T8" fmla="*/ 0 w 33"/>
                <a:gd name="T9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5">
                  <a:moveTo>
                    <a:pt x="0" y="39"/>
                  </a:moveTo>
                  <a:cubicBezTo>
                    <a:pt x="0" y="39"/>
                    <a:pt x="4" y="46"/>
                    <a:pt x="11" y="51"/>
                  </a:cubicBezTo>
                  <a:cubicBezTo>
                    <a:pt x="17" y="55"/>
                    <a:pt x="29" y="36"/>
                    <a:pt x="31" y="18"/>
                  </a:cubicBezTo>
                  <a:cubicBezTo>
                    <a:pt x="33" y="0"/>
                    <a:pt x="6" y="16"/>
                    <a:pt x="6" y="16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3" name="任意多边形: 形状 314"/>
            <p:cNvSpPr/>
            <p:nvPr/>
          </p:nvSpPr>
          <p:spPr bwMode="auto">
            <a:xfrm>
              <a:off x="9964881" y="2819650"/>
              <a:ext cx="505592" cy="309928"/>
            </a:xfrm>
            <a:custGeom>
              <a:avLst/>
              <a:gdLst>
                <a:gd name="connsiteX0" fmla="*/ 213912 w 493539"/>
                <a:gd name="connsiteY0" fmla="*/ 408 h 302540"/>
                <a:gd name="connsiteX1" fmla="*/ 407978 w 493539"/>
                <a:gd name="connsiteY1" fmla="*/ 64290 h 302540"/>
                <a:gd name="connsiteX2" fmla="*/ 413349 w 493539"/>
                <a:gd name="connsiteY2" fmla="*/ 69212 h 302540"/>
                <a:gd name="connsiteX3" fmla="*/ 403489 w 493539"/>
                <a:gd name="connsiteY3" fmla="*/ 42845 h 302540"/>
                <a:gd name="connsiteX4" fmla="*/ 403895 w 493539"/>
                <a:gd name="connsiteY4" fmla="*/ 28506 h 302540"/>
                <a:gd name="connsiteX5" fmla="*/ 441881 w 493539"/>
                <a:gd name="connsiteY5" fmla="*/ 87500 h 302540"/>
                <a:gd name="connsiteX6" fmla="*/ 440403 w 493539"/>
                <a:gd name="connsiteY6" fmla="*/ 98183 h 302540"/>
                <a:gd name="connsiteX7" fmla="*/ 441075 w 493539"/>
                <a:gd name="connsiteY7" fmla="*/ 98223 h 302540"/>
                <a:gd name="connsiteX8" fmla="*/ 441106 w 493539"/>
                <a:gd name="connsiteY8" fmla="*/ 97966 h 302540"/>
                <a:gd name="connsiteX9" fmla="*/ 446971 w 493539"/>
                <a:gd name="connsiteY9" fmla="*/ 98378 h 302540"/>
                <a:gd name="connsiteX10" fmla="*/ 447099 w 493539"/>
                <a:gd name="connsiteY10" fmla="*/ 98577 h 302540"/>
                <a:gd name="connsiteX11" fmla="*/ 464940 w 493539"/>
                <a:gd name="connsiteY11" fmla="*/ 99624 h 302540"/>
                <a:gd name="connsiteX12" fmla="*/ 489656 w 493539"/>
                <a:gd name="connsiteY12" fmla="*/ 127661 h 302540"/>
                <a:gd name="connsiteX13" fmla="*/ 457608 w 493539"/>
                <a:gd name="connsiteY13" fmla="*/ 110290 h 302540"/>
                <a:gd name="connsiteX14" fmla="*/ 453816 w 493539"/>
                <a:gd name="connsiteY14" fmla="*/ 109002 h 302540"/>
                <a:gd name="connsiteX15" fmla="*/ 458596 w 493539"/>
                <a:gd name="connsiteY15" fmla="*/ 116420 h 302540"/>
                <a:gd name="connsiteX16" fmla="*/ 467079 w 493539"/>
                <a:gd name="connsiteY16" fmla="*/ 184153 h 302540"/>
                <a:gd name="connsiteX17" fmla="*/ 440268 w 493539"/>
                <a:gd name="connsiteY17" fmla="*/ 293021 h 302540"/>
                <a:gd name="connsiteX18" fmla="*/ 396699 w 493539"/>
                <a:gd name="connsiteY18" fmla="*/ 289722 h 302540"/>
                <a:gd name="connsiteX19" fmla="*/ 389996 w 493539"/>
                <a:gd name="connsiteY19" fmla="*/ 243536 h 302540"/>
                <a:gd name="connsiteX20" fmla="*/ 381151 w 493539"/>
                <a:gd name="connsiteY20" fmla="*/ 178233 h 302540"/>
                <a:gd name="connsiteX21" fmla="*/ 370547 w 493539"/>
                <a:gd name="connsiteY21" fmla="*/ 180926 h 302540"/>
                <a:gd name="connsiteX22" fmla="*/ 360648 w 493539"/>
                <a:gd name="connsiteY22" fmla="*/ 134766 h 302540"/>
                <a:gd name="connsiteX23" fmla="*/ 109868 w 493539"/>
                <a:gd name="connsiteY23" fmla="*/ 164440 h 302540"/>
                <a:gd name="connsiteX24" fmla="*/ 96585 w 493539"/>
                <a:gd name="connsiteY24" fmla="*/ 127695 h 302540"/>
                <a:gd name="connsiteX25" fmla="*/ 97260 w 493539"/>
                <a:gd name="connsiteY25" fmla="*/ 127533 h 302540"/>
                <a:gd name="connsiteX26" fmla="*/ 151785 w 493539"/>
                <a:gd name="connsiteY26" fmla="*/ 124566 h 302540"/>
                <a:gd name="connsiteX27" fmla="*/ 182462 w 493539"/>
                <a:gd name="connsiteY27" fmla="*/ 121578 h 302540"/>
                <a:gd name="connsiteX28" fmla="*/ 115230 w 493539"/>
                <a:gd name="connsiteY28" fmla="*/ 123226 h 302540"/>
                <a:gd name="connsiteX29" fmla="*/ 97260 w 493539"/>
                <a:gd name="connsiteY29" fmla="*/ 127533 h 302540"/>
                <a:gd name="connsiteX30" fmla="*/ 85532 w 493539"/>
                <a:gd name="connsiteY30" fmla="*/ 128172 h 302540"/>
                <a:gd name="connsiteX31" fmla="*/ 976 w 493539"/>
                <a:gd name="connsiteY31" fmla="*/ 105092 h 302540"/>
                <a:gd name="connsiteX32" fmla="*/ 95844 w 493539"/>
                <a:gd name="connsiteY32" fmla="*/ 62229 h 302540"/>
                <a:gd name="connsiteX33" fmla="*/ 145732 w 493539"/>
                <a:gd name="connsiteY33" fmla="*/ 59690 h 302540"/>
                <a:gd name="connsiteX34" fmla="*/ 168026 w 493539"/>
                <a:gd name="connsiteY34" fmla="*/ 63466 h 302540"/>
                <a:gd name="connsiteX35" fmla="*/ 284754 w 493539"/>
                <a:gd name="connsiteY35" fmla="*/ 68824 h 302540"/>
                <a:gd name="connsiteX36" fmla="*/ 182874 w 493539"/>
                <a:gd name="connsiteY36" fmla="*/ 57799 h 302540"/>
                <a:gd name="connsiteX37" fmla="*/ 145732 w 493539"/>
                <a:gd name="connsiteY37" fmla="*/ 59690 h 302540"/>
                <a:gd name="connsiteX38" fmla="*/ 132173 w 493539"/>
                <a:gd name="connsiteY38" fmla="*/ 57393 h 302540"/>
                <a:gd name="connsiteX39" fmla="*/ 123067 w 493539"/>
                <a:gd name="connsiteY39" fmla="*/ 16070 h 302540"/>
                <a:gd name="connsiteX40" fmla="*/ 213912 w 493539"/>
                <a:gd name="connsiteY40" fmla="*/ 408 h 30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93539" h="302540">
                  <a:moveTo>
                    <a:pt x="213912" y="408"/>
                  </a:moveTo>
                  <a:cubicBezTo>
                    <a:pt x="283413" y="4118"/>
                    <a:pt x="363225" y="32555"/>
                    <a:pt x="407978" y="64290"/>
                  </a:cubicBezTo>
                  <a:lnTo>
                    <a:pt x="413349" y="69212"/>
                  </a:lnTo>
                  <a:lnTo>
                    <a:pt x="403489" y="42845"/>
                  </a:lnTo>
                  <a:cubicBezTo>
                    <a:pt x="401048" y="34242"/>
                    <a:pt x="400641" y="28506"/>
                    <a:pt x="403895" y="28506"/>
                  </a:cubicBezTo>
                  <a:cubicBezTo>
                    <a:pt x="416099" y="26048"/>
                    <a:pt x="439287" y="51243"/>
                    <a:pt x="441881" y="87500"/>
                  </a:cubicBezTo>
                  <a:lnTo>
                    <a:pt x="440403" y="98183"/>
                  </a:lnTo>
                  <a:lnTo>
                    <a:pt x="441075" y="98223"/>
                  </a:lnTo>
                  <a:lnTo>
                    <a:pt x="441106" y="97966"/>
                  </a:lnTo>
                  <a:cubicBezTo>
                    <a:pt x="442781" y="96729"/>
                    <a:pt x="445295" y="96729"/>
                    <a:pt x="446971" y="98378"/>
                  </a:cubicBezTo>
                  <a:lnTo>
                    <a:pt x="447099" y="98577"/>
                  </a:lnTo>
                  <a:lnTo>
                    <a:pt x="464940" y="99624"/>
                  </a:lnTo>
                  <a:cubicBezTo>
                    <a:pt x="484629" y="102469"/>
                    <a:pt x="501386" y="109782"/>
                    <a:pt x="489656" y="127661"/>
                  </a:cubicBezTo>
                  <a:cubicBezTo>
                    <a:pt x="477089" y="152041"/>
                    <a:pt x="481487" y="127051"/>
                    <a:pt x="457608" y="110290"/>
                  </a:cubicBezTo>
                  <a:lnTo>
                    <a:pt x="453816" y="109002"/>
                  </a:lnTo>
                  <a:lnTo>
                    <a:pt x="458596" y="116420"/>
                  </a:lnTo>
                  <a:cubicBezTo>
                    <a:pt x="467079" y="137142"/>
                    <a:pt x="467079" y="164359"/>
                    <a:pt x="467079" y="184153"/>
                  </a:cubicBezTo>
                  <a:cubicBezTo>
                    <a:pt x="467079" y="217143"/>
                    <a:pt x="463728" y="266629"/>
                    <a:pt x="440268" y="293021"/>
                  </a:cubicBezTo>
                  <a:cubicBezTo>
                    <a:pt x="430214" y="306217"/>
                    <a:pt x="410105" y="306217"/>
                    <a:pt x="396699" y="289722"/>
                  </a:cubicBezTo>
                  <a:cubicBezTo>
                    <a:pt x="389996" y="279825"/>
                    <a:pt x="389996" y="256732"/>
                    <a:pt x="389996" y="243536"/>
                  </a:cubicBezTo>
                  <a:lnTo>
                    <a:pt x="381151" y="178233"/>
                  </a:lnTo>
                  <a:lnTo>
                    <a:pt x="370547" y="180926"/>
                  </a:lnTo>
                  <a:cubicBezTo>
                    <a:pt x="327650" y="177629"/>
                    <a:pt x="360648" y="134766"/>
                    <a:pt x="360648" y="134766"/>
                  </a:cubicBezTo>
                  <a:cubicBezTo>
                    <a:pt x="360648" y="134766"/>
                    <a:pt x="189061" y="220491"/>
                    <a:pt x="109868" y="164440"/>
                  </a:cubicBezTo>
                  <a:cubicBezTo>
                    <a:pt x="78933" y="144657"/>
                    <a:pt x="81407" y="133684"/>
                    <a:pt x="96585" y="127695"/>
                  </a:cubicBezTo>
                  <a:lnTo>
                    <a:pt x="97260" y="127533"/>
                  </a:lnTo>
                  <a:lnTo>
                    <a:pt x="151785" y="124566"/>
                  </a:lnTo>
                  <a:cubicBezTo>
                    <a:pt x="170088" y="123020"/>
                    <a:pt x="182462" y="121578"/>
                    <a:pt x="182462" y="121578"/>
                  </a:cubicBezTo>
                  <a:cubicBezTo>
                    <a:pt x="182462" y="121578"/>
                    <a:pt x="143690" y="119105"/>
                    <a:pt x="115230" y="123226"/>
                  </a:cubicBezTo>
                  <a:lnTo>
                    <a:pt x="97260" y="127533"/>
                  </a:lnTo>
                  <a:lnTo>
                    <a:pt x="85532" y="128172"/>
                  </a:lnTo>
                  <a:cubicBezTo>
                    <a:pt x="38098" y="128996"/>
                    <a:pt x="-7273" y="124875"/>
                    <a:pt x="976" y="105092"/>
                  </a:cubicBezTo>
                  <a:cubicBezTo>
                    <a:pt x="9226" y="85309"/>
                    <a:pt x="44698" y="69648"/>
                    <a:pt x="95844" y="62229"/>
                  </a:cubicBezTo>
                  <a:lnTo>
                    <a:pt x="145732" y="59690"/>
                  </a:lnTo>
                  <a:lnTo>
                    <a:pt x="168026" y="63466"/>
                  </a:lnTo>
                  <a:cubicBezTo>
                    <a:pt x="220409" y="69648"/>
                    <a:pt x="284754" y="68824"/>
                    <a:pt x="284754" y="68824"/>
                  </a:cubicBezTo>
                  <a:cubicBezTo>
                    <a:pt x="249282" y="62229"/>
                    <a:pt x="214841" y="58726"/>
                    <a:pt x="182874" y="57799"/>
                  </a:cubicBezTo>
                  <a:lnTo>
                    <a:pt x="145732" y="59690"/>
                  </a:lnTo>
                  <a:lnTo>
                    <a:pt x="132173" y="57393"/>
                  </a:lnTo>
                  <a:cubicBezTo>
                    <a:pt x="100948" y="49762"/>
                    <a:pt x="87182" y="37089"/>
                    <a:pt x="123067" y="16070"/>
                  </a:cubicBezTo>
                  <a:cubicBezTo>
                    <a:pt x="146990" y="2881"/>
                    <a:pt x="179162" y="-1446"/>
                    <a:pt x="213912" y="40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74" name="Freeform 138"/>
            <p:cNvSpPr/>
            <p:nvPr/>
          </p:nvSpPr>
          <p:spPr bwMode="auto">
            <a:xfrm>
              <a:off x="10131122" y="3243932"/>
              <a:ext cx="134981" cy="65051"/>
            </a:xfrm>
            <a:custGeom>
              <a:avLst/>
              <a:gdLst>
                <a:gd name="T0" fmla="*/ 0 w 40"/>
                <a:gd name="T1" fmla="*/ 0 h 19"/>
                <a:gd name="T2" fmla="*/ 40 w 40"/>
                <a:gd name="T3" fmla="*/ 2 h 19"/>
                <a:gd name="T4" fmla="*/ 22 w 40"/>
                <a:gd name="T5" fmla="*/ 18 h 19"/>
                <a:gd name="T6" fmla="*/ 0 w 40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19">
                  <a:moveTo>
                    <a:pt x="0" y="0"/>
                  </a:move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36" y="18"/>
                    <a:pt x="22" y="18"/>
                  </a:cubicBezTo>
                  <a:cubicBezTo>
                    <a:pt x="7" y="1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F3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5" name="Freeform 139"/>
            <p:cNvSpPr/>
            <p:nvPr/>
          </p:nvSpPr>
          <p:spPr bwMode="auto">
            <a:xfrm>
              <a:off x="10152264" y="3243932"/>
              <a:ext cx="97575" cy="30899"/>
            </a:xfrm>
            <a:custGeom>
              <a:avLst/>
              <a:gdLst>
                <a:gd name="T0" fmla="*/ 0 w 29"/>
                <a:gd name="T1" fmla="*/ 0 h 9"/>
                <a:gd name="T2" fmla="*/ 14 w 29"/>
                <a:gd name="T3" fmla="*/ 9 h 9"/>
                <a:gd name="T4" fmla="*/ 29 w 29"/>
                <a:gd name="T5" fmla="*/ 2 h 9"/>
                <a:gd name="T6" fmla="*/ 0 w 2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9">
                  <a:moveTo>
                    <a:pt x="0" y="0"/>
                  </a:moveTo>
                  <a:cubicBezTo>
                    <a:pt x="0" y="0"/>
                    <a:pt x="3" y="8"/>
                    <a:pt x="14" y="9"/>
                  </a:cubicBezTo>
                  <a:cubicBezTo>
                    <a:pt x="26" y="9"/>
                    <a:pt x="29" y="2"/>
                    <a:pt x="29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6" name="Freeform 140"/>
            <p:cNvSpPr/>
            <p:nvPr/>
          </p:nvSpPr>
          <p:spPr bwMode="auto">
            <a:xfrm>
              <a:off x="9500131" y="4136752"/>
              <a:ext cx="874932" cy="533415"/>
            </a:xfrm>
            <a:custGeom>
              <a:avLst/>
              <a:gdLst>
                <a:gd name="T0" fmla="*/ 244 w 259"/>
                <a:gd name="T1" fmla="*/ 158 h 158"/>
                <a:gd name="T2" fmla="*/ 32 w 259"/>
                <a:gd name="T3" fmla="*/ 158 h 158"/>
                <a:gd name="T4" fmla="*/ 18 w 259"/>
                <a:gd name="T5" fmla="*/ 146 h 158"/>
                <a:gd name="T6" fmla="*/ 1 w 259"/>
                <a:gd name="T7" fmla="*/ 16 h 158"/>
                <a:gd name="T8" fmla="*/ 15 w 259"/>
                <a:gd name="T9" fmla="*/ 0 h 158"/>
                <a:gd name="T10" fmla="*/ 227 w 259"/>
                <a:gd name="T11" fmla="*/ 0 h 158"/>
                <a:gd name="T12" fmla="*/ 241 w 259"/>
                <a:gd name="T13" fmla="*/ 12 h 158"/>
                <a:gd name="T14" fmla="*/ 258 w 259"/>
                <a:gd name="T15" fmla="*/ 142 h 158"/>
                <a:gd name="T16" fmla="*/ 244 w 259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58">
                  <a:moveTo>
                    <a:pt x="244" y="158"/>
                  </a:moveTo>
                  <a:cubicBezTo>
                    <a:pt x="32" y="158"/>
                    <a:pt x="32" y="158"/>
                    <a:pt x="32" y="158"/>
                  </a:cubicBezTo>
                  <a:cubicBezTo>
                    <a:pt x="25" y="158"/>
                    <a:pt x="19" y="153"/>
                    <a:pt x="18" y="14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34" y="0"/>
                    <a:pt x="240" y="5"/>
                    <a:pt x="241" y="12"/>
                  </a:cubicBezTo>
                  <a:cubicBezTo>
                    <a:pt x="258" y="142"/>
                    <a:pt x="258" y="142"/>
                    <a:pt x="258" y="142"/>
                  </a:cubicBezTo>
                  <a:cubicBezTo>
                    <a:pt x="259" y="151"/>
                    <a:pt x="252" y="158"/>
                    <a:pt x="244" y="158"/>
                  </a:cubicBezTo>
                  <a:close/>
                </a:path>
              </a:pathLst>
            </a:custGeom>
            <a:solidFill>
              <a:srgbClr val="C2E1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7" name="Oval 141"/>
            <p:cNvSpPr/>
            <p:nvPr/>
          </p:nvSpPr>
          <p:spPr bwMode="auto">
            <a:xfrm>
              <a:off x="9867667" y="4335157"/>
              <a:ext cx="134981" cy="134981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8" name="Freeform 142"/>
            <p:cNvSpPr/>
            <p:nvPr/>
          </p:nvSpPr>
          <p:spPr bwMode="auto">
            <a:xfrm>
              <a:off x="9748949" y="3811499"/>
              <a:ext cx="203284" cy="237436"/>
            </a:xfrm>
            <a:custGeom>
              <a:avLst/>
              <a:gdLst>
                <a:gd name="T0" fmla="*/ 0 w 125"/>
                <a:gd name="T1" fmla="*/ 0 h 146"/>
                <a:gd name="T2" fmla="*/ 104 w 125"/>
                <a:gd name="T3" fmla="*/ 146 h 146"/>
                <a:gd name="T4" fmla="*/ 125 w 125"/>
                <a:gd name="T5" fmla="*/ 123 h 146"/>
                <a:gd name="T6" fmla="*/ 19 w 125"/>
                <a:gd name="T7" fmla="*/ 19 h 146"/>
                <a:gd name="T8" fmla="*/ 0 w 125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46">
                  <a:moveTo>
                    <a:pt x="0" y="0"/>
                  </a:moveTo>
                  <a:lnTo>
                    <a:pt x="104" y="146"/>
                  </a:lnTo>
                  <a:lnTo>
                    <a:pt x="125" y="123"/>
                  </a:lnTo>
                  <a:lnTo>
                    <a:pt x="19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9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9" name="Freeform 143"/>
            <p:cNvSpPr/>
            <p:nvPr/>
          </p:nvSpPr>
          <p:spPr bwMode="auto">
            <a:xfrm>
              <a:off x="9748949" y="3811499"/>
              <a:ext cx="203284" cy="237436"/>
            </a:xfrm>
            <a:custGeom>
              <a:avLst/>
              <a:gdLst>
                <a:gd name="T0" fmla="*/ 0 w 125"/>
                <a:gd name="T1" fmla="*/ 0 h 146"/>
                <a:gd name="T2" fmla="*/ 104 w 125"/>
                <a:gd name="T3" fmla="*/ 146 h 146"/>
                <a:gd name="T4" fmla="*/ 125 w 125"/>
                <a:gd name="T5" fmla="*/ 123 h 146"/>
                <a:gd name="T6" fmla="*/ 19 w 125"/>
                <a:gd name="T7" fmla="*/ 19 h 146"/>
                <a:gd name="T8" fmla="*/ 0 w 125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46">
                  <a:moveTo>
                    <a:pt x="0" y="0"/>
                  </a:moveTo>
                  <a:lnTo>
                    <a:pt x="104" y="146"/>
                  </a:lnTo>
                  <a:lnTo>
                    <a:pt x="125" y="123"/>
                  </a:lnTo>
                  <a:lnTo>
                    <a:pt x="19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0" name="Freeform 144"/>
            <p:cNvSpPr/>
            <p:nvPr/>
          </p:nvSpPr>
          <p:spPr bwMode="auto">
            <a:xfrm>
              <a:off x="11087367" y="3952983"/>
              <a:ext cx="4879" cy="14637"/>
            </a:xfrm>
            <a:custGeom>
              <a:avLst/>
              <a:gdLst>
                <a:gd name="T0" fmla="*/ 0 w 3"/>
                <a:gd name="T1" fmla="*/ 0 h 9"/>
                <a:gd name="T2" fmla="*/ 3 w 3"/>
                <a:gd name="T3" fmla="*/ 9 h 9"/>
                <a:gd name="T4" fmla="*/ 3 w 3"/>
                <a:gd name="T5" fmla="*/ 9 h 9"/>
                <a:gd name="T6" fmla="*/ 0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3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DD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1" name="Freeform 145"/>
            <p:cNvSpPr/>
            <p:nvPr/>
          </p:nvSpPr>
          <p:spPr bwMode="auto">
            <a:xfrm>
              <a:off x="11087367" y="3952983"/>
              <a:ext cx="4879" cy="14637"/>
            </a:xfrm>
            <a:custGeom>
              <a:avLst/>
              <a:gdLst>
                <a:gd name="T0" fmla="*/ 0 w 3"/>
                <a:gd name="T1" fmla="*/ 0 h 9"/>
                <a:gd name="T2" fmla="*/ 3 w 3"/>
                <a:gd name="T3" fmla="*/ 9 h 9"/>
                <a:gd name="T4" fmla="*/ 3 w 3"/>
                <a:gd name="T5" fmla="*/ 9 h 9"/>
                <a:gd name="T6" fmla="*/ 0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3" y="9"/>
                  </a:lnTo>
                  <a:lnTo>
                    <a:pt x="3" y="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2" name="Freeform 146"/>
            <p:cNvSpPr/>
            <p:nvPr/>
          </p:nvSpPr>
          <p:spPr bwMode="auto">
            <a:xfrm>
              <a:off x="10753984" y="3899318"/>
              <a:ext cx="338264" cy="159374"/>
            </a:xfrm>
            <a:custGeom>
              <a:avLst/>
              <a:gdLst>
                <a:gd name="T0" fmla="*/ 197 w 208"/>
                <a:gd name="T1" fmla="*/ 0 h 98"/>
                <a:gd name="T2" fmla="*/ 139 w 208"/>
                <a:gd name="T3" fmla="*/ 29 h 98"/>
                <a:gd name="T4" fmla="*/ 0 w 208"/>
                <a:gd name="T5" fmla="*/ 98 h 98"/>
                <a:gd name="T6" fmla="*/ 208 w 208"/>
                <a:gd name="T7" fmla="*/ 42 h 98"/>
                <a:gd name="T8" fmla="*/ 205 w 208"/>
                <a:gd name="T9" fmla="*/ 33 h 98"/>
                <a:gd name="T10" fmla="*/ 197 w 208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98">
                  <a:moveTo>
                    <a:pt x="197" y="0"/>
                  </a:moveTo>
                  <a:lnTo>
                    <a:pt x="139" y="29"/>
                  </a:lnTo>
                  <a:lnTo>
                    <a:pt x="0" y="98"/>
                  </a:lnTo>
                  <a:lnTo>
                    <a:pt x="208" y="42"/>
                  </a:lnTo>
                  <a:lnTo>
                    <a:pt x="205" y="33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E79D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3" name="Freeform 147"/>
            <p:cNvSpPr/>
            <p:nvPr/>
          </p:nvSpPr>
          <p:spPr bwMode="auto">
            <a:xfrm>
              <a:off x="10753984" y="3899318"/>
              <a:ext cx="338264" cy="159374"/>
            </a:xfrm>
            <a:custGeom>
              <a:avLst/>
              <a:gdLst>
                <a:gd name="T0" fmla="*/ 197 w 208"/>
                <a:gd name="T1" fmla="*/ 0 h 98"/>
                <a:gd name="T2" fmla="*/ 139 w 208"/>
                <a:gd name="T3" fmla="*/ 29 h 98"/>
                <a:gd name="T4" fmla="*/ 0 w 208"/>
                <a:gd name="T5" fmla="*/ 98 h 98"/>
                <a:gd name="T6" fmla="*/ 208 w 208"/>
                <a:gd name="T7" fmla="*/ 42 h 98"/>
                <a:gd name="T8" fmla="*/ 205 w 208"/>
                <a:gd name="T9" fmla="*/ 33 h 98"/>
                <a:gd name="T10" fmla="*/ 197 w 208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98">
                  <a:moveTo>
                    <a:pt x="197" y="0"/>
                  </a:moveTo>
                  <a:lnTo>
                    <a:pt x="139" y="29"/>
                  </a:lnTo>
                  <a:lnTo>
                    <a:pt x="0" y="98"/>
                  </a:lnTo>
                  <a:lnTo>
                    <a:pt x="208" y="42"/>
                  </a:lnTo>
                  <a:lnTo>
                    <a:pt x="205" y="33"/>
                  </a:lnTo>
                  <a:lnTo>
                    <a:pt x="19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4" name="Freeform 148"/>
            <p:cNvSpPr/>
            <p:nvPr/>
          </p:nvSpPr>
          <p:spPr bwMode="auto">
            <a:xfrm>
              <a:off x="10980034" y="3899318"/>
              <a:ext cx="94323" cy="47162"/>
            </a:xfrm>
            <a:custGeom>
              <a:avLst/>
              <a:gdLst>
                <a:gd name="T0" fmla="*/ 58 w 58"/>
                <a:gd name="T1" fmla="*/ 0 h 29"/>
                <a:gd name="T2" fmla="*/ 0 w 58"/>
                <a:gd name="T3" fmla="*/ 29 h 29"/>
                <a:gd name="T4" fmla="*/ 58 w 58"/>
                <a:gd name="T5" fmla="*/ 0 h 29"/>
                <a:gd name="T6" fmla="*/ 58 w 5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9">
                  <a:moveTo>
                    <a:pt x="58" y="0"/>
                  </a:moveTo>
                  <a:lnTo>
                    <a:pt x="0" y="29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83A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5" name="Freeform 149"/>
            <p:cNvSpPr/>
            <p:nvPr/>
          </p:nvSpPr>
          <p:spPr bwMode="auto">
            <a:xfrm>
              <a:off x="10980034" y="3899318"/>
              <a:ext cx="94323" cy="47162"/>
            </a:xfrm>
            <a:custGeom>
              <a:avLst/>
              <a:gdLst>
                <a:gd name="T0" fmla="*/ 58 w 58"/>
                <a:gd name="T1" fmla="*/ 0 h 29"/>
                <a:gd name="T2" fmla="*/ 0 w 58"/>
                <a:gd name="T3" fmla="*/ 29 h 29"/>
                <a:gd name="T4" fmla="*/ 58 w 58"/>
                <a:gd name="T5" fmla="*/ 0 h 29"/>
                <a:gd name="T6" fmla="*/ 58 w 5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9">
                  <a:moveTo>
                    <a:pt x="58" y="0"/>
                  </a:moveTo>
                  <a:lnTo>
                    <a:pt x="0" y="29"/>
                  </a:lnTo>
                  <a:lnTo>
                    <a:pt x="58" y="0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6" name="Freeform 156"/>
            <p:cNvSpPr/>
            <p:nvPr/>
          </p:nvSpPr>
          <p:spPr bwMode="auto">
            <a:xfrm>
              <a:off x="7491691" y="3149607"/>
              <a:ext cx="1429490" cy="736699"/>
            </a:xfrm>
            <a:custGeom>
              <a:avLst/>
              <a:gdLst>
                <a:gd name="T0" fmla="*/ 439 w 879"/>
                <a:gd name="T1" fmla="*/ 0 h 453"/>
                <a:gd name="T2" fmla="*/ 432 w 879"/>
                <a:gd name="T3" fmla="*/ 0 h 453"/>
                <a:gd name="T4" fmla="*/ 0 w 879"/>
                <a:gd name="T5" fmla="*/ 0 h 453"/>
                <a:gd name="T6" fmla="*/ 152 w 879"/>
                <a:gd name="T7" fmla="*/ 453 h 453"/>
                <a:gd name="T8" fmla="*/ 432 w 879"/>
                <a:gd name="T9" fmla="*/ 453 h 453"/>
                <a:gd name="T10" fmla="*/ 439 w 879"/>
                <a:gd name="T11" fmla="*/ 453 h 453"/>
                <a:gd name="T12" fmla="*/ 719 w 879"/>
                <a:gd name="T13" fmla="*/ 453 h 453"/>
                <a:gd name="T14" fmla="*/ 879 w 879"/>
                <a:gd name="T15" fmla="*/ 0 h 453"/>
                <a:gd name="T16" fmla="*/ 439 w 879"/>
                <a:gd name="T1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9" h="453">
                  <a:moveTo>
                    <a:pt x="439" y="0"/>
                  </a:moveTo>
                  <a:lnTo>
                    <a:pt x="432" y="0"/>
                  </a:lnTo>
                  <a:lnTo>
                    <a:pt x="0" y="0"/>
                  </a:lnTo>
                  <a:lnTo>
                    <a:pt x="152" y="453"/>
                  </a:lnTo>
                  <a:lnTo>
                    <a:pt x="432" y="453"/>
                  </a:lnTo>
                  <a:lnTo>
                    <a:pt x="439" y="453"/>
                  </a:lnTo>
                  <a:lnTo>
                    <a:pt x="719" y="453"/>
                  </a:lnTo>
                  <a:lnTo>
                    <a:pt x="879" y="0"/>
                  </a:lnTo>
                  <a:lnTo>
                    <a:pt x="4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7" name="Freeform 157"/>
            <p:cNvSpPr/>
            <p:nvPr/>
          </p:nvSpPr>
          <p:spPr bwMode="auto">
            <a:xfrm>
              <a:off x="7698226" y="3839145"/>
              <a:ext cx="1018044" cy="408194"/>
            </a:xfrm>
            <a:custGeom>
              <a:avLst/>
              <a:gdLst>
                <a:gd name="T0" fmla="*/ 314 w 626"/>
                <a:gd name="T1" fmla="*/ 0 h 251"/>
                <a:gd name="T2" fmla="*/ 310 w 626"/>
                <a:gd name="T3" fmla="*/ 0 h 251"/>
                <a:gd name="T4" fmla="*/ 0 w 626"/>
                <a:gd name="T5" fmla="*/ 0 h 251"/>
                <a:gd name="T6" fmla="*/ 81 w 626"/>
                <a:gd name="T7" fmla="*/ 251 h 251"/>
                <a:gd name="T8" fmla="*/ 310 w 626"/>
                <a:gd name="T9" fmla="*/ 251 h 251"/>
                <a:gd name="T10" fmla="*/ 314 w 626"/>
                <a:gd name="T11" fmla="*/ 251 h 251"/>
                <a:gd name="T12" fmla="*/ 542 w 626"/>
                <a:gd name="T13" fmla="*/ 251 h 251"/>
                <a:gd name="T14" fmla="*/ 626 w 626"/>
                <a:gd name="T15" fmla="*/ 0 h 251"/>
                <a:gd name="T16" fmla="*/ 314 w 626"/>
                <a:gd name="T17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251">
                  <a:moveTo>
                    <a:pt x="314" y="0"/>
                  </a:moveTo>
                  <a:lnTo>
                    <a:pt x="310" y="0"/>
                  </a:lnTo>
                  <a:lnTo>
                    <a:pt x="0" y="0"/>
                  </a:lnTo>
                  <a:lnTo>
                    <a:pt x="81" y="251"/>
                  </a:lnTo>
                  <a:lnTo>
                    <a:pt x="310" y="251"/>
                  </a:lnTo>
                  <a:lnTo>
                    <a:pt x="314" y="251"/>
                  </a:lnTo>
                  <a:lnTo>
                    <a:pt x="542" y="251"/>
                  </a:lnTo>
                  <a:lnTo>
                    <a:pt x="626" y="0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8" name="Freeform 158"/>
            <p:cNvSpPr/>
            <p:nvPr/>
          </p:nvSpPr>
          <p:spPr bwMode="auto">
            <a:xfrm>
              <a:off x="7698226" y="3839145"/>
              <a:ext cx="1018044" cy="408194"/>
            </a:xfrm>
            <a:custGeom>
              <a:avLst/>
              <a:gdLst>
                <a:gd name="T0" fmla="*/ 314 w 626"/>
                <a:gd name="T1" fmla="*/ 0 h 251"/>
                <a:gd name="T2" fmla="*/ 310 w 626"/>
                <a:gd name="T3" fmla="*/ 0 h 251"/>
                <a:gd name="T4" fmla="*/ 0 w 626"/>
                <a:gd name="T5" fmla="*/ 0 h 251"/>
                <a:gd name="T6" fmla="*/ 81 w 626"/>
                <a:gd name="T7" fmla="*/ 251 h 251"/>
                <a:gd name="T8" fmla="*/ 310 w 626"/>
                <a:gd name="T9" fmla="*/ 251 h 251"/>
                <a:gd name="T10" fmla="*/ 314 w 626"/>
                <a:gd name="T11" fmla="*/ 251 h 251"/>
                <a:gd name="T12" fmla="*/ 542 w 626"/>
                <a:gd name="T13" fmla="*/ 251 h 251"/>
                <a:gd name="T14" fmla="*/ 626 w 626"/>
                <a:gd name="T15" fmla="*/ 0 h 251"/>
                <a:gd name="T16" fmla="*/ 314 w 626"/>
                <a:gd name="T17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251">
                  <a:moveTo>
                    <a:pt x="314" y="0"/>
                  </a:moveTo>
                  <a:lnTo>
                    <a:pt x="310" y="0"/>
                  </a:lnTo>
                  <a:lnTo>
                    <a:pt x="0" y="0"/>
                  </a:lnTo>
                  <a:lnTo>
                    <a:pt x="81" y="251"/>
                  </a:lnTo>
                  <a:lnTo>
                    <a:pt x="310" y="251"/>
                  </a:lnTo>
                  <a:lnTo>
                    <a:pt x="314" y="251"/>
                  </a:lnTo>
                  <a:lnTo>
                    <a:pt x="542" y="251"/>
                  </a:lnTo>
                  <a:lnTo>
                    <a:pt x="626" y="0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172D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9" name="Rectangle 159"/>
            <p:cNvSpPr/>
            <p:nvPr/>
          </p:nvSpPr>
          <p:spPr bwMode="auto">
            <a:xfrm>
              <a:off x="7667328" y="3798488"/>
              <a:ext cx="1078216" cy="56921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0" name="Rectangle 160"/>
            <p:cNvSpPr/>
            <p:nvPr/>
          </p:nvSpPr>
          <p:spPr bwMode="auto">
            <a:xfrm>
              <a:off x="7667328" y="3798488"/>
              <a:ext cx="1078216" cy="56921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1" name="Rectangle 161"/>
            <p:cNvSpPr/>
            <p:nvPr/>
          </p:nvSpPr>
          <p:spPr bwMode="auto">
            <a:xfrm>
              <a:off x="7046094" y="4115610"/>
              <a:ext cx="2319056" cy="1665298"/>
            </a:xfrm>
            <a:prstGeom prst="rect">
              <a:avLst/>
            </a:prstGeom>
            <a:solidFill>
              <a:srgbClr val="003AA5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2" name="Rectangle 162"/>
            <p:cNvSpPr/>
            <p:nvPr/>
          </p:nvSpPr>
          <p:spPr bwMode="auto">
            <a:xfrm>
              <a:off x="7046094" y="4115610"/>
              <a:ext cx="2319056" cy="1665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3" name="Freeform 163"/>
            <p:cNvSpPr/>
            <p:nvPr/>
          </p:nvSpPr>
          <p:spPr bwMode="auto">
            <a:xfrm>
              <a:off x="8641461" y="4774248"/>
              <a:ext cx="510648" cy="689537"/>
            </a:xfrm>
            <a:custGeom>
              <a:avLst/>
              <a:gdLst>
                <a:gd name="T0" fmla="*/ 150 w 151"/>
                <a:gd name="T1" fmla="*/ 10 h 204"/>
                <a:gd name="T2" fmla="*/ 150 w 151"/>
                <a:gd name="T3" fmla="*/ 10 h 204"/>
                <a:gd name="T4" fmla="*/ 150 w 151"/>
                <a:gd name="T5" fmla="*/ 10 h 204"/>
                <a:gd name="T6" fmla="*/ 149 w 151"/>
                <a:gd name="T7" fmla="*/ 8 h 204"/>
                <a:gd name="T8" fmla="*/ 142 w 151"/>
                <a:gd name="T9" fmla="*/ 0 h 204"/>
                <a:gd name="T10" fmla="*/ 138 w 151"/>
                <a:gd name="T11" fmla="*/ 6 h 204"/>
                <a:gd name="T12" fmla="*/ 14 w 151"/>
                <a:gd name="T13" fmla="*/ 6 h 204"/>
                <a:gd name="T14" fmla="*/ 6 w 151"/>
                <a:gd name="T15" fmla="*/ 14 h 204"/>
                <a:gd name="T16" fmla="*/ 6 w 151"/>
                <a:gd name="T17" fmla="*/ 191 h 204"/>
                <a:gd name="T18" fmla="*/ 0 w 151"/>
                <a:gd name="T19" fmla="*/ 191 h 204"/>
                <a:gd name="T20" fmla="*/ 7 w 151"/>
                <a:gd name="T21" fmla="*/ 200 h 204"/>
                <a:gd name="T22" fmla="*/ 9 w 151"/>
                <a:gd name="T23" fmla="*/ 202 h 204"/>
                <a:gd name="T24" fmla="*/ 14 w 151"/>
                <a:gd name="T25" fmla="*/ 204 h 204"/>
                <a:gd name="T26" fmla="*/ 144 w 151"/>
                <a:gd name="T27" fmla="*/ 204 h 204"/>
                <a:gd name="T28" fmla="*/ 151 w 151"/>
                <a:gd name="T29" fmla="*/ 196 h 204"/>
                <a:gd name="T30" fmla="*/ 151 w 151"/>
                <a:gd name="T31" fmla="*/ 14 h 204"/>
                <a:gd name="T32" fmla="*/ 150 w 151"/>
                <a:gd name="T33" fmla="*/ 1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1" h="204">
                  <a:moveTo>
                    <a:pt x="150" y="10"/>
                  </a:move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9"/>
                    <a:pt x="149" y="9"/>
                    <a:pt x="149" y="8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9" y="6"/>
                    <a:pt x="6" y="10"/>
                    <a:pt x="6" y="14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8" y="201"/>
                    <a:pt x="8" y="201"/>
                    <a:pt x="9" y="202"/>
                  </a:cubicBezTo>
                  <a:cubicBezTo>
                    <a:pt x="10" y="203"/>
                    <a:pt x="12" y="204"/>
                    <a:pt x="14" y="20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8" y="204"/>
                    <a:pt x="151" y="200"/>
                    <a:pt x="151" y="196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2"/>
                    <a:pt x="151" y="11"/>
                    <a:pt x="150" y="10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4" name="Freeform 164"/>
            <p:cNvSpPr/>
            <p:nvPr/>
          </p:nvSpPr>
          <p:spPr bwMode="auto">
            <a:xfrm>
              <a:off x="8641461" y="4774248"/>
              <a:ext cx="510648" cy="689537"/>
            </a:xfrm>
            <a:custGeom>
              <a:avLst/>
              <a:gdLst>
                <a:gd name="T0" fmla="*/ 150 w 151"/>
                <a:gd name="T1" fmla="*/ 10 h 204"/>
                <a:gd name="T2" fmla="*/ 150 w 151"/>
                <a:gd name="T3" fmla="*/ 10 h 204"/>
                <a:gd name="T4" fmla="*/ 150 w 151"/>
                <a:gd name="T5" fmla="*/ 10 h 204"/>
                <a:gd name="T6" fmla="*/ 149 w 151"/>
                <a:gd name="T7" fmla="*/ 8 h 204"/>
                <a:gd name="T8" fmla="*/ 142 w 151"/>
                <a:gd name="T9" fmla="*/ 0 h 204"/>
                <a:gd name="T10" fmla="*/ 138 w 151"/>
                <a:gd name="T11" fmla="*/ 6 h 204"/>
                <a:gd name="T12" fmla="*/ 14 w 151"/>
                <a:gd name="T13" fmla="*/ 6 h 204"/>
                <a:gd name="T14" fmla="*/ 6 w 151"/>
                <a:gd name="T15" fmla="*/ 14 h 204"/>
                <a:gd name="T16" fmla="*/ 6 w 151"/>
                <a:gd name="T17" fmla="*/ 191 h 204"/>
                <a:gd name="T18" fmla="*/ 0 w 151"/>
                <a:gd name="T19" fmla="*/ 191 h 204"/>
                <a:gd name="T20" fmla="*/ 7 w 151"/>
                <a:gd name="T21" fmla="*/ 200 h 204"/>
                <a:gd name="T22" fmla="*/ 9 w 151"/>
                <a:gd name="T23" fmla="*/ 202 h 204"/>
                <a:gd name="T24" fmla="*/ 14 w 151"/>
                <a:gd name="T25" fmla="*/ 204 h 204"/>
                <a:gd name="T26" fmla="*/ 144 w 151"/>
                <a:gd name="T27" fmla="*/ 204 h 204"/>
                <a:gd name="T28" fmla="*/ 151 w 151"/>
                <a:gd name="T29" fmla="*/ 196 h 204"/>
                <a:gd name="T30" fmla="*/ 151 w 151"/>
                <a:gd name="T31" fmla="*/ 14 h 204"/>
                <a:gd name="T32" fmla="*/ 150 w 151"/>
                <a:gd name="T33" fmla="*/ 1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1" h="204">
                  <a:moveTo>
                    <a:pt x="150" y="10"/>
                  </a:move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9"/>
                    <a:pt x="149" y="9"/>
                    <a:pt x="149" y="8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9" y="6"/>
                    <a:pt x="6" y="10"/>
                    <a:pt x="6" y="14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8" y="201"/>
                    <a:pt x="8" y="201"/>
                    <a:pt x="9" y="202"/>
                  </a:cubicBezTo>
                  <a:cubicBezTo>
                    <a:pt x="10" y="203"/>
                    <a:pt x="12" y="204"/>
                    <a:pt x="14" y="20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8" y="204"/>
                    <a:pt x="151" y="200"/>
                    <a:pt x="151" y="196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2"/>
                    <a:pt x="151" y="11"/>
                    <a:pt x="150" y="10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5" name="Rectangle 165"/>
            <p:cNvSpPr/>
            <p:nvPr/>
          </p:nvSpPr>
          <p:spPr bwMode="auto">
            <a:xfrm>
              <a:off x="7174569" y="4639268"/>
              <a:ext cx="1162782" cy="97576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6" name="Oval 167"/>
            <p:cNvSpPr/>
            <p:nvPr/>
          </p:nvSpPr>
          <p:spPr bwMode="auto">
            <a:xfrm>
              <a:off x="7194083" y="4287994"/>
              <a:ext cx="209789" cy="209789"/>
            </a:xfrm>
            <a:prstGeom prst="ellipse">
              <a:avLst/>
            </a:prstGeom>
            <a:solidFill>
              <a:srgbClr val="59A0E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7" name="Oval 169"/>
            <p:cNvSpPr/>
            <p:nvPr/>
          </p:nvSpPr>
          <p:spPr bwMode="auto">
            <a:xfrm>
              <a:off x="7174569" y="4281489"/>
              <a:ext cx="209789" cy="213041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8" name="Oval 170"/>
            <p:cNvSpPr/>
            <p:nvPr/>
          </p:nvSpPr>
          <p:spPr bwMode="auto">
            <a:xfrm>
              <a:off x="8397522" y="4905975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9" name="Oval 171"/>
            <p:cNvSpPr/>
            <p:nvPr/>
          </p:nvSpPr>
          <p:spPr bwMode="auto">
            <a:xfrm>
              <a:off x="8397522" y="4905975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0" name="Oval 172"/>
            <p:cNvSpPr/>
            <p:nvPr/>
          </p:nvSpPr>
          <p:spPr bwMode="auto">
            <a:xfrm>
              <a:off x="8387764" y="4902723"/>
              <a:ext cx="100828" cy="100828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1" name="Oval 173"/>
            <p:cNvSpPr/>
            <p:nvPr/>
          </p:nvSpPr>
          <p:spPr bwMode="auto">
            <a:xfrm>
              <a:off x="8397522" y="5078360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2" name="Oval 174"/>
            <p:cNvSpPr/>
            <p:nvPr/>
          </p:nvSpPr>
          <p:spPr bwMode="auto">
            <a:xfrm>
              <a:off x="8397522" y="5078360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3" name="Oval 175"/>
            <p:cNvSpPr/>
            <p:nvPr/>
          </p:nvSpPr>
          <p:spPr bwMode="auto">
            <a:xfrm>
              <a:off x="8387764" y="5075107"/>
              <a:ext cx="100828" cy="100828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4" name="Oval 176"/>
            <p:cNvSpPr/>
            <p:nvPr/>
          </p:nvSpPr>
          <p:spPr bwMode="auto">
            <a:xfrm>
              <a:off x="8397522" y="5250745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5" name="Oval 177"/>
            <p:cNvSpPr/>
            <p:nvPr/>
          </p:nvSpPr>
          <p:spPr bwMode="auto">
            <a:xfrm>
              <a:off x="8397522" y="5250745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6" name="Oval 178"/>
            <p:cNvSpPr/>
            <p:nvPr/>
          </p:nvSpPr>
          <p:spPr bwMode="auto">
            <a:xfrm>
              <a:off x="8387764" y="5247492"/>
              <a:ext cx="100828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7" name="Freeform 180"/>
            <p:cNvSpPr/>
            <p:nvPr/>
          </p:nvSpPr>
          <p:spPr bwMode="auto">
            <a:xfrm>
              <a:off x="8638209" y="4767744"/>
              <a:ext cx="489507" cy="665144"/>
            </a:xfrm>
            <a:custGeom>
              <a:avLst/>
              <a:gdLst>
                <a:gd name="T0" fmla="*/ 138 w 145"/>
                <a:gd name="T1" fmla="*/ 197 h 197"/>
                <a:gd name="T2" fmla="*/ 7 w 145"/>
                <a:gd name="T3" fmla="*/ 197 h 197"/>
                <a:gd name="T4" fmla="*/ 0 w 145"/>
                <a:gd name="T5" fmla="*/ 190 h 197"/>
                <a:gd name="T6" fmla="*/ 0 w 145"/>
                <a:gd name="T7" fmla="*/ 7 h 197"/>
                <a:gd name="T8" fmla="*/ 7 w 145"/>
                <a:gd name="T9" fmla="*/ 0 h 197"/>
                <a:gd name="T10" fmla="*/ 138 w 145"/>
                <a:gd name="T11" fmla="*/ 0 h 197"/>
                <a:gd name="T12" fmla="*/ 145 w 145"/>
                <a:gd name="T13" fmla="*/ 7 h 197"/>
                <a:gd name="T14" fmla="*/ 145 w 145"/>
                <a:gd name="T15" fmla="*/ 190 h 197"/>
                <a:gd name="T16" fmla="*/ 138 w 145"/>
                <a:gd name="T1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97">
                  <a:moveTo>
                    <a:pt x="138" y="197"/>
                  </a:moveTo>
                  <a:cubicBezTo>
                    <a:pt x="7" y="197"/>
                    <a:pt x="7" y="197"/>
                    <a:pt x="7" y="197"/>
                  </a:cubicBezTo>
                  <a:cubicBezTo>
                    <a:pt x="3" y="197"/>
                    <a:pt x="0" y="194"/>
                    <a:pt x="0" y="19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5" y="3"/>
                    <a:pt x="145" y="7"/>
                  </a:cubicBezTo>
                  <a:cubicBezTo>
                    <a:pt x="145" y="190"/>
                    <a:pt x="145" y="190"/>
                    <a:pt x="145" y="190"/>
                  </a:cubicBezTo>
                  <a:cubicBezTo>
                    <a:pt x="145" y="194"/>
                    <a:pt x="142" y="197"/>
                    <a:pt x="138" y="197"/>
                  </a:cubicBezTo>
                  <a:close/>
                </a:path>
              </a:pathLst>
            </a:custGeom>
            <a:solidFill>
              <a:srgbClr val="F8D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8" name="任意多边形: 形状 349"/>
            <p:cNvSpPr/>
            <p:nvPr/>
          </p:nvSpPr>
          <p:spPr bwMode="auto">
            <a:xfrm>
              <a:off x="8639836" y="4768560"/>
              <a:ext cx="487881" cy="664327"/>
            </a:xfrm>
            <a:custGeom>
              <a:avLst/>
              <a:gdLst>
                <a:gd name="connsiteX0" fmla="*/ 0 w 476250"/>
                <a:gd name="connsiteY0" fmla="*/ 350590 h 648491"/>
                <a:gd name="connsiteX1" fmla="*/ 307148 w 476250"/>
                <a:gd name="connsiteY1" fmla="*/ 648491 h 648491"/>
                <a:gd name="connsiteX2" fmla="*/ 174681 w 476250"/>
                <a:gd name="connsiteY2" fmla="*/ 648491 h 648491"/>
                <a:gd name="connsiteX3" fmla="*/ 0 w 476250"/>
                <a:gd name="connsiteY3" fmla="*/ 480156 h 648491"/>
                <a:gd name="connsiteX4" fmla="*/ 0 w 476250"/>
                <a:gd name="connsiteY4" fmla="*/ 103542 h 648491"/>
                <a:gd name="connsiteX5" fmla="*/ 476250 w 476250"/>
                <a:gd name="connsiteY5" fmla="*/ 565454 h 648491"/>
                <a:gd name="connsiteX6" fmla="*/ 476250 w 476250"/>
                <a:gd name="connsiteY6" fmla="*/ 636613 h 648491"/>
                <a:gd name="connsiteX7" fmla="*/ 465893 w 476250"/>
                <a:gd name="connsiteY7" fmla="*/ 648491 h 648491"/>
                <a:gd name="connsiteX8" fmla="*/ 430232 w 476250"/>
                <a:gd name="connsiteY8" fmla="*/ 648491 h 648491"/>
                <a:gd name="connsiteX9" fmla="*/ 0 w 476250"/>
                <a:gd name="connsiteY9" fmla="*/ 233888 h 648491"/>
                <a:gd name="connsiteX10" fmla="*/ 267616 w 476250"/>
                <a:gd name="connsiteY10" fmla="*/ 0 h 648491"/>
                <a:gd name="connsiteX11" fmla="*/ 402637 w 476250"/>
                <a:gd name="connsiteY11" fmla="*/ 0 h 648491"/>
                <a:gd name="connsiteX12" fmla="*/ 476250 w 476250"/>
                <a:gd name="connsiteY12" fmla="*/ 70934 h 648491"/>
                <a:gd name="connsiteX13" fmla="*/ 476250 w 476250"/>
                <a:gd name="connsiteY13" fmla="*/ 201947 h 648491"/>
                <a:gd name="connsiteX14" fmla="*/ 12850 w 476250"/>
                <a:gd name="connsiteY14" fmla="*/ 0 h 648491"/>
                <a:gd name="connsiteX15" fmla="*/ 148463 w 476250"/>
                <a:gd name="connsiteY15" fmla="*/ 0 h 648491"/>
                <a:gd name="connsiteX16" fmla="*/ 476250 w 476250"/>
                <a:gd name="connsiteY16" fmla="*/ 316558 h 648491"/>
                <a:gd name="connsiteX17" fmla="*/ 476250 w 476250"/>
                <a:gd name="connsiteY17" fmla="*/ 446568 h 64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6250" h="648491">
                  <a:moveTo>
                    <a:pt x="0" y="350590"/>
                  </a:moveTo>
                  <a:lnTo>
                    <a:pt x="307148" y="648491"/>
                  </a:lnTo>
                  <a:lnTo>
                    <a:pt x="174681" y="648491"/>
                  </a:lnTo>
                  <a:lnTo>
                    <a:pt x="0" y="480156"/>
                  </a:lnTo>
                  <a:close/>
                  <a:moveTo>
                    <a:pt x="0" y="103542"/>
                  </a:moveTo>
                  <a:lnTo>
                    <a:pt x="476250" y="565454"/>
                  </a:lnTo>
                  <a:lnTo>
                    <a:pt x="476250" y="636613"/>
                  </a:lnTo>
                  <a:lnTo>
                    <a:pt x="465893" y="648491"/>
                  </a:lnTo>
                  <a:lnTo>
                    <a:pt x="430232" y="648491"/>
                  </a:lnTo>
                  <a:lnTo>
                    <a:pt x="0" y="233888"/>
                  </a:lnTo>
                  <a:close/>
                  <a:moveTo>
                    <a:pt x="267616" y="0"/>
                  </a:moveTo>
                  <a:lnTo>
                    <a:pt x="402637" y="0"/>
                  </a:lnTo>
                  <a:lnTo>
                    <a:pt x="476250" y="70934"/>
                  </a:lnTo>
                  <a:lnTo>
                    <a:pt x="476250" y="201947"/>
                  </a:lnTo>
                  <a:close/>
                  <a:moveTo>
                    <a:pt x="12850" y="0"/>
                  </a:moveTo>
                  <a:lnTo>
                    <a:pt x="148463" y="0"/>
                  </a:lnTo>
                  <a:lnTo>
                    <a:pt x="476250" y="316558"/>
                  </a:lnTo>
                  <a:lnTo>
                    <a:pt x="476250" y="446568"/>
                  </a:ln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409" name="Freeform 185"/>
            <p:cNvSpPr/>
            <p:nvPr/>
          </p:nvSpPr>
          <p:spPr bwMode="auto">
            <a:xfrm>
              <a:off x="8799210" y="4852310"/>
              <a:ext cx="162626" cy="496012"/>
            </a:xfrm>
            <a:custGeom>
              <a:avLst/>
              <a:gdLst>
                <a:gd name="T0" fmla="*/ 24 w 48"/>
                <a:gd name="T1" fmla="*/ 147 h 147"/>
                <a:gd name="T2" fmla="*/ 24 w 48"/>
                <a:gd name="T3" fmla="*/ 147 h 147"/>
                <a:gd name="T4" fmla="*/ 0 w 48"/>
                <a:gd name="T5" fmla="*/ 123 h 147"/>
                <a:gd name="T6" fmla="*/ 0 w 48"/>
                <a:gd name="T7" fmla="*/ 24 h 147"/>
                <a:gd name="T8" fmla="*/ 24 w 48"/>
                <a:gd name="T9" fmla="*/ 0 h 147"/>
                <a:gd name="T10" fmla="*/ 48 w 48"/>
                <a:gd name="T11" fmla="*/ 24 h 147"/>
                <a:gd name="T12" fmla="*/ 48 w 48"/>
                <a:gd name="T13" fmla="*/ 123 h 147"/>
                <a:gd name="T14" fmla="*/ 24 w 48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47">
                  <a:moveTo>
                    <a:pt x="24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1" y="147"/>
                    <a:pt x="0" y="136"/>
                    <a:pt x="0" y="1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123"/>
                    <a:pt x="48" y="123"/>
                    <a:pt x="48" y="123"/>
                  </a:cubicBezTo>
                  <a:cubicBezTo>
                    <a:pt x="48" y="136"/>
                    <a:pt x="38" y="147"/>
                    <a:pt x="24" y="147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0" name="Freeform 186"/>
            <p:cNvSpPr/>
            <p:nvPr/>
          </p:nvSpPr>
          <p:spPr bwMode="auto">
            <a:xfrm>
              <a:off x="8799210" y="4852310"/>
              <a:ext cx="162626" cy="496012"/>
            </a:xfrm>
            <a:custGeom>
              <a:avLst/>
              <a:gdLst>
                <a:gd name="T0" fmla="*/ 24 w 48"/>
                <a:gd name="T1" fmla="*/ 147 h 147"/>
                <a:gd name="T2" fmla="*/ 24 w 48"/>
                <a:gd name="T3" fmla="*/ 147 h 147"/>
                <a:gd name="T4" fmla="*/ 0 w 48"/>
                <a:gd name="T5" fmla="*/ 123 h 147"/>
                <a:gd name="T6" fmla="*/ 0 w 48"/>
                <a:gd name="T7" fmla="*/ 24 h 147"/>
                <a:gd name="T8" fmla="*/ 24 w 48"/>
                <a:gd name="T9" fmla="*/ 0 h 147"/>
                <a:gd name="T10" fmla="*/ 48 w 48"/>
                <a:gd name="T11" fmla="*/ 24 h 147"/>
                <a:gd name="T12" fmla="*/ 48 w 48"/>
                <a:gd name="T13" fmla="*/ 123 h 147"/>
                <a:gd name="T14" fmla="*/ 24 w 48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47">
                  <a:moveTo>
                    <a:pt x="24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1" y="147"/>
                    <a:pt x="0" y="136"/>
                    <a:pt x="0" y="1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123"/>
                    <a:pt x="48" y="123"/>
                    <a:pt x="48" y="123"/>
                  </a:cubicBezTo>
                  <a:cubicBezTo>
                    <a:pt x="48" y="136"/>
                    <a:pt x="38" y="147"/>
                    <a:pt x="24" y="147"/>
                  </a:cubicBezTo>
                  <a:close/>
                </a:path>
              </a:pathLst>
            </a:custGeom>
            <a:solidFill>
              <a:srgbClr val="0024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1" name="Rectangle 187"/>
            <p:cNvSpPr/>
            <p:nvPr/>
          </p:nvSpPr>
          <p:spPr bwMode="auto">
            <a:xfrm>
              <a:off x="8864261" y="4579097"/>
              <a:ext cx="34152" cy="455355"/>
            </a:xfrm>
            <a:prstGeom prst="rect">
              <a:avLst/>
            </a:prstGeom>
            <a:solidFill>
              <a:srgbClr val="9ED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2" name="Freeform 188"/>
            <p:cNvSpPr/>
            <p:nvPr/>
          </p:nvSpPr>
          <p:spPr bwMode="auto">
            <a:xfrm>
              <a:off x="8833362" y="4912481"/>
              <a:ext cx="94323" cy="121971"/>
            </a:xfrm>
            <a:custGeom>
              <a:avLst/>
              <a:gdLst>
                <a:gd name="T0" fmla="*/ 22 w 28"/>
                <a:gd name="T1" fmla="*/ 36 h 36"/>
                <a:gd name="T2" fmla="*/ 6 w 28"/>
                <a:gd name="T3" fmla="*/ 36 h 36"/>
                <a:gd name="T4" fmla="*/ 0 w 28"/>
                <a:gd name="T5" fmla="*/ 30 h 36"/>
                <a:gd name="T6" fmla="*/ 0 w 28"/>
                <a:gd name="T7" fmla="*/ 6 h 36"/>
                <a:gd name="T8" fmla="*/ 6 w 28"/>
                <a:gd name="T9" fmla="*/ 0 h 36"/>
                <a:gd name="T10" fmla="*/ 22 w 28"/>
                <a:gd name="T11" fmla="*/ 0 h 36"/>
                <a:gd name="T12" fmla="*/ 28 w 28"/>
                <a:gd name="T13" fmla="*/ 6 h 36"/>
                <a:gd name="T14" fmla="*/ 28 w 28"/>
                <a:gd name="T15" fmla="*/ 30 h 36"/>
                <a:gd name="T16" fmla="*/ 22 w 28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22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2"/>
                    <a:pt x="28" y="6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3"/>
                    <a:pt x="26" y="36"/>
                    <a:pt x="22" y="36"/>
                  </a:cubicBezTo>
                  <a:close/>
                </a:path>
              </a:pathLst>
            </a:custGeom>
            <a:solidFill>
              <a:srgbClr val="9ED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3" name="Oval 189"/>
            <p:cNvSpPr/>
            <p:nvPr/>
          </p:nvSpPr>
          <p:spPr bwMode="auto">
            <a:xfrm>
              <a:off x="8804089" y="4479894"/>
              <a:ext cx="157749" cy="159374"/>
            </a:xfrm>
            <a:prstGeom prst="ellipse">
              <a:avLst/>
            </a:prstGeom>
            <a:solidFill>
              <a:srgbClr val="64A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4" name="Rectangle 190"/>
            <p:cNvSpPr/>
            <p:nvPr/>
          </p:nvSpPr>
          <p:spPr bwMode="auto">
            <a:xfrm>
              <a:off x="7303044" y="4774248"/>
              <a:ext cx="905831" cy="1756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5" name="Rectangle 191"/>
            <p:cNvSpPr/>
            <p:nvPr/>
          </p:nvSpPr>
          <p:spPr bwMode="auto">
            <a:xfrm>
              <a:off x="7303044" y="5040957"/>
              <a:ext cx="905831" cy="17238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6" name="Rectangle 192"/>
            <p:cNvSpPr/>
            <p:nvPr/>
          </p:nvSpPr>
          <p:spPr bwMode="auto">
            <a:xfrm>
              <a:off x="7303044" y="5304413"/>
              <a:ext cx="905831" cy="1756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7" name="Freeform 194"/>
            <p:cNvSpPr/>
            <p:nvPr/>
          </p:nvSpPr>
          <p:spPr bwMode="auto">
            <a:xfrm>
              <a:off x="8391016" y="2949576"/>
              <a:ext cx="273213" cy="278092"/>
            </a:xfrm>
            <a:custGeom>
              <a:avLst/>
              <a:gdLst>
                <a:gd name="T0" fmla="*/ 40 w 81"/>
                <a:gd name="T1" fmla="*/ 0 h 82"/>
                <a:gd name="T2" fmla="*/ 0 w 81"/>
                <a:gd name="T3" fmla="*/ 41 h 82"/>
                <a:gd name="T4" fmla="*/ 40 w 81"/>
                <a:gd name="T5" fmla="*/ 82 h 82"/>
                <a:gd name="T6" fmla="*/ 81 w 81"/>
                <a:gd name="T7" fmla="*/ 41 h 82"/>
                <a:gd name="T8" fmla="*/ 40 w 81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40" y="0"/>
                  </a:moveTo>
                  <a:cubicBezTo>
                    <a:pt x="40" y="23"/>
                    <a:pt x="22" y="41"/>
                    <a:pt x="0" y="41"/>
                  </a:cubicBezTo>
                  <a:cubicBezTo>
                    <a:pt x="22" y="41"/>
                    <a:pt x="40" y="60"/>
                    <a:pt x="40" y="82"/>
                  </a:cubicBezTo>
                  <a:cubicBezTo>
                    <a:pt x="40" y="60"/>
                    <a:pt x="59" y="41"/>
                    <a:pt x="81" y="41"/>
                  </a:cubicBezTo>
                  <a:cubicBezTo>
                    <a:pt x="59" y="41"/>
                    <a:pt x="40" y="23"/>
                    <a:pt x="40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8" name="Freeform 195"/>
            <p:cNvSpPr/>
            <p:nvPr/>
          </p:nvSpPr>
          <p:spPr bwMode="auto">
            <a:xfrm>
              <a:off x="8299945" y="2964212"/>
              <a:ext cx="118718" cy="113839"/>
            </a:xfrm>
            <a:custGeom>
              <a:avLst/>
              <a:gdLst>
                <a:gd name="T0" fmla="*/ 18 w 35"/>
                <a:gd name="T1" fmla="*/ 0 h 34"/>
                <a:gd name="T2" fmla="*/ 0 w 35"/>
                <a:gd name="T3" fmla="*/ 17 h 34"/>
                <a:gd name="T4" fmla="*/ 18 w 35"/>
                <a:gd name="T5" fmla="*/ 34 h 34"/>
                <a:gd name="T6" fmla="*/ 35 w 35"/>
                <a:gd name="T7" fmla="*/ 17 h 34"/>
                <a:gd name="T8" fmla="*/ 18 w 3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18" y="0"/>
                  </a:moveTo>
                  <a:cubicBezTo>
                    <a:pt x="18" y="10"/>
                    <a:pt x="10" y="17"/>
                    <a:pt x="0" y="17"/>
                  </a:cubicBezTo>
                  <a:cubicBezTo>
                    <a:pt x="10" y="17"/>
                    <a:pt x="18" y="25"/>
                    <a:pt x="18" y="34"/>
                  </a:cubicBezTo>
                  <a:cubicBezTo>
                    <a:pt x="18" y="25"/>
                    <a:pt x="25" y="17"/>
                    <a:pt x="35" y="17"/>
                  </a:cubicBezTo>
                  <a:cubicBezTo>
                    <a:pt x="25" y="17"/>
                    <a:pt x="18" y="10"/>
                    <a:pt x="18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9" name="Freeform 196"/>
            <p:cNvSpPr/>
            <p:nvPr/>
          </p:nvSpPr>
          <p:spPr bwMode="auto">
            <a:xfrm>
              <a:off x="7691721" y="3504133"/>
              <a:ext cx="113839" cy="118718"/>
            </a:xfrm>
            <a:custGeom>
              <a:avLst/>
              <a:gdLst>
                <a:gd name="T0" fmla="*/ 17 w 34"/>
                <a:gd name="T1" fmla="*/ 0 h 35"/>
                <a:gd name="T2" fmla="*/ 0 w 34"/>
                <a:gd name="T3" fmla="*/ 17 h 35"/>
                <a:gd name="T4" fmla="*/ 17 w 34"/>
                <a:gd name="T5" fmla="*/ 35 h 35"/>
                <a:gd name="T6" fmla="*/ 34 w 34"/>
                <a:gd name="T7" fmla="*/ 17 h 35"/>
                <a:gd name="T8" fmla="*/ 17 w 34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7" y="0"/>
                  </a:moveTo>
                  <a:cubicBezTo>
                    <a:pt x="17" y="10"/>
                    <a:pt x="9" y="17"/>
                    <a:pt x="0" y="17"/>
                  </a:cubicBezTo>
                  <a:cubicBezTo>
                    <a:pt x="9" y="17"/>
                    <a:pt x="17" y="25"/>
                    <a:pt x="17" y="35"/>
                  </a:cubicBezTo>
                  <a:cubicBezTo>
                    <a:pt x="17" y="25"/>
                    <a:pt x="25" y="17"/>
                    <a:pt x="34" y="17"/>
                  </a:cubicBezTo>
                  <a:cubicBezTo>
                    <a:pt x="25" y="17"/>
                    <a:pt x="17" y="10"/>
                    <a:pt x="17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0" name="Freeform 197"/>
            <p:cNvSpPr/>
            <p:nvPr/>
          </p:nvSpPr>
          <p:spPr bwMode="auto">
            <a:xfrm>
              <a:off x="7416883" y="5413371"/>
              <a:ext cx="240687" cy="361032"/>
            </a:xfrm>
            <a:custGeom>
              <a:avLst/>
              <a:gdLst>
                <a:gd name="T0" fmla="*/ 70 w 71"/>
                <a:gd name="T1" fmla="*/ 102 h 107"/>
                <a:gd name="T2" fmla="*/ 40 w 71"/>
                <a:gd name="T3" fmla="*/ 69 h 107"/>
                <a:gd name="T4" fmla="*/ 7 w 71"/>
                <a:gd name="T5" fmla="*/ 39 h 107"/>
                <a:gd name="T6" fmla="*/ 2 w 71"/>
                <a:gd name="T7" fmla="*/ 10 h 107"/>
                <a:gd name="T8" fmla="*/ 3 w 71"/>
                <a:gd name="T9" fmla="*/ 7 h 107"/>
                <a:gd name="T10" fmla="*/ 6 w 71"/>
                <a:gd name="T11" fmla="*/ 5 h 107"/>
                <a:gd name="T12" fmla="*/ 37 w 71"/>
                <a:gd name="T13" fmla="*/ 11 h 107"/>
                <a:gd name="T14" fmla="*/ 55 w 71"/>
                <a:gd name="T15" fmla="*/ 40 h 107"/>
                <a:gd name="T16" fmla="*/ 71 w 71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107">
                  <a:moveTo>
                    <a:pt x="70" y="102"/>
                  </a:moveTo>
                  <a:cubicBezTo>
                    <a:pt x="65" y="88"/>
                    <a:pt x="52" y="78"/>
                    <a:pt x="40" y="69"/>
                  </a:cubicBezTo>
                  <a:cubicBezTo>
                    <a:pt x="27" y="61"/>
                    <a:pt x="14" y="52"/>
                    <a:pt x="7" y="39"/>
                  </a:cubicBezTo>
                  <a:cubicBezTo>
                    <a:pt x="2" y="30"/>
                    <a:pt x="0" y="20"/>
                    <a:pt x="2" y="10"/>
                  </a:cubicBezTo>
                  <a:cubicBezTo>
                    <a:pt x="2" y="9"/>
                    <a:pt x="2" y="8"/>
                    <a:pt x="3" y="7"/>
                  </a:cubicBezTo>
                  <a:cubicBezTo>
                    <a:pt x="4" y="6"/>
                    <a:pt x="5" y="5"/>
                    <a:pt x="6" y="5"/>
                  </a:cubicBezTo>
                  <a:cubicBezTo>
                    <a:pt x="16" y="0"/>
                    <a:pt x="29" y="4"/>
                    <a:pt x="37" y="11"/>
                  </a:cubicBezTo>
                  <a:cubicBezTo>
                    <a:pt x="46" y="19"/>
                    <a:pt x="51" y="29"/>
                    <a:pt x="55" y="40"/>
                  </a:cubicBezTo>
                  <a:cubicBezTo>
                    <a:pt x="64" y="61"/>
                    <a:pt x="70" y="84"/>
                    <a:pt x="71" y="107"/>
                  </a:cubicBezTo>
                </a:path>
              </a:pathLst>
            </a:custGeom>
            <a:solidFill>
              <a:srgbClr val="F5C82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1" name="Freeform 198"/>
            <p:cNvSpPr/>
            <p:nvPr/>
          </p:nvSpPr>
          <p:spPr bwMode="auto">
            <a:xfrm>
              <a:off x="7738884" y="5361331"/>
              <a:ext cx="287850" cy="473245"/>
            </a:xfrm>
            <a:custGeom>
              <a:avLst/>
              <a:gdLst>
                <a:gd name="T0" fmla="*/ 0 w 85"/>
                <a:gd name="T1" fmla="*/ 135 h 140"/>
                <a:gd name="T2" fmla="*/ 30 w 85"/>
                <a:gd name="T3" fmla="*/ 34 h 140"/>
                <a:gd name="T4" fmla="*/ 66 w 85"/>
                <a:gd name="T5" fmla="*/ 0 h 140"/>
                <a:gd name="T6" fmla="*/ 78 w 85"/>
                <a:gd name="T7" fmla="*/ 2 h 140"/>
                <a:gd name="T8" fmla="*/ 84 w 85"/>
                <a:gd name="T9" fmla="*/ 17 h 140"/>
                <a:gd name="T10" fmla="*/ 79 w 85"/>
                <a:gd name="T11" fmla="*/ 33 h 140"/>
                <a:gd name="T12" fmla="*/ 43 w 85"/>
                <a:gd name="T13" fmla="*/ 79 h 140"/>
                <a:gd name="T14" fmla="*/ 19 w 85"/>
                <a:gd name="T15" fmla="*/ 100 h 140"/>
                <a:gd name="T16" fmla="*/ 0 w 8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40">
                  <a:moveTo>
                    <a:pt x="0" y="135"/>
                  </a:moveTo>
                  <a:cubicBezTo>
                    <a:pt x="3" y="100"/>
                    <a:pt x="13" y="65"/>
                    <a:pt x="30" y="34"/>
                  </a:cubicBezTo>
                  <a:cubicBezTo>
                    <a:pt x="37" y="19"/>
                    <a:pt x="49" y="3"/>
                    <a:pt x="66" y="0"/>
                  </a:cubicBezTo>
                  <a:cubicBezTo>
                    <a:pt x="70" y="0"/>
                    <a:pt x="74" y="0"/>
                    <a:pt x="78" y="2"/>
                  </a:cubicBezTo>
                  <a:cubicBezTo>
                    <a:pt x="82" y="5"/>
                    <a:pt x="85" y="11"/>
                    <a:pt x="84" y="17"/>
                  </a:cubicBezTo>
                  <a:cubicBezTo>
                    <a:pt x="84" y="22"/>
                    <a:pt x="82" y="28"/>
                    <a:pt x="79" y="33"/>
                  </a:cubicBezTo>
                  <a:cubicBezTo>
                    <a:pt x="70" y="50"/>
                    <a:pt x="58" y="65"/>
                    <a:pt x="43" y="79"/>
                  </a:cubicBezTo>
                  <a:cubicBezTo>
                    <a:pt x="35" y="86"/>
                    <a:pt x="27" y="92"/>
                    <a:pt x="19" y="100"/>
                  </a:cubicBezTo>
                  <a:cubicBezTo>
                    <a:pt x="9" y="111"/>
                    <a:pt x="3" y="125"/>
                    <a:pt x="0" y="140"/>
                  </a:cubicBezTo>
                </a:path>
              </a:pathLst>
            </a:custGeom>
            <a:solidFill>
              <a:srgbClr val="F5C82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2" name="Freeform 200"/>
            <p:cNvSpPr/>
            <p:nvPr/>
          </p:nvSpPr>
          <p:spPr bwMode="auto">
            <a:xfrm>
              <a:off x="7607155" y="4905975"/>
              <a:ext cx="235809" cy="962751"/>
            </a:xfrm>
            <a:custGeom>
              <a:avLst/>
              <a:gdLst>
                <a:gd name="T0" fmla="*/ 33 w 70"/>
                <a:gd name="T1" fmla="*/ 1 h 285"/>
                <a:gd name="T2" fmla="*/ 9 w 70"/>
                <a:gd name="T3" fmla="*/ 31 h 285"/>
                <a:gd name="T4" fmla="*/ 1 w 70"/>
                <a:gd name="T5" fmla="*/ 103 h 285"/>
                <a:gd name="T6" fmla="*/ 23 w 70"/>
                <a:gd name="T7" fmla="*/ 268 h 285"/>
                <a:gd name="T8" fmla="*/ 26 w 70"/>
                <a:gd name="T9" fmla="*/ 271 h 285"/>
                <a:gd name="T10" fmla="*/ 26 w 70"/>
                <a:gd name="T11" fmla="*/ 281 h 285"/>
                <a:gd name="T12" fmla="*/ 31 w 70"/>
                <a:gd name="T13" fmla="*/ 282 h 285"/>
                <a:gd name="T14" fmla="*/ 55 w 70"/>
                <a:gd name="T15" fmla="*/ 112 h 285"/>
                <a:gd name="T16" fmla="*/ 33 w 70"/>
                <a:gd name="T17" fmla="*/ 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85">
                  <a:moveTo>
                    <a:pt x="33" y="1"/>
                  </a:moveTo>
                  <a:cubicBezTo>
                    <a:pt x="19" y="0"/>
                    <a:pt x="13" y="20"/>
                    <a:pt x="9" y="31"/>
                  </a:cubicBezTo>
                  <a:cubicBezTo>
                    <a:pt x="1" y="54"/>
                    <a:pt x="0" y="79"/>
                    <a:pt x="1" y="103"/>
                  </a:cubicBezTo>
                  <a:cubicBezTo>
                    <a:pt x="3" y="159"/>
                    <a:pt x="10" y="214"/>
                    <a:pt x="23" y="268"/>
                  </a:cubicBezTo>
                  <a:cubicBezTo>
                    <a:pt x="23" y="270"/>
                    <a:pt x="24" y="271"/>
                    <a:pt x="26" y="271"/>
                  </a:cubicBezTo>
                  <a:cubicBezTo>
                    <a:pt x="26" y="274"/>
                    <a:pt x="26" y="278"/>
                    <a:pt x="26" y="281"/>
                  </a:cubicBezTo>
                  <a:cubicBezTo>
                    <a:pt x="26" y="284"/>
                    <a:pt x="30" y="285"/>
                    <a:pt x="31" y="282"/>
                  </a:cubicBezTo>
                  <a:cubicBezTo>
                    <a:pt x="44" y="227"/>
                    <a:pt x="51" y="168"/>
                    <a:pt x="55" y="112"/>
                  </a:cubicBezTo>
                  <a:cubicBezTo>
                    <a:pt x="57" y="93"/>
                    <a:pt x="70" y="2"/>
                    <a:pt x="33" y="1"/>
                  </a:cubicBezTo>
                  <a:close/>
                </a:path>
              </a:pathLst>
            </a:custGeom>
            <a:solidFill>
              <a:srgbClr val="F8D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3" name="Freeform 201"/>
            <p:cNvSpPr/>
            <p:nvPr/>
          </p:nvSpPr>
          <p:spPr bwMode="auto">
            <a:xfrm>
              <a:off x="7606343" y="4905975"/>
              <a:ext cx="237436" cy="962751"/>
            </a:xfrm>
            <a:custGeom>
              <a:avLst/>
              <a:gdLst>
                <a:gd name="T0" fmla="*/ 33 w 70"/>
                <a:gd name="T1" fmla="*/ 1 h 285"/>
                <a:gd name="T2" fmla="*/ 9 w 70"/>
                <a:gd name="T3" fmla="*/ 31 h 285"/>
                <a:gd name="T4" fmla="*/ 1 w 70"/>
                <a:gd name="T5" fmla="*/ 103 h 285"/>
                <a:gd name="T6" fmla="*/ 23 w 70"/>
                <a:gd name="T7" fmla="*/ 268 h 285"/>
                <a:gd name="T8" fmla="*/ 25 w 70"/>
                <a:gd name="T9" fmla="*/ 271 h 285"/>
                <a:gd name="T10" fmla="*/ 26 w 70"/>
                <a:gd name="T11" fmla="*/ 281 h 285"/>
                <a:gd name="T12" fmla="*/ 31 w 70"/>
                <a:gd name="T13" fmla="*/ 282 h 285"/>
                <a:gd name="T14" fmla="*/ 55 w 70"/>
                <a:gd name="T15" fmla="*/ 112 h 285"/>
                <a:gd name="T16" fmla="*/ 33 w 70"/>
                <a:gd name="T17" fmla="*/ 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85">
                  <a:moveTo>
                    <a:pt x="33" y="1"/>
                  </a:moveTo>
                  <a:cubicBezTo>
                    <a:pt x="19" y="0"/>
                    <a:pt x="12" y="20"/>
                    <a:pt x="9" y="31"/>
                  </a:cubicBezTo>
                  <a:cubicBezTo>
                    <a:pt x="1" y="54"/>
                    <a:pt x="0" y="79"/>
                    <a:pt x="1" y="103"/>
                  </a:cubicBezTo>
                  <a:cubicBezTo>
                    <a:pt x="3" y="159"/>
                    <a:pt x="10" y="214"/>
                    <a:pt x="23" y="268"/>
                  </a:cubicBezTo>
                  <a:cubicBezTo>
                    <a:pt x="23" y="270"/>
                    <a:pt x="24" y="271"/>
                    <a:pt x="25" y="271"/>
                  </a:cubicBezTo>
                  <a:cubicBezTo>
                    <a:pt x="26" y="274"/>
                    <a:pt x="26" y="278"/>
                    <a:pt x="26" y="281"/>
                  </a:cubicBezTo>
                  <a:cubicBezTo>
                    <a:pt x="26" y="284"/>
                    <a:pt x="30" y="285"/>
                    <a:pt x="31" y="282"/>
                  </a:cubicBezTo>
                  <a:cubicBezTo>
                    <a:pt x="44" y="227"/>
                    <a:pt x="51" y="168"/>
                    <a:pt x="55" y="112"/>
                  </a:cubicBezTo>
                  <a:cubicBezTo>
                    <a:pt x="57" y="93"/>
                    <a:pt x="70" y="2"/>
                    <a:pt x="33" y="1"/>
                  </a:cubicBezTo>
                  <a:close/>
                </a:path>
              </a:pathLst>
            </a:custGeom>
            <a:gradFill>
              <a:gsLst>
                <a:gs pos="0">
                  <a:srgbClr val="D47301"/>
                </a:gs>
                <a:gs pos="100000">
                  <a:srgbClr val="F2B014"/>
                </a:gs>
              </a:gsLst>
              <a:lin ang="162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4" name="Freeform 202"/>
            <p:cNvSpPr/>
            <p:nvPr/>
          </p:nvSpPr>
          <p:spPr bwMode="auto">
            <a:xfrm>
              <a:off x="7475429" y="5467039"/>
              <a:ext cx="198404" cy="320375"/>
            </a:xfrm>
            <a:custGeom>
              <a:avLst/>
              <a:gdLst>
                <a:gd name="T0" fmla="*/ 59 w 59"/>
                <a:gd name="T1" fmla="*/ 92 h 95"/>
                <a:gd name="T2" fmla="*/ 3 w 59"/>
                <a:gd name="T3" fmla="*/ 1 h 95"/>
                <a:gd name="T4" fmla="*/ 1 w 59"/>
                <a:gd name="T5" fmla="*/ 4 h 95"/>
                <a:gd name="T6" fmla="*/ 56 w 59"/>
                <a:gd name="T7" fmla="*/ 93 h 95"/>
                <a:gd name="T8" fmla="*/ 59 w 59"/>
                <a:gd name="T9" fmla="*/ 9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95">
                  <a:moveTo>
                    <a:pt x="59" y="92"/>
                  </a:moveTo>
                  <a:cubicBezTo>
                    <a:pt x="53" y="56"/>
                    <a:pt x="34" y="22"/>
                    <a:pt x="3" y="1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30" y="27"/>
                    <a:pt x="49" y="56"/>
                    <a:pt x="56" y="93"/>
                  </a:cubicBezTo>
                  <a:cubicBezTo>
                    <a:pt x="57" y="95"/>
                    <a:pt x="59" y="94"/>
                    <a:pt x="59" y="92"/>
                  </a:cubicBez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5" name="Freeform 203"/>
            <p:cNvSpPr/>
            <p:nvPr/>
          </p:nvSpPr>
          <p:spPr bwMode="auto">
            <a:xfrm>
              <a:off x="7717741" y="5432886"/>
              <a:ext cx="237436" cy="395183"/>
            </a:xfrm>
            <a:custGeom>
              <a:avLst/>
              <a:gdLst>
                <a:gd name="T0" fmla="*/ 4 w 70"/>
                <a:gd name="T1" fmla="*/ 114 h 117"/>
                <a:gd name="T2" fmla="*/ 69 w 70"/>
                <a:gd name="T3" fmla="*/ 3 h 117"/>
                <a:gd name="T4" fmla="*/ 67 w 70"/>
                <a:gd name="T5" fmla="*/ 1 h 117"/>
                <a:gd name="T6" fmla="*/ 1 w 70"/>
                <a:gd name="T7" fmla="*/ 113 h 117"/>
                <a:gd name="T8" fmla="*/ 4 w 70"/>
                <a:gd name="T9" fmla="*/ 11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17">
                  <a:moveTo>
                    <a:pt x="4" y="114"/>
                  </a:moveTo>
                  <a:cubicBezTo>
                    <a:pt x="19" y="73"/>
                    <a:pt x="43" y="38"/>
                    <a:pt x="69" y="3"/>
                  </a:cubicBezTo>
                  <a:cubicBezTo>
                    <a:pt x="70" y="2"/>
                    <a:pt x="68" y="0"/>
                    <a:pt x="67" y="1"/>
                  </a:cubicBezTo>
                  <a:cubicBezTo>
                    <a:pt x="37" y="34"/>
                    <a:pt x="18" y="73"/>
                    <a:pt x="1" y="113"/>
                  </a:cubicBezTo>
                  <a:cubicBezTo>
                    <a:pt x="0" y="116"/>
                    <a:pt x="3" y="117"/>
                    <a:pt x="4" y="114"/>
                  </a:cubicBez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6" name="Freeform 204"/>
            <p:cNvSpPr/>
            <p:nvPr/>
          </p:nvSpPr>
          <p:spPr bwMode="auto">
            <a:xfrm>
              <a:off x="7685217" y="5024694"/>
              <a:ext cx="37405" cy="796872"/>
            </a:xfrm>
            <a:custGeom>
              <a:avLst/>
              <a:gdLst>
                <a:gd name="T0" fmla="*/ 9 w 11"/>
                <a:gd name="T1" fmla="*/ 233 h 236"/>
                <a:gd name="T2" fmla="*/ 8 w 11"/>
                <a:gd name="T3" fmla="*/ 118 h 236"/>
                <a:gd name="T4" fmla="*/ 9 w 11"/>
                <a:gd name="T5" fmla="*/ 3 h 236"/>
                <a:gd name="T6" fmla="*/ 5 w 11"/>
                <a:gd name="T7" fmla="*/ 2 h 236"/>
                <a:gd name="T8" fmla="*/ 3 w 11"/>
                <a:gd name="T9" fmla="*/ 114 h 236"/>
                <a:gd name="T10" fmla="*/ 5 w 11"/>
                <a:gd name="T11" fmla="*/ 233 h 236"/>
                <a:gd name="T12" fmla="*/ 9 w 11"/>
                <a:gd name="T13" fmla="*/ 23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6">
                  <a:moveTo>
                    <a:pt x="9" y="233"/>
                  </a:moveTo>
                  <a:cubicBezTo>
                    <a:pt x="10" y="195"/>
                    <a:pt x="9" y="156"/>
                    <a:pt x="8" y="118"/>
                  </a:cubicBezTo>
                  <a:cubicBezTo>
                    <a:pt x="8" y="80"/>
                    <a:pt x="11" y="41"/>
                    <a:pt x="9" y="3"/>
                  </a:cubicBezTo>
                  <a:cubicBezTo>
                    <a:pt x="8" y="1"/>
                    <a:pt x="6" y="0"/>
                    <a:pt x="5" y="2"/>
                  </a:cubicBezTo>
                  <a:cubicBezTo>
                    <a:pt x="0" y="39"/>
                    <a:pt x="3" y="77"/>
                    <a:pt x="3" y="114"/>
                  </a:cubicBezTo>
                  <a:cubicBezTo>
                    <a:pt x="4" y="154"/>
                    <a:pt x="4" y="193"/>
                    <a:pt x="5" y="233"/>
                  </a:cubicBezTo>
                  <a:cubicBezTo>
                    <a:pt x="5" y="236"/>
                    <a:pt x="9" y="236"/>
                    <a:pt x="9" y="233"/>
                  </a:cubicBezTo>
                  <a:close/>
                </a:path>
              </a:pathLst>
            </a:custGeom>
            <a:solidFill>
              <a:srgbClr val="F7CB3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7" name="Freeform 206"/>
            <p:cNvSpPr/>
            <p:nvPr/>
          </p:nvSpPr>
          <p:spPr bwMode="auto">
            <a:xfrm>
              <a:off x="7566499" y="5780907"/>
              <a:ext cx="313869" cy="256951"/>
            </a:xfrm>
            <a:custGeom>
              <a:avLst/>
              <a:gdLst>
                <a:gd name="T0" fmla="*/ 185 w 193"/>
                <a:gd name="T1" fmla="*/ 158 h 158"/>
                <a:gd name="T2" fmla="*/ 8 w 193"/>
                <a:gd name="T3" fmla="*/ 158 h 158"/>
                <a:gd name="T4" fmla="*/ 0 w 193"/>
                <a:gd name="T5" fmla="*/ 0 h 158"/>
                <a:gd name="T6" fmla="*/ 193 w 193"/>
                <a:gd name="T7" fmla="*/ 0 h 158"/>
                <a:gd name="T8" fmla="*/ 185 w 193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58">
                  <a:moveTo>
                    <a:pt x="185" y="158"/>
                  </a:moveTo>
                  <a:lnTo>
                    <a:pt x="8" y="158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85" y="158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8" name="Freeform 207"/>
            <p:cNvSpPr/>
            <p:nvPr/>
          </p:nvSpPr>
          <p:spPr bwMode="auto">
            <a:xfrm>
              <a:off x="7566499" y="5780907"/>
              <a:ext cx="313869" cy="256951"/>
            </a:xfrm>
            <a:custGeom>
              <a:avLst/>
              <a:gdLst>
                <a:gd name="T0" fmla="*/ 185 w 193"/>
                <a:gd name="T1" fmla="*/ 158 h 158"/>
                <a:gd name="T2" fmla="*/ 8 w 193"/>
                <a:gd name="T3" fmla="*/ 158 h 158"/>
                <a:gd name="T4" fmla="*/ 0 w 193"/>
                <a:gd name="T5" fmla="*/ 0 h 158"/>
                <a:gd name="T6" fmla="*/ 193 w 193"/>
                <a:gd name="T7" fmla="*/ 0 h 158"/>
                <a:gd name="T8" fmla="*/ 185 w 193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58">
                  <a:moveTo>
                    <a:pt x="185" y="158"/>
                  </a:moveTo>
                  <a:lnTo>
                    <a:pt x="8" y="158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85" y="158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9" name="Rectangle 208"/>
            <p:cNvSpPr/>
            <p:nvPr/>
          </p:nvSpPr>
          <p:spPr bwMode="auto">
            <a:xfrm>
              <a:off x="7538853" y="5743504"/>
              <a:ext cx="369163" cy="87819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0" name="Rectangle 209"/>
            <p:cNvSpPr/>
            <p:nvPr/>
          </p:nvSpPr>
          <p:spPr bwMode="auto">
            <a:xfrm>
              <a:off x="7538853" y="5743504"/>
              <a:ext cx="369163" cy="87819"/>
            </a:xfrm>
            <a:prstGeom prst="rect">
              <a:avLst/>
            </a:prstGeom>
            <a:solidFill>
              <a:srgbClr val="0024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1" name="Oval 167"/>
            <p:cNvSpPr/>
            <p:nvPr/>
          </p:nvSpPr>
          <p:spPr bwMode="auto">
            <a:xfrm>
              <a:off x="7543731" y="4287994"/>
              <a:ext cx="209789" cy="209789"/>
            </a:xfrm>
            <a:prstGeom prst="ellipse">
              <a:avLst/>
            </a:prstGeom>
            <a:solidFill>
              <a:srgbClr val="E57F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2" name="Oval 179"/>
            <p:cNvSpPr/>
            <p:nvPr/>
          </p:nvSpPr>
          <p:spPr bwMode="auto">
            <a:xfrm>
              <a:off x="7522590" y="4281489"/>
              <a:ext cx="213041" cy="213041"/>
            </a:xfrm>
            <a:prstGeom prst="ellipse">
              <a:avLst/>
            </a:prstGeom>
            <a:solidFill>
              <a:srgbClr val="F8D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433" name="等腰三角形 432"/>
          <p:cNvSpPr/>
          <p:nvPr userDrawn="1"/>
        </p:nvSpPr>
        <p:spPr>
          <a:xfrm flipV="1">
            <a:off x="9795249" y="3329878"/>
            <a:ext cx="1268317" cy="861864"/>
          </a:xfrm>
          <a:prstGeom prst="triangl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395" b="1" i="0">
                <a:solidFill>
                  <a:schemeClr val="tx1"/>
                </a:solidFill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/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8" Type="http://schemas.openxmlformats.org/officeDocument/2006/relationships/tags" Target="../tags/tag46.xml"/><Relationship Id="rId7" Type="http://schemas.openxmlformats.org/officeDocument/2006/relationships/tags" Target="../tags/tag45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6" Type="http://schemas.openxmlformats.org/officeDocument/2006/relationships/notesSlide" Target="../notesSlides/notesSlide10.xml"/><Relationship Id="rId45" Type="http://schemas.openxmlformats.org/officeDocument/2006/relationships/slideLayout" Target="../slideLayouts/slideLayout3.xml"/><Relationship Id="rId44" Type="http://schemas.openxmlformats.org/officeDocument/2006/relationships/tags" Target="../tags/tag82.xml"/><Relationship Id="rId43" Type="http://schemas.openxmlformats.org/officeDocument/2006/relationships/tags" Target="../tags/tag81.xml"/><Relationship Id="rId42" Type="http://schemas.openxmlformats.org/officeDocument/2006/relationships/tags" Target="../tags/tag80.xml"/><Relationship Id="rId41" Type="http://schemas.openxmlformats.org/officeDocument/2006/relationships/tags" Target="../tags/tag79.xml"/><Relationship Id="rId40" Type="http://schemas.openxmlformats.org/officeDocument/2006/relationships/tags" Target="../tags/tag78.xml"/><Relationship Id="rId4" Type="http://schemas.openxmlformats.org/officeDocument/2006/relationships/tags" Target="../tags/tag42.xml"/><Relationship Id="rId39" Type="http://schemas.openxmlformats.org/officeDocument/2006/relationships/tags" Target="../tags/tag77.xml"/><Relationship Id="rId38" Type="http://schemas.openxmlformats.org/officeDocument/2006/relationships/tags" Target="../tags/tag76.xml"/><Relationship Id="rId37" Type="http://schemas.openxmlformats.org/officeDocument/2006/relationships/tags" Target="../tags/tag75.xml"/><Relationship Id="rId36" Type="http://schemas.openxmlformats.org/officeDocument/2006/relationships/tags" Target="../tags/tag74.xml"/><Relationship Id="rId35" Type="http://schemas.openxmlformats.org/officeDocument/2006/relationships/tags" Target="../tags/tag73.xml"/><Relationship Id="rId34" Type="http://schemas.openxmlformats.org/officeDocument/2006/relationships/tags" Target="../tags/tag72.xml"/><Relationship Id="rId33" Type="http://schemas.openxmlformats.org/officeDocument/2006/relationships/tags" Target="../tags/tag71.xml"/><Relationship Id="rId32" Type="http://schemas.openxmlformats.org/officeDocument/2006/relationships/tags" Target="../tags/tag70.xml"/><Relationship Id="rId31" Type="http://schemas.openxmlformats.org/officeDocument/2006/relationships/tags" Target="../tags/tag69.xml"/><Relationship Id="rId30" Type="http://schemas.openxmlformats.org/officeDocument/2006/relationships/tags" Target="../tags/tag68.xml"/><Relationship Id="rId3" Type="http://schemas.openxmlformats.org/officeDocument/2006/relationships/tags" Target="../tags/tag41.xml"/><Relationship Id="rId29" Type="http://schemas.openxmlformats.org/officeDocument/2006/relationships/tags" Target="../tags/tag67.xml"/><Relationship Id="rId28" Type="http://schemas.openxmlformats.org/officeDocument/2006/relationships/tags" Target="../tags/tag66.xml"/><Relationship Id="rId27" Type="http://schemas.openxmlformats.org/officeDocument/2006/relationships/tags" Target="../tags/tag65.xml"/><Relationship Id="rId26" Type="http://schemas.openxmlformats.org/officeDocument/2006/relationships/tags" Target="../tags/tag64.xml"/><Relationship Id="rId25" Type="http://schemas.openxmlformats.org/officeDocument/2006/relationships/tags" Target="../tags/tag63.xml"/><Relationship Id="rId24" Type="http://schemas.openxmlformats.org/officeDocument/2006/relationships/tags" Target="../tags/tag62.xml"/><Relationship Id="rId23" Type="http://schemas.openxmlformats.org/officeDocument/2006/relationships/tags" Target="../tags/tag61.xml"/><Relationship Id="rId22" Type="http://schemas.openxmlformats.org/officeDocument/2006/relationships/tags" Target="../tags/tag60.xml"/><Relationship Id="rId21" Type="http://schemas.openxmlformats.org/officeDocument/2006/relationships/tags" Target="../tags/tag59.xml"/><Relationship Id="rId20" Type="http://schemas.openxmlformats.org/officeDocument/2006/relationships/tags" Target="../tags/tag58.xml"/><Relationship Id="rId2" Type="http://schemas.openxmlformats.org/officeDocument/2006/relationships/image" Target="../media/image24.png"/><Relationship Id="rId19" Type="http://schemas.openxmlformats.org/officeDocument/2006/relationships/tags" Target="../tags/tag57.xml"/><Relationship Id="rId18" Type="http://schemas.openxmlformats.org/officeDocument/2006/relationships/tags" Target="../tags/tag56.xml"/><Relationship Id="rId17" Type="http://schemas.openxmlformats.org/officeDocument/2006/relationships/tags" Target="../tags/tag55.xml"/><Relationship Id="rId16" Type="http://schemas.openxmlformats.org/officeDocument/2006/relationships/tags" Target="../tags/tag54.xml"/><Relationship Id="rId15" Type="http://schemas.openxmlformats.org/officeDocument/2006/relationships/tags" Target="../tags/tag53.xml"/><Relationship Id="rId14" Type="http://schemas.openxmlformats.org/officeDocument/2006/relationships/tags" Target="../tags/tag52.xml"/><Relationship Id="rId13" Type="http://schemas.openxmlformats.org/officeDocument/2006/relationships/tags" Target="../tags/tag51.xml"/><Relationship Id="rId12" Type="http://schemas.openxmlformats.org/officeDocument/2006/relationships/tags" Target="../tags/tag50.xml"/><Relationship Id="rId11" Type="http://schemas.openxmlformats.org/officeDocument/2006/relationships/tags" Target="../tags/tag49.xml"/><Relationship Id="rId10" Type="http://schemas.openxmlformats.org/officeDocument/2006/relationships/tags" Target="../tags/tag48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microsoft.com/office/2007/relationships/diagramDrawing" Target="../diagrams/drawing1.xml"/><Relationship Id="rId7" Type="http://schemas.openxmlformats.org/officeDocument/2006/relationships/diagramColors" Target="../diagrams/colors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3" Type="http://schemas.openxmlformats.org/officeDocument/2006/relationships/tags" Target="../tags/tag84.xml"/><Relationship Id="rId2" Type="http://schemas.openxmlformats.org/officeDocument/2006/relationships/image" Target="../media/image24.png"/><Relationship Id="rId10" Type="http://schemas.openxmlformats.org/officeDocument/2006/relationships/notesSlide" Target="../notesSlides/notesSlide12.xml"/><Relationship Id="rId1" Type="http://schemas.openxmlformats.org/officeDocument/2006/relationships/tags" Target="../tags/tag8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88.xml"/><Relationship Id="rId8" Type="http://schemas.openxmlformats.org/officeDocument/2006/relationships/hyperlink" Target="https://gitee.com/IvorySQL/Ivory-www" TargetMode="External"/><Relationship Id="rId7" Type="http://schemas.openxmlformats.org/officeDocument/2006/relationships/hyperlink" Target="https://gitee.com/IvorySQL/IvorySQL" TargetMode="External"/><Relationship Id="rId6" Type="http://schemas.openxmlformats.org/officeDocument/2006/relationships/hyperlink" Target="https://github.com/IvorySQL/Ivory-www" TargetMode="External"/><Relationship Id="rId5" Type="http://schemas.openxmlformats.org/officeDocument/2006/relationships/hyperlink" Target="https://github.com/IvorySQL/IvorySQL" TargetMode="Externa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image" Target="../media/image17.png"/><Relationship Id="rId12" Type="http://schemas.openxmlformats.org/officeDocument/2006/relationships/notesSlide" Target="../notesSlides/notesSlide13.xml"/><Relationship Id="rId11" Type="http://schemas.openxmlformats.org/officeDocument/2006/relationships/slideLayout" Target="../slideLayouts/slideLayout3.xml"/><Relationship Id="rId10" Type="http://schemas.openxmlformats.org/officeDocument/2006/relationships/image" Target="../media/image25.png"/><Relationship Id="rId1" Type="http://schemas.openxmlformats.org/officeDocument/2006/relationships/tags" Target="../tags/tag85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tags" Target="../tags/tag96.xml"/><Relationship Id="rId8" Type="http://schemas.openxmlformats.org/officeDocument/2006/relationships/tags" Target="../tags/tag95.xml"/><Relationship Id="rId7" Type="http://schemas.openxmlformats.org/officeDocument/2006/relationships/tags" Target="../tags/tag94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3" Type="http://schemas.openxmlformats.org/officeDocument/2006/relationships/tags" Target="../tags/tag90.xml"/><Relationship Id="rId20" Type="http://schemas.openxmlformats.org/officeDocument/2006/relationships/notesSlide" Target="../notesSlides/notesSlide14.xml"/><Relationship Id="rId2" Type="http://schemas.openxmlformats.org/officeDocument/2006/relationships/image" Target="../media/image17.png"/><Relationship Id="rId19" Type="http://schemas.openxmlformats.org/officeDocument/2006/relationships/slideLayout" Target="../slideLayouts/slideLayout3.xml"/><Relationship Id="rId18" Type="http://schemas.openxmlformats.org/officeDocument/2006/relationships/tags" Target="../tags/tag105.xml"/><Relationship Id="rId17" Type="http://schemas.openxmlformats.org/officeDocument/2006/relationships/tags" Target="../tags/tag104.xml"/><Relationship Id="rId16" Type="http://schemas.openxmlformats.org/officeDocument/2006/relationships/tags" Target="../tags/tag103.xml"/><Relationship Id="rId15" Type="http://schemas.openxmlformats.org/officeDocument/2006/relationships/tags" Target="../tags/tag102.xml"/><Relationship Id="rId14" Type="http://schemas.openxmlformats.org/officeDocument/2006/relationships/tags" Target="../tags/tag101.xml"/><Relationship Id="rId13" Type="http://schemas.openxmlformats.org/officeDocument/2006/relationships/tags" Target="../tags/tag100.xml"/><Relationship Id="rId12" Type="http://schemas.openxmlformats.org/officeDocument/2006/relationships/tags" Target="../tags/tag99.xml"/><Relationship Id="rId11" Type="http://schemas.openxmlformats.org/officeDocument/2006/relationships/tags" Target="../tags/tag98.xml"/><Relationship Id="rId10" Type="http://schemas.openxmlformats.org/officeDocument/2006/relationships/tags" Target="../tags/tag97.xml"/><Relationship Id="rId1" Type="http://schemas.openxmlformats.org/officeDocument/2006/relationships/tags" Target="../tags/tag89.xml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27.png"/><Relationship Id="rId3" Type="http://schemas.openxmlformats.org/officeDocument/2006/relationships/tags" Target="../tags/tag107.xml"/><Relationship Id="rId2" Type="http://schemas.openxmlformats.org/officeDocument/2006/relationships/image" Target="../media/image26.png"/><Relationship Id="rId1" Type="http://schemas.openxmlformats.org/officeDocument/2006/relationships/tags" Target="../tags/tag106.xml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6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10.xml"/><Relationship Id="rId4" Type="http://schemas.openxmlformats.org/officeDocument/2006/relationships/image" Target="../media/image28.png"/><Relationship Id="rId3" Type="http://schemas.openxmlformats.org/officeDocument/2006/relationships/tags" Target="../tags/tag109.xml"/><Relationship Id="rId2" Type="http://schemas.openxmlformats.org/officeDocument/2006/relationships/image" Target="../media/image24.png"/><Relationship Id="rId1" Type="http://schemas.openxmlformats.org/officeDocument/2006/relationships/tags" Target="../tags/tag108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3.xml"/><Relationship Id="rId7" Type="http://schemas.openxmlformats.org/officeDocument/2006/relationships/image" Target="../media/image30.png"/><Relationship Id="rId6" Type="http://schemas.openxmlformats.org/officeDocument/2006/relationships/tags" Target="../tags/tag114.xml"/><Relationship Id="rId5" Type="http://schemas.openxmlformats.org/officeDocument/2006/relationships/image" Target="../media/image29.png"/><Relationship Id="rId4" Type="http://schemas.openxmlformats.org/officeDocument/2006/relationships/tags" Target="../tags/tag113.xml"/><Relationship Id="rId3" Type="http://schemas.openxmlformats.org/officeDocument/2006/relationships/tags" Target="../tags/tag112.xml"/><Relationship Id="rId2" Type="http://schemas.openxmlformats.org/officeDocument/2006/relationships/image" Target="../media/image17.png"/><Relationship Id="rId1" Type="http://schemas.openxmlformats.org/officeDocument/2006/relationships/tags" Target="../tags/tag111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122.xml"/><Relationship Id="rId8" Type="http://schemas.openxmlformats.org/officeDocument/2006/relationships/tags" Target="../tags/tag121.xml"/><Relationship Id="rId7" Type="http://schemas.openxmlformats.org/officeDocument/2006/relationships/tags" Target="../tags/tag120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9" Type="http://schemas.openxmlformats.org/officeDocument/2006/relationships/notesSlide" Target="../notesSlides/notesSlide18.xml"/><Relationship Id="rId38" Type="http://schemas.openxmlformats.org/officeDocument/2006/relationships/slideLayout" Target="../slideLayouts/slideLayout3.xml"/><Relationship Id="rId37" Type="http://schemas.openxmlformats.org/officeDocument/2006/relationships/tags" Target="../tags/tag150.xml"/><Relationship Id="rId36" Type="http://schemas.openxmlformats.org/officeDocument/2006/relationships/tags" Target="../tags/tag149.xml"/><Relationship Id="rId35" Type="http://schemas.openxmlformats.org/officeDocument/2006/relationships/tags" Target="../tags/tag148.xml"/><Relationship Id="rId34" Type="http://schemas.openxmlformats.org/officeDocument/2006/relationships/tags" Target="../tags/tag147.xml"/><Relationship Id="rId33" Type="http://schemas.openxmlformats.org/officeDocument/2006/relationships/tags" Target="../tags/tag146.xml"/><Relationship Id="rId32" Type="http://schemas.openxmlformats.org/officeDocument/2006/relationships/tags" Target="../tags/tag145.xml"/><Relationship Id="rId31" Type="http://schemas.openxmlformats.org/officeDocument/2006/relationships/tags" Target="../tags/tag144.xml"/><Relationship Id="rId30" Type="http://schemas.openxmlformats.org/officeDocument/2006/relationships/tags" Target="../tags/tag143.xml"/><Relationship Id="rId3" Type="http://schemas.openxmlformats.org/officeDocument/2006/relationships/tags" Target="../tags/tag116.xml"/><Relationship Id="rId29" Type="http://schemas.openxmlformats.org/officeDocument/2006/relationships/tags" Target="../tags/tag142.xml"/><Relationship Id="rId28" Type="http://schemas.openxmlformats.org/officeDocument/2006/relationships/tags" Target="../tags/tag141.xml"/><Relationship Id="rId27" Type="http://schemas.openxmlformats.org/officeDocument/2006/relationships/tags" Target="../tags/tag140.xml"/><Relationship Id="rId26" Type="http://schemas.openxmlformats.org/officeDocument/2006/relationships/tags" Target="../tags/tag139.xml"/><Relationship Id="rId25" Type="http://schemas.openxmlformats.org/officeDocument/2006/relationships/tags" Target="../tags/tag138.xml"/><Relationship Id="rId24" Type="http://schemas.openxmlformats.org/officeDocument/2006/relationships/tags" Target="../tags/tag137.xml"/><Relationship Id="rId23" Type="http://schemas.openxmlformats.org/officeDocument/2006/relationships/tags" Target="../tags/tag136.xml"/><Relationship Id="rId22" Type="http://schemas.openxmlformats.org/officeDocument/2006/relationships/tags" Target="../tags/tag135.xml"/><Relationship Id="rId21" Type="http://schemas.openxmlformats.org/officeDocument/2006/relationships/tags" Target="../tags/tag134.xml"/><Relationship Id="rId20" Type="http://schemas.openxmlformats.org/officeDocument/2006/relationships/tags" Target="../tags/tag133.xml"/><Relationship Id="rId2" Type="http://schemas.openxmlformats.org/officeDocument/2006/relationships/image" Target="../media/image26.png"/><Relationship Id="rId19" Type="http://schemas.openxmlformats.org/officeDocument/2006/relationships/tags" Target="../tags/tag132.xml"/><Relationship Id="rId18" Type="http://schemas.openxmlformats.org/officeDocument/2006/relationships/tags" Target="../tags/tag131.xml"/><Relationship Id="rId17" Type="http://schemas.openxmlformats.org/officeDocument/2006/relationships/tags" Target="../tags/tag130.xml"/><Relationship Id="rId16" Type="http://schemas.openxmlformats.org/officeDocument/2006/relationships/tags" Target="../tags/tag129.xml"/><Relationship Id="rId15" Type="http://schemas.openxmlformats.org/officeDocument/2006/relationships/tags" Target="../tags/tag128.xml"/><Relationship Id="rId14" Type="http://schemas.openxmlformats.org/officeDocument/2006/relationships/tags" Target="../tags/tag127.xml"/><Relationship Id="rId13" Type="http://schemas.openxmlformats.org/officeDocument/2006/relationships/tags" Target="../tags/tag126.xml"/><Relationship Id="rId12" Type="http://schemas.openxmlformats.org/officeDocument/2006/relationships/tags" Target="../tags/tag125.xml"/><Relationship Id="rId11" Type="http://schemas.openxmlformats.org/officeDocument/2006/relationships/tags" Target="../tags/tag124.xml"/><Relationship Id="rId10" Type="http://schemas.openxmlformats.org/officeDocument/2006/relationships/tags" Target="../tags/tag123.xml"/><Relationship Id="rId1" Type="http://schemas.openxmlformats.org/officeDocument/2006/relationships/tags" Target="../tags/tag115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159.xml"/><Relationship Id="rId8" Type="http://schemas.openxmlformats.org/officeDocument/2006/relationships/tags" Target="../tags/tag158.xml"/><Relationship Id="rId72" Type="http://schemas.openxmlformats.org/officeDocument/2006/relationships/notesSlide" Target="../notesSlides/notesSlide19.xml"/><Relationship Id="rId71" Type="http://schemas.openxmlformats.org/officeDocument/2006/relationships/slideLayout" Target="../slideLayouts/slideLayout3.xml"/><Relationship Id="rId70" Type="http://schemas.openxmlformats.org/officeDocument/2006/relationships/tags" Target="../tags/tag220.xml"/><Relationship Id="rId7" Type="http://schemas.openxmlformats.org/officeDocument/2006/relationships/tags" Target="../tags/tag157.xml"/><Relationship Id="rId69" Type="http://schemas.openxmlformats.org/officeDocument/2006/relationships/tags" Target="../tags/tag219.xml"/><Relationship Id="rId68" Type="http://schemas.openxmlformats.org/officeDocument/2006/relationships/tags" Target="../tags/tag218.xml"/><Relationship Id="rId67" Type="http://schemas.openxmlformats.org/officeDocument/2006/relationships/tags" Target="../tags/tag217.xml"/><Relationship Id="rId66" Type="http://schemas.openxmlformats.org/officeDocument/2006/relationships/tags" Target="../tags/tag216.xml"/><Relationship Id="rId65" Type="http://schemas.openxmlformats.org/officeDocument/2006/relationships/tags" Target="../tags/tag215.xml"/><Relationship Id="rId64" Type="http://schemas.openxmlformats.org/officeDocument/2006/relationships/tags" Target="../tags/tag214.xml"/><Relationship Id="rId63" Type="http://schemas.openxmlformats.org/officeDocument/2006/relationships/tags" Target="../tags/tag213.xml"/><Relationship Id="rId62" Type="http://schemas.openxmlformats.org/officeDocument/2006/relationships/tags" Target="../tags/tag212.xml"/><Relationship Id="rId61" Type="http://schemas.openxmlformats.org/officeDocument/2006/relationships/tags" Target="../tags/tag211.xml"/><Relationship Id="rId60" Type="http://schemas.openxmlformats.org/officeDocument/2006/relationships/tags" Target="../tags/tag210.xml"/><Relationship Id="rId6" Type="http://schemas.openxmlformats.org/officeDocument/2006/relationships/tags" Target="../tags/tag156.xml"/><Relationship Id="rId59" Type="http://schemas.openxmlformats.org/officeDocument/2006/relationships/tags" Target="../tags/tag209.xml"/><Relationship Id="rId58" Type="http://schemas.openxmlformats.org/officeDocument/2006/relationships/tags" Target="../tags/tag208.xml"/><Relationship Id="rId57" Type="http://schemas.openxmlformats.org/officeDocument/2006/relationships/tags" Target="../tags/tag207.xml"/><Relationship Id="rId56" Type="http://schemas.openxmlformats.org/officeDocument/2006/relationships/tags" Target="../tags/tag206.xml"/><Relationship Id="rId55" Type="http://schemas.openxmlformats.org/officeDocument/2006/relationships/tags" Target="../tags/tag205.xml"/><Relationship Id="rId54" Type="http://schemas.openxmlformats.org/officeDocument/2006/relationships/tags" Target="../tags/tag204.xml"/><Relationship Id="rId53" Type="http://schemas.openxmlformats.org/officeDocument/2006/relationships/tags" Target="../tags/tag203.xml"/><Relationship Id="rId52" Type="http://schemas.openxmlformats.org/officeDocument/2006/relationships/tags" Target="../tags/tag202.xml"/><Relationship Id="rId51" Type="http://schemas.openxmlformats.org/officeDocument/2006/relationships/tags" Target="../tags/tag201.xml"/><Relationship Id="rId50" Type="http://schemas.openxmlformats.org/officeDocument/2006/relationships/tags" Target="../tags/tag200.xml"/><Relationship Id="rId5" Type="http://schemas.openxmlformats.org/officeDocument/2006/relationships/tags" Target="../tags/tag155.xml"/><Relationship Id="rId49" Type="http://schemas.openxmlformats.org/officeDocument/2006/relationships/tags" Target="../tags/tag199.xml"/><Relationship Id="rId48" Type="http://schemas.openxmlformats.org/officeDocument/2006/relationships/tags" Target="../tags/tag198.xml"/><Relationship Id="rId47" Type="http://schemas.openxmlformats.org/officeDocument/2006/relationships/tags" Target="../tags/tag197.xml"/><Relationship Id="rId46" Type="http://schemas.openxmlformats.org/officeDocument/2006/relationships/tags" Target="../tags/tag196.xml"/><Relationship Id="rId45" Type="http://schemas.openxmlformats.org/officeDocument/2006/relationships/tags" Target="../tags/tag195.xml"/><Relationship Id="rId44" Type="http://schemas.openxmlformats.org/officeDocument/2006/relationships/tags" Target="../tags/tag194.xml"/><Relationship Id="rId43" Type="http://schemas.openxmlformats.org/officeDocument/2006/relationships/tags" Target="../tags/tag193.xml"/><Relationship Id="rId42" Type="http://schemas.openxmlformats.org/officeDocument/2006/relationships/tags" Target="../tags/tag192.xml"/><Relationship Id="rId41" Type="http://schemas.openxmlformats.org/officeDocument/2006/relationships/tags" Target="../tags/tag191.xml"/><Relationship Id="rId40" Type="http://schemas.openxmlformats.org/officeDocument/2006/relationships/tags" Target="../tags/tag190.xml"/><Relationship Id="rId4" Type="http://schemas.openxmlformats.org/officeDocument/2006/relationships/tags" Target="../tags/tag154.xml"/><Relationship Id="rId39" Type="http://schemas.openxmlformats.org/officeDocument/2006/relationships/tags" Target="../tags/tag189.xml"/><Relationship Id="rId38" Type="http://schemas.openxmlformats.org/officeDocument/2006/relationships/tags" Target="../tags/tag188.xml"/><Relationship Id="rId37" Type="http://schemas.openxmlformats.org/officeDocument/2006/relationships/tags" Target="../tags/tag187.xml"/><Relationship Id="rId36" Type="http://schemas.openxmlformats.org/officeDocument/2006/relationships/tags" Target="../tags/tag186.xml"/><Relationship Id="rId35" Type="http://schemas.openxmlformats.org/officeDocument/2006/relationships/tags" Target="../tags/tag185.xml"/><Relationship Id="rId34" Type="http://schemas.openxmlformats.org/officeDocument/2006/relationships/tags" Target="../tags/tag184.xml"/><Relationship Id="rId33" Type="http://schemas.openxmlformats.org/officeDocument/2006/relationships/tags" Target="../tags/tag183.xml"/><Relationship Id="rId32" Type="http://schemas.openxmlformats.org/officeDocument/2006/relationships/tags" Target="../tags/tag182.xml"/><Relationship Id="rId31" Type="http://schemas.openxmlformats.org/officeDocument/2006/relationships/tags" Target="../tags/tag181.xml"/><Relationship Id="rId30" Type="http://schemas.openxmlformats.org/officeDocument/2006/relationships/tags" Target="../tags/tag180.xml"/><Relationship Id="rId3" Type="http://schemas.openxmlformats.org/officeDocument/2006/relationships/tags" Target="../tags/tag153.xml"/><Relationship Id="rId29" Type="http://schemas.openxmlformats.org/officeDocument/2006/relationships/tags" Target="../tags/tag179.xml"/><Relationship Id="rId28" Type="http://schemas.openxmlformats.org/officeDocument/2006/relationships/tags" Target="../tags/tag178.xml"/><Relationship Id="rId27" Type="http://schemas.openxmlformats.org/officeDocument/2006/relationships/tags" Target="../tags/tag177.xml"/><Relationship Id="rId26" Type="http://schemas.openxmlformats.org/officeDocument/2006/relationships/tags" Target="../tags/tag176.xml"/><Relationship Id="rId25" Type="http://schemas.openxmlformats.org/officeDocument/2006/relationships/tags" Target="../tags/tag175.xml"/><Relationship Id="rId24" Type="http://schemas.openxmlformats.org/officeDocument/2006/relationships/tags" Target="../tags/tag174.xml"/><Relationship Id="rId23" Type="http://schemas.openxmlformats.org/officeDocument/2006/relationships/tags" Target="../tags/tag173.xml"/><Relationship Id="rId22" Type="http://schemas.openxmlformats.org/officeDocument/2006/relationships/tags" Target="../tags/tag172.xml"/><Relationship Id="rId21" Type="http://schemas.openxmlformats.org/officeDocument/2006/relationships/tags" Target="../tags/tag171.xml"/><Relationship Id="rId20" Type="http://schemas.openxmlformats.org/officeDocument/2006/relationships/tags" Target="../tags/tag170.xml"/><Relationship Id="rId2" Type="http://schemas.openxmlformats.org/officeDocument/2006/relationships/tags" Target="../tags/tag152.xml"/><Relationship Id="rId19" Type="http://schemas.openxmlformats.org/officeDocument/2006/relationships/tags" Target="../tags/tag169.xml"/><Relationship Id="rId18" Type="http://schemas.openxmlformats.org/officeDocument/2006/relationships/tags" Target="../tags/tag168.xml"/><Relationship Id="rId17" Type="http://schemas.openxmlformats.org/officeDocument/2006/relationships/tags" Target="../tags/tag167.xml"/><Relationship Id="rId16" Type="http://schemas.openxmlformats.org/officeDocument/2006/relationships/tags" Target="../tags/tag166.xml"/><Relationship Id="rId15" Type="http://schemas.openxmlformats.org/officeDocument/2006/relationships/tags" Target="../tags/tag165.xml"/><Relationship Id="rId14" Type="http://schemas.openxmlformats.org/officeDocument/2006/relationships/tags" Target="../tags/tag164.xml"/><Relationship Id="rId13" Type="http://schemas.openxmlformats.org/officeDocument/2006/relationships/tags" Target="../tags/tag163.xml"/><Relationship Id="rId12" Type="http://schemas.openxmlformats.org/officeDocument/2006/relationships/tags" Target="../tags/tag162.xml"/><Relationship Id="rId11" Type="http://schemas.openxmlformats.org/officeDocument/2006/relationships/tags" Target="../tags/tag161.xml"/><Relationship Id="rId10" Type="http://schemas.openxmlformats.org/officeDocument/2006/relationships/tags" Target="../tags/tag160.xml"/><Relationship Id="rId1" Type="http://schemas.openxmlformats.org/officeDocument/2006/relationships/tags" Target="../tags/tag15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notesSlide" Target="../notesSlides/notesSlide2.xml"/><Relationship Id="rId17" Type="http://schemas.openxmlformats.org/officeDocument/2006/relationships/slideLayout" Target="../slideLayouts/slideLayout3.xml"/><Relationship Id="rId16" Type="http://schemas.openxmlformats.org/officeDocument/2006/relationships/tags" Target="../tags/tag14.xml"/><Relationship Id="rId15" Type="http://schemas.openxmlformats.org/officeDocument/2006/relationships/tags" Target="../tags/tag13.xml"/><Relationship Id="rId14" Type="http://schemas.openxmlformats.org/officeDocument/2006/relationships/tags" Target="../tags/tag12.xml"/><Relationship Id="rId13" Type="http://schemas.openxmlformats.org/officeDocument/2006/relationships/image" Target="../media/image4.png"/><Relationship Id="rId12" Type="http://schemas.openxmlformats.org/officeDocument/2006/relationships/tags" Target="../tags/tag11.xml"/><Relationship Id="rId11" Type="http://schemas.openxmlformats.org/officeDocument/2006/relationships/image" Target="../media/image3.jpeg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7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tags" Target="../tags/tag221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image" Target="../media/image32.png"/><Relationship Id="rId7" Type="http://schemas.openxmlformats.org/officeDocument/2006/relationships/tags" Target="../tags/tag226.xml"/><Relationship Id="rId6" Type="http://schemas.openxmlformats.org/officeDocument/2006/relationships/tags" Target="../tags/tag225.xml"/><Relationship Id="rId5" Type="http://schemas.openxmlformats.org/officeDocument/2006/relationships/image" Target="../media/image31.png"/><Relationship Id="rId4" Type="http://schemas.openxmlformats.org/officeDocument/2006/relationships/tags" Target="../tags/tag224.xml"/><Relationship Id="rId3" Type="http://schemas.openxmlformats.org/officeDocument/2006/relationships/tags" Target="../tags/tag223.xml"/><Relationship Id="rId2" Type="http://schemas.openxmlformats.org/officeDocument/2006/relationships/image" Target="../media/image26.png"/><Relationship Id="rId10" Type="http://schemas.openxmlformats.org/officeDocument/2006/relationships/notesSlide" Target="../notesSlides/notesSlide21.xml"/><Relationship Id="rId1" Type="http://schemas.openxmlformats.org/officeDocument/2006/relationships/tags" Target="../tags/tag222.xml"/></Relationships>
</file>

<file path=ppt/slides/_rels/slide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28.xml"/><Relationship Id="rId3" Type="http://schemas.openxmlformats.org/officeDocument/2006/relationships/image" Target="../media/image33.emf"/><Relationship Id="rId2" Type="http://schemas.openxmlformats.org/officeDocument/2006/relationships/oleObject" Target="../embeddings/oleObject1.bin"/><Relationship Id="rId1" Type="http://schemas.openxmlformats.org/officeDocument/2006/relationships/tags" Target="../tags/tag227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8.jpeg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image" Target="../media/image12.png"/><Relationship Id="rId7" Type="http://schemas.openxmlformats.org/officeDocument/2006/relationships/tags" Target="../tags/tag18.xml"/><Relationship Id="rId6" Type="http://schemas.openxmlformats.org/officeDocument/2006/relationships/image" Target="../media/image11.jpeg"/><Relationship Id="rId5" Type="http://schemas.openxmlformats.org/officeDocument/2006/relationships/tags" Target="../tags/tag17.xml"/><Relationship Id="rId4" Type="http://schemas.openxmlformats.org/officeDocument/2006/relationships/image" Target="../media/image10.png"/><Relationship Id="rId3" Type="http://schemas.openxmlformats.org/officeDocument/2006/relationships/tags" Target="../tags/tag16.xml"/><Relationship Id="rId2" Type="http://schemas.openxmlformats.org/officeDocument/2006/relationships/image" Target="../media/image9.jpeg"/><Relationship Id="rId10" Type="http://schemas.openxmlformats.org/officeDocument/2006/relationships/notesSlide" Target="../notesSlides/notesSlide4.xml"/><Relationship Id="rId1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.xml"/><Relationship Id="rId3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4.xml"/><Relationship Id="rId4" Type="http://schemas.openxmlformats.org/officeDocument/2006/relationships/image" Target="../media/image15.png"/><Relationship Id="rId3" Type="http://schemas.openxmlformats.org/officeDocument/2006/relationships/tags" Target="../tags/tag23.xml"/><Relationship Id="rId2" Type="http://schemas.openxmlformats.org/officeDocument/2006/relationships/image" Target="../media/image14.png"/><Relationship Id="rId1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8" Type="http://schemas.openxmlformats.org/officeDocument/2006/relationships/tags" Target="../tags/tag31.xml"/><Relationship Id="rId7" Type="http://schemas.openxmlformats.org/officeDocument/2006/relationships/image" Target="../media/image19.png"/><Relationship Id="rId6" Type="http://schemas.openxmlformats.org/officeDocument/2006/relationships/tags" Target="../tags/tag30.xml"/><Relationship Id="rId5" Type="http://schemas.openxmlformats.org/officeDocument/2006/relationships/image" Target="../media/image18.png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image" Target="../media/image17.png"/><Relationship Id="rId19" Type="http://schemas.openxmlformats.org/officeDocument/2006/relationships/notesSlide" Target="../notesSlides/notesSlide8.xml"/><Relationship Id="rId18" Type="http://schemas.openxmlformats.org/officeDocument/2006/relationships/slideLayout" Target="../slideLayouts/slideLayout3.xml"/><Relationship Id="rId17" Type="http://schemas.openxmlformats.org/officeDocument/2006/relationships/image" Target="../media/image22.png"/><Relationship Id="rId16" Type="http://schemas.openxmlformats.org/officeDocument/2006/relationships/tags" Target="../tags/tag37.xml"/><Relationship Id="rId15" Type="http://schemas.openxmlformats.org/officeDocument/2006/relationships/tags" Target="../tags/tag36.xml"/><Relationship Id="rId14" Type="http://schemas.openxmlformats.org/officeDocument/2006/relationships/image" Target="../media/image21.png"/><Relationship Id="rId13" Type="http://schemas.openxmlformats.org/officeDocument/2006/relationships/tags" Target="../tags/tag35.xml"/><Relationship Id="rId12" Type="http://schemas.openxmlformats.org/officeDocument/2006/relationships/tags" Target="../tags/tag34.xml"/><Relationship Id="rId11" Type="http://schemas.openxmlformats.org/officeDocument/2006/relationships/tags" Target="../tags/tag33.xml"/><Relationship Id="rId10" Type="http://schemas.openxmlformats.org/officeDocument/2006/relationships/image" Target="../media/image20.png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23.png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857" cy="6858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791335" y="1195705"/>
            <a:ext cx="9779635" cy="23571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hangingPunct="0">
              <a:lnSpc>
                <a:spcPct val="83000"/>
              </a:lnSpc>
              <a:spcBef>
                <a:spcPct val="7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一款基于</a:t>
            </a:r>
            <a:r>
              <a:rPr 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ostgreSQL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兼容</a:t>
            </a:r>
            <a:r>
              <a:rPr 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Oracle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开源数据库</a:t>
            </a:r>
            <a:endParaRPr lang="zh-CN" altLang="en-US" sz="320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 hangingPunct="0">
              <a:lnSpc>
                <a:spcPct val="83000"/>
              </a:lnSpc>
              <a:spcBef>
                <a:spcPct val="7000"/>
              </a:spcBef>
            </a:pPr>
            <a:endParaRPr lang="zh-CN" altLang="en-US" sz="660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r" hangingPunct="0">
              <a:lnSpc>
                <a:spcPct val="83000"/>
              </a:lnSpc>
              <a:spcBef>
                <a:spcPct val="7000"/>
              </a:spcBef>
            </a:pPr>
            <a:r>
              <a:rPr lang="zh-CN" altLang="en-US" sz="280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瀚高基础软件股份有限公司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323351" y="3863842"/>
            <a:ext cx="14782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谭洋</a:t>
            </a:r>
            <a:endParaRPr lang="zh-CN" altLang="en-US" sz="48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历程</a:t>
            </a:r>
            <a:endParaRPr lang="zh-CN" altLang="en-US" spc="3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816610" y="1106805"/>
            <a:ext cx="10596245" cy="4972685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203366" y="3543244"/>
            <a:ext cx="5957360" cy="71403"/>
            <a:chOff x="395288" y="3519294"/>
            <a:chExt cx="7926776" cy="53722"/>
          </a:xfrm>
        </p:grpSpPr>
        <p:sp>
          <p:nvSpPr>
            <p:cNvPr id="14" name="矩形 13"/>
            <p:cNvSpPr/>
            <p:nvPr>
              <p:custDataLst>
                <p:tags r:id="rId3"/>
              </p:custDataLst>
            </p:nvPr>
          </p:nvSpPr>
          <p:spPr>
            <a:xfrm>
              <a:off x="395288" y="3519294"/>
              <a:ext cx="1584424" cy="53722"/>
            </a:xfrm>
            <a:prstGeom prst="rect">
              <a:avLst/>
            </a:prstGeom>
            <a:solidFill>
              <a:srgbClr val="37A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15" name="矩形 14"/>
            <p:cNvSpPr/>
            <p:nvPr>
              <p:custDataLst>
                <p:tags r:id="rId4"/>
              </p:custDataLst>
            </p:nvPr>
          </p:nvSpPr>
          <p:spPr>
            <a:xfrm>
              <a:off x="1980876" y="3519294"/>
              <a:ext cx="1584424" cy="53722"/>
            </a:xfrm>
            <a:prstGeom prst="rect">
              <a:avLst/>
            </a:prstGeom>
            <a:solidFill>
              <a:srgbClr val="79CA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16" name="矩形 15"/>
            <p:cNvSpPr/>
            <p:nvPr>
              <p:custDataLst>
                <p:tags r:id="rId5"/>
              </p:custDataLst>
            </p:nvPr>
          </p:nvSpPr>
          <p:spPr>
            <a:xfrm>
              <a:off x="3566464" y="3519294"/>
              <a:ext cx="1584424" cy="53722"/>
            </a:xfrm>
            <a:prstGeom prst="rect">
              <a:avLst/>
            </a:prstGeom>
            <a:solidFill>
              <a:srgbClr val="D9E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17" name="矩形 16"/>
            <p:cNvSpPr/>
            <p:nvPr>
              <p:custDataLst>
                <p:tags r:id="rId6"/>
              </p:custDataLst>
            </p:nvPr>
          </p:nvSpPr>
          <p:spPr>
            <a:xfrm>
              <a:off x="5152052" y="3519294"/>
              <a:ext cx="1584424" cy="5372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18" name="矩形 17"/>
            <p:cNvSpPr/>
            <p:nvPr>
              <p:custDataLst>
                <p:tags r:id="rId7"/>
              </p:custDataLst>
            </p:nvPr>
          </p:nvSpPr>
          <p:spPr>
            <a:xfrm>
              <a:off x="6737640" y="3519294"/>
              <a:ext cx="1584424" cy="53722"/>
            </a:xfrm>
            <a:prstGeom prst="rect">
              <a:avLst/>
            </a:prstGeom>
            <a:solidFill>
              <a:srgbClr val="FF95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cxnSp>
        <p:nvCxnSpPr>
          <p:cNvPr id="19" name="直接连接符 18"/>
          <p:cNvCxnSpPr/>
          <p:nvPr>
            <p:custDataLst>
              <p:tags r:id="rId8"/>
            </p:custDataLst>
          </p:nvPr>
        </p:nvCxnSpPr>
        <p:spPr>
          <a:xfrm flipV="1">
            <a:off x="3404196" y="1912203"/>
            <a:ext cx="0" cy="1665443"/>
          </a:xfrm>
          <a:prstGeom prst="line">
            <a:avLst/>
          </a:prstGeom>
          <a:ln w="19050">
            <a:solidFill>
              <a:srgbClr val="37AE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>
            <p:custDataLst>
              <p:tags r:id="rId9"/>
            </p:custDataLst>
          </p:nvPr>
        </p:nvCxnSpPr>
        <p:spPr>
          <a:xfrm flipV="1">
            <a:off x="4586927" y="3614536"/>
            <a:ext cx="0" cy="1665443"/>
          </a:xfrm>
          <a:prstGeom prst="line">
            <a:avLst/>
          </a:prstGeom>
          <a:ln w="19050">
            <a:solidFill>
              <a:srgbClr val="79C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>
            <p:custDataLst>
              <p:tags r:id="rId10"/>
            </p:custDataLst>
          </p:nvPr>
        </p:nvCxnSpPr>
        <p:spPr>
          <a:xfrm flipV="1">
            <a:off x="5782749" y="1831875"/>
            <a:ext cx="0" cy="1665443"/>
          </a:xfrm>
          <a:prstGeom prst="line">
            <a:avLst/>
          </a:prstGeom>
          <a:ln w="19050">
            <a:solidFill>
              <a:srgbClr val="D9E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11"/>
            </p:custDataLst>
          </p:nvPr>
        </p:nvCxnSpPr>
        <p:spPr>
          <a:xfrm flipV="1">
            <a:off x="6970240" y="3596091"/>
            <a:ext cx="0" cy="1665443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>
            <p:custDataLst>
              <p:tags r:id="rId12"/>
            </p:custDataLst>
          </p:nvPr>
        </p:nvCxnSpPr>
        <p:spPr>
          <a:xfrm flipV="1">
            <a:off x="8162492" y="1886022"/>
            <a:ext cx="0" cy="1665443"/>
          </a:xfrm>
          <a:prstGeom prst="line">
            <a:avLst/>
          </a:prstGeom>
          <a:ln w="19050">
            <a:solidFill>
              <a:srgbClr val="FF95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047"/>
          <p:cNvSpPr txBox="1"/>
          <p:nvPr>
            <p:custDataLst>
              <p:tags r:id="rId13"/>
            </p:custDataLst>
          </p:nvPr>
        </p:nvSpPr>
        <p:spPr>
          <a:xfrm>
            <a:off x="2137914" y="3145175"/>
            <a:ext cx="1320949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37AEF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/12/15</a:t>
            </a:r>
            <a:endParaRPr lang="zh-CN" altLang="en-US" sz="1685" b="1" dirty="0">
              <a:solidFill>
                <a:srgbClr val="37AEF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37"/>
          <p:cNvSpPr txBox="1"/>
          <p:nvPr>
            <p:custDataLst>
              <p:tags r:id="rId14"/>
            </p:custDataLst>
          </p:nvPr>
        </p:nvSpPr>
        <p:spPr>
          <a:xfrm>
            <a:off x="3185773" y="3687726"/>
            <a:ext cx="1551050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79CA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/01/25</a:t>
            </a:r>
            <a:endParaRPr lang="en-US" altLang="zh-CN" sz="1685" b="1" dirty="0">
              <a:solidFill>
                <a:srgbClr val="79C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8"/>
          <p:cNvSpPr txBox="1"/>
          <p:nvPr>
            <p:custDataLst>
              <p:tags r:id="rId15"/>
            </p:custDataLst>
          </p:nvPr>
        </p:nvSpPr>
        <p:spPr>
          <a:xfrm>
            <a:off x="4570364" y="3139224"/>
            <a:ext cx="1258471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D9E0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/02/28</a:t>
            </a:r>
            <a:endParaRPr lang="zh-CN" altLang="en-US" sz="1685" b="1" dirty="0">
              <a:solidFill>
                <a:srgbClr val="D9E0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9"/>
          <p:cNvSpPr txBox="1"/>
          <p:nvPr>
            <p:custDataLst>
              <p:tags r:id="rId16"/>
            </p:custDataLst>
          </p:nvPr>
        </p:nvSpPr>
        <p:spPr>
          <a:xfrm>
            <a:off x="5595694" y="3660355"/>
            <a:ext cx="1551050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/05/27</a:t>
            </a:r>
            <a:endParaRPr lang="zh-CN" altLang="en-US" sz="1685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17"/>
            </p:custDataLst>
          </p:nvPr>
        </p:nvSpPr>
        <p:spPr>
          <a:xfrm>
            <a:off x="6763550" y="3109662"/>
            <a:ext cx="1551050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FF95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/09/09</a:t>
            </a:r>
            <a:endParaRPr lang="zh-CN" altLang="en-US" sz="1685" b="1" dirty="0">
              <a:solidFill>
                <a:srgbClr val="FF95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2"/>
          <p:cNvSpPr/>
          <p:nvPr>
            <p:custDataLst>
              <p:tags r:id="rId18"/>
            </p:custDataLst>
          </p:nvPr>
        </p:nvSpPr>
        <p:spPr>
          <a:xfrm flipH="1">
            <a:off x="2025455" y="2263947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1.0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4.0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4511061" y="5153643"/>
            <a:ext cx="186243" cy="186243"/>
            <a:chOff x="3607648" y="5489862"/>
            <a:chExt cx="198756" cy="198756"/>
          </a:xfrm>
        </p:grpSpPr>
        <p:sp>
          <p:nvSpPr>
            <p:cNvPr id="44" name="椭圆 43"/>
            <p:cNvSpPr/>
            <p:nvPr>
              <p:custDataLst>
                <p:tags r:id="rId19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45" name="椭圆 44"/>
            <p:cNvSpPr/>
            <p:nvPr>
              <p:custDataLst>
                <p:tags r:id="rId20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79CA46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320645" y="1830292"/>
            <a:ext cx="186243" cy="186243"/>
            <a:chOff x="3607648" y="5489862"/>
            <a:chExt cx="198756" cy="198756"/>
          </a:xfrm>
        </p:grpSpPr>
        <p:sp>
          <p:nvSpPr>
            <p:cNvPr id="47" name="椭圆 46"/>
            <p:cNvSpPr/>
            <p:nvPr>
              <p:custDataLst>
                <p:tags r:id="rId21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48" name="椭圆 47"/>
            <p:cNvSpPr/>
            <p:nvPr>
              <p:custDataLst>
                <p:tags r:id="rId22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37AEF4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5711597" y="1788046"/>
            <a:ext cx="186243" cy="186243"/>
            <a:chOff x="3607648" y="5489862"/>
            <a:chExt cx="198756" cy="198756"/>
          </a:xfrm>
        </p:grpSpPr>
        <p:sp>
          <p:nvSpPr>
            <p:cNvPr id="50" name="椭圆 49"/>
            <p:cNvSpPr/>
            <p:nvPr>
              <p:custDataLst>
                <p:tags r:id="rId23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51" name="椭圆 50"/>
            <p:cNvSpPr/>
            <p:nvPr>
              <p:custDataLst>
                <p:tags r:id="rId24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D9E021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8095398" y="1772575"/>
            <a:ext cx="186243" cy="186243"/>
            <a:chOff x="3607648" y="5489862"/>
            <a:chExt cx="198756" cy="198756"/>
          </a:xfrm>
        </p:grpSpPr>
        <p:sp>
          <p:nvSpPr>
            <p:cNvPr id="53" name="椭圆 52"/>
            <p:cNvSpPr/>
            <p:nvPr>
              <p:custDataLst>
                <p:tags r:id="rId25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54" name="椭圆 53"/>
            <p:cNvSpPr/>
            <p:nvPr>
              <p:custDataLst>
                <p:tags r:id="rId26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FF9528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9258178" y="5179824"/>
            <a:ext cx="186243" cy="186243"/>
            <a:chOff x="3607648" y="5489862"/>
            <a:chExt cx="198756" cy="198756"/>
          </a:xfrm>
        </p:grpSpPr>
        <p:sp>
          <p:nvSpPr>
            <p:cNvPr id="85" name="椭圆 84"/>
            <p:cNvSpPr/>
            <p:nvPr>
              <p:custDataLst>
                <p:tags r:id="rId27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86" name="椭圆 85"/>
            <p:cNvSpPr/>
            <p:nvPr>
              <p:custDataLst>
                <p:tags r:id="rId28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cxnSp>
        <p:nvCxnSpPr>
          <p:cNvPr id="87" name="直接连接符 86"/>
          <p:cNvCxnSpPr/>
          <p:nvPr>
            <p:custDataLst>
              <p:tags r:id="rId29"/>
            </p:custDataLst>
          </p:nvPr>
        </p:nvCxnSpPr>
        <p:spPr>
          <a:xfrm>
            <a:off x="8160131" y="3577755"/>
            <a:ext cx="1194209" cy="119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>
            <p:custDataLst>
              <p:tags r:id="rId30"/>
            </p:custDataLst>
          </p:nvPr>
        </p:nvCxnSpPr>
        <p:spPr>
          <a:xfrm flipH="1">
            <a:off x="9353475" y="3573481"/>
            <a:ext cx="1195994" cy="4760"/>
          </a:xfrm>
          <a:prstGeom prst="line">
            <a:avLst/>
          </a:prstGeom>
          <a:ln w="76200">
            <a:solidFill>
              <a:srgbClr val="D9E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>
            <p:custDataLst>
              <p:tags r:id="rId31"/>
            </p:custDataLst>
          </p:nvPr>
        </p:nvCxnSpPr>
        <p:spPr>
          <a:xfrm flipV="1">
            <a:off x="9341998" y="3578835"/>
            <a:ext cx="0" cy="1665443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>
            <p:custDataLst>
              <p:tags r:id="rId32"/>
            </p:custDataLst>
          </p:nvPr>
        </p:nvCxnSpPr>
        <p:spPr>
          <a:xfrm flipV="1">
            <a:off x="10543519" y="1912203"/>
            <a:ext cx="0" cy="1665443"/>
          </a:xfrm>
          <a:prstGeom prst="line">
            <a:avLst/>
          </a:prstGeom>
          <a:ln w="19050">
            <a:solidFill>
              <a:srgbClr val="D9E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组合 90"/>
          <p:cNvGrpSpPr/>
          <p:nvPr/>
        </p:nvGrpSpPr>
        <p:grpSpPr>
          <a:xfrm>
            <a:off x="10460467" y="1843383"/>
            <a:ext cx="186243" cy="186243"/>
            <a:chOff x="3607648" y="5489862"/>
            <a:chExt cx="198756" cy="198756"/>
          </a:xfrm>
        </p:grpSpPr>
        <p:sp>
          <p:nvSpPr>
            <p:cNvPr id="92" name="椭圆 91"/>
            <p:cNvSpPr/>
            <p:nvPr>
              <p:custDataLst>
                <p:tags r:id="rId33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93" name="椭圆 92"/>
            <p:cNvSpPr/>
            <p:nvPr>
              <p:custDataLst>
                <p:tags r:id="rId34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D9E021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6885231" y="5169113"/>
            <a:ext cx="186243" cy="186243"/>
            <a:chOff x="3607648" y="5489862"/>
            <a:chExt cx="198756" cy="198756"/>
          </a:xfrm>
        </p:grpSpPr>
        <p:sp>
          <p:nvSpPr>
            <p:cNvPr id="95" name="椭圆 94"/>
            <p:cNvSpPr/>
            <p:nvPr>
              <p:custDataLst>
                <p:tags r:id="rId35"/>
              </p:custDataLst>
            </p:nvPr>
          </p:nvSpPr>
          <p:spPr>
            <a:xfrm>
              <a:off x="3607648" y="5489862"/>
              <a:ext cx="198756" cy="198756"/>
            </a:xfrm>
            <a:prstGeom prst="ellipse">
              <a:avLst/>
            </a:prstGeom>
            <a:gradFill flip="none" rotWithShape="1">
              <a:gsLst>
                <a:gs pos="100000">
                  <a:srgbClr val="FCFCFC"/>
                </a:gs>
                <a:gs pos="0">
                  <a:srgbClr val="CCCCCC"/>
                </a:gs>
              </a:gsLst>
              <a:lin ang="7200000" scaled="0"/>
              <a:tileRect/>
            </a:gradFill>
            <a:ln w="9525">
              <a:gradFill>
                <a:gsLst>
                  <a:gs pos="89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7200000" scaled="0"/>
              </a:gradFill>
            </a:ln>
            <a:effectLst>
              <a:outerShdw blurRad="127000" dist="63500" dir="8160000" algn="tr" rotWithShape="0">
                <a:prstClr val="black">
                  <a:alpha val="3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  <p:sp>
          <p:nvSpPr>
            <p:cNvPr id="96" name="椭圆 95"/>
            <p:cNvSpPr/>
            <p:nvPr>
              <p:custDataLst>
                <p:tags r:id="rId36"/>
              </p:custDataLst>
            </p:nvPr>
          </p:nvSpPr>
          <p:spPr>
            <a:xfrm>
              <a:off x="3671022" y="5553236"/>
              <a:ext cx="72008" cy="7200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85"/>
            </a:p>
          </p:txBody>
        </p:sp>
      </p:grpSp>
      <p:sp>
        <p:nvSpPr>
          <p:cNvPr id="98" name="TextBox 39"/>
          <p:cNvSpPr txBox="1"/>
          <p:nvPr>
            <p:custDataLst>
              <p:tags r:id="rId37"/>
            </p:custDataLst>
          </p:nvPr>
        </p:nvSpPr>
        <p:spPr>
          <a:xfrm>
            <a:off x="7971509" y="3703305"/>
            <a:ext cx="1461969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/12/14</a:t>
            </a:r>
            <a:endParaRPr lang="zh-CN" altLang="en-US" sz="1685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TextBox 38"/>
          <p:cNvSpPr txBox="1"/>
          <p:nvPr>
            <p:custDataLst>
              <p:tags r:id="rId38"/>
            </p:custDataLst>
          </p:nvPr>
        </p:nvSpPr>
        <p:spPr>
          <a:xfrm>
            <a:off x="9271632" y="3152315"/>
            <a:ext cx="1351295" cy="350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85" b="1" dirty="0">
                <a:solidFill>
                  <a:srgbClr val="D9E0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/03/30</a:t>
            </a:r>
            <a:endParaRPr lang="zh-CN" altLang="en-US" sz="1685" b="1" dirty="0">
              <a:solidFill>
                <a:srgbClr val="D9E0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Rectangle 42"/>
          <p:cNvSpPr/>
          <p:nvPr>
            <p:custDataLst>
              <p:tags r:id="rId39"/>
            </p:custDataLst>
          </p:nvPr>
        </p:nvSpPr>
        <p:spPr>
          <a:xfrm flipH="1">
            <a:off x="3208358" y="4216214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1.1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4.1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 42"/>
          <p:cNvSpPr/>
          <p:nvPr>
            <p:custDataLst>
              <p:tags r:id="rId40"/>
            </p:custDataLst>
          </p:nvPr>
        </p:nvSpPr>
        <p:spPr>
          <a:xfrm flipH="1">
            <a:off x="4398997" y="2263947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1.2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4.2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Rectangle 42"/>
          <p:cNvSpPr/>
          <p:nvPr>
            <p:custDataLst>
              <p:tags r:id="rId41"/>
            </p:custDataLst>
          </p:nvPr>
        </p:nvSpPr>
        <p:spPr>
          <a:xfrm flipH="1">
            <a:off x="5574761" y="4216214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1.3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4.3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Rectangle 42"/>
          <p:cNvSpPr/>
          <p:nvPr>
            <p:custDataLst>
              <p:tags r:id="rId42"/>
            </p:custDataLst>
          </p:nvPr>
        </p:nvSpPr>
        <p:spPr>
          <a:xfrm flipH="1">
            <a:off x="6783845" y="2263947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1.5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4.5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Rectangle 42"/>
          <p:cNvSpPr/>
          <p:nvPr>
            <p:custDataLst>
              <p:tags r:id="rId43"/>
            </p:custDataLst>
          </p:nvPr>
        </p:nvSpPr>
        <p:spPr>
          <a:xfrm flipH="1">
            <a:off x="7963179" y="4216214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2.1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5.1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Rectangle 42"/>
          <p:cNvSpPr/>
          <p:nvPr>
            <p:custDataLst>
              <p:tags r:id="rId44"/>
            </p:custDataLst>
          </p:nvPr>
        </p:nvSpPr>
        <p:spPr>
          <a:xfrm flipH="1">
            <a:off x="9165123" y="2263947"/>
            <a:ext cx="1378666" cy="7640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85683" tIns="0" rIns="85683" bIns="0" rtlCol="0" anchor="t"/>
          <a:lstStyle/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vorySQL 2.2</a:t>
            </a:r>
            <a:endParaRPr lang="en-US" altLang="zh-CN" sz="112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 algn="ctr" defTabSz="914400" fontAlgn="auto">
              <a:lnSpc>
                <a:spcPct val="150000"/>
              </a:lnSpc>
              <a:buClrTx/>
              <a:buSzTx/>
              <a:buFontTx/>
            </a:pPr>
            <a:r>
              <a:rPr lang="en-US" altLang="zh-CN" sz="112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（Postgresql15.2）</a:t>
            </a:r>
            <a:r>
              <a:rPr lang="en-US" sz="845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45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Slid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-8"/>
          <p:cNvPicPr/>
          <p:nvPr/>
        </p:nvPicPr>
        <p:blipFill rotWithShape="1">
          <a:blip r:embed="rId1"/>
          <a:stretch>
            <a:fillRect/>
          </a:stretch>
        </p:blipFill>
        <p:spPr>
          <a:xfrm>
            <a:off x="-635" y="-53340"/>
            <a:ext cx="12244070" cy="5984240"/>
          </a:xfrm>
          <a:prstGeom prst="rect">
            <a:avLst/>
          </a:prstGeom>
        </p:spPr>
      </p:pic>
      <p:sp>
        <p:nvSpPr>
          <p:cNvPr id="4" name="text 2 copy 1"/>
          <p:cNvSpPr/>
          <p:nvPr/>
        </p:nvSpPr>
        <p:spPr>
          <a:xfrm>
            <a:off x="963936" y="671073"/>
            <a:ext cx="3581447" cy="642624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l" hangingPunct="0">
              <a:lnSpc>
                <a:spcPct val="100000"/>
              </a:lnSpc>
            </a:pPr>
            <a:r>
              <a:rPr lang="zh-CN" sz="4215" b="1">
                <a:solidFill>
                  <a:srgbClr val="911CDA"/>
                </a:solidFill>
                <a:latin typeface="Montserrat" panose="00000500000000000000"/>
                <a:ea typeface="+mn-ea"/>
                <a:cs typeface="Montserrat" panose="00000500000000000000"/>
              </a:rPr>
              <a:t>团队介绍</a:t>
            </a:r>
            <a:r>
              <a:rPr sz="4215" b="1">
                <a:solidFill>
                  <a:srgbClr val="911CDA"/>
                </a:solidFill>
                <a:latin typeface="Montserrat" panose="00000500000000000000"/>
                <a:ea typeface="+mn-ea"/>
                <a:cs typeface="Montserrat" panose="00000500000000000000"/>
              </a:rPr>
              <a:t>:</a:t>
            </a:r>
            <a:endParaRPr sz="4215" b="1">
              <a:solidFill>
                <a:srgbClr val="911CDA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5" name="text 2"/>
          <p:cNvSpPr/>
          <p:nvPr/>
        </p:nvSpPr>
        <p:spPr>
          <a:xfrm>
            <a:off x="5998880" y="1021541"/>
            <a:ext cx="4366885" cy="642624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l">
              <a:lnSpc>
                <a:spcPct val="130000"/>
              </a:lnSpc>
              <a:spcAft>
                <a:spcPts val="1200"/>
              </a:spcAft>
              <a:buClrTx/>
              <a:buSzTx/>
            </a:pPr>
            <a:r>
              <a:rPr lang="en-US" altLang="zh-CN" sz="1875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vorySQL开发团队由拥有数十年PostgreSQL开发经验的专家领衔</a:t>
            </a:r>
            <a:endParaRPr sz="1875">
              <a:solidFill>
                <a:srgbClr val="292929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6" name="text 2 copy 5"/>
          <p:cNvSpPr/>
          <p:nvPr/>
        </p:nvSpPr>
        <p:spPr>
          <a:xfrm>
            <a:off x="5124450" y="1106805"/>
            <a:ext cx="803910" cy="473075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ctr" hangingPunct="0">
              <a:lnSpc>
                <a:spcPct val="83000"/>
              </a:lnSpc>
              <a:spcBef>
                <a:spcPct val="7000"/>
              </a:spcBef>
            </a:pPr>
            <a:r>
              <a:rPr sz="3725" b="1">
                <a:solidFill>
                  <a:srgbClr val="911CDA"/>
                </a:solidFill>
                <a:latin typeface="Montserrat" panose="00000500000000000000"/>
                <a:ea typeface="+mn-ea"/>
                <a:cs typeface="Montserrat" panose="00000500000000000000"/>
              </a:rPr>
              <a:t>01</a:t>
            </a:r>
            <a:endParaRPr sz="3725" b="1">
              <a:solidFill>
                <a:srgbClr val="911CDA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7" name="text 2 copy 2"/>
          <p:cNvSpPr/>
          <p:nvPr/>
        </p:nvSpPr>
        <p:spPr>
          <a:xfrm>
            <a:off x="5998916" y="2354390"/>
            <a:ext cx="4143690" cy="856832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l">
              <a:lnSpc>
                <a:spcPct val="130000"/>
              </a:lnSpc>
              <a:spcAft>
                <a:spcPts val="1200"/>
              </a:spcAft>
            </a:pPr>
            <a:r>
              <a:rPr lang="zh-CN" altLang="en-US" sz="1875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成员大多数来自瀚高软件内核研发团队</a:t>
            </a:r>
            <a:endParaRPr sz="1875">
              <a:solidFill>
                <a:srgbClr val="292929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8" name="text 2 copy 6"/>
          <p:cNvSpPr/>
          <p:nvPr/>
        </p:nvSpPr>
        <p:spPr>
          <a:xfrm>
            <a:off x="5131435" y="2354580"/>
            <a:ext cx="867410" cy="473075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ctr" hangingPunct="0">
              <a:lnSpc>
                <a:spcPct val="83000"/>
              </a:lnSpc>
              <a:spcBef>
                <a:spcPct val="7000"/>
              </a:spcBef>
            </a:pPr>
            <a:r>
              <a:rPr sz="3725" b="1">
                <a:solidFill>
                  <a:srgbClr val="911CDA"/>
                </a:solidFill>
                <a:latin typeface="Montserrat" panose="00000500000000000000"/>
                <a:ea typeface="+mn-ea"/>
                <a:cs typeface="Montserrat" panose="00000500000000000000"/>
              </a:rPr>
              <a:t>02</a:t>
            </a:r>
            <a:endParaRPr sz="3725" b="1">
              <a:solidFill>
                <a:srgbClr val="911CDA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9" name="text 2 copy 3"/>
          <p:cNvSpPr/>
          <p:nvPr/>
        </p:nvSpPr>
        <p:spPr>
          <a:xfrm>
            <a:off x="5998701" y="3647902"/>
            <a:ext cx="5272641" cy="214208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l" hangingPunct="0">
              <a:lnSpc>
                <a:spcPct val="100000"/>
              </a:lnSpc>
            </a:pPr>
            <a:r>
              <a:rPr lang="zh-CN" altLang="en-US" sz="1875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其余研发团队也会参与</a:t>
            </a:r>
            <a:r>
              <a:rPr lang="en-US" altLang="zh-CN" sz="1875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vorySQL</a:t>
            </a:r>
            <a:r>
              <a:rPr lang="zh-CN" altLang="en-US" sz="1875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方案研究工作</a:t>
            </a:r>
            <a:endParaRPr lang="zh-CN" altLang="en-US" sz="1875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hangingPunct="0">
              <a:lnSpc>
                <a:spcPct val="100000"/>
              </a:lnSpc>
            </a:pPr>
            <a:endParaRPr sz="1875">
              <a:solidFill>
                <a:srgbClr val="292929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  <p:sp>
        <p:nvSpPr>
          <p:cNvPr id="10" name="text 2 copy 7"/>
          <p:cNvSpPr/>
          <p:nvPr/>
        </p:nvSpPr>
        <p:spPr>
          <a:xfrm>
            <a:off x="5130165" y="3609340"/>
            <a:ext cx="797560" cy="473075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algn="ctr" hangingPunct="0">
              <a:lnSpc>
                <a:spcPct val="83000"/>
              </a:lnSpc>
              <a:spcBef>
                <a:spcPct val="7000"/>
              </a:spcBef>
            </a:pPr>
            <a:r>
              <a:rPr sz="3725" b="1">
                <a:solidFill>
                  <a:srgbClr val="911CDA"/>
                </a:solidFill>
                <a:latin typeface="Montserrat" panose="00000500000000000000"/>
                <a:ea typeface="+mn-ea"/>
                <a:cs typeface="Montserrat" panose="00000500000000000000"/>
              </a:rPr>
              <a:t>03</a:t>
            </a:r>
            <a:endParaRPr sz="3725" b="1">
              <a:solidFill>
                <a:srgbClr val="911CDA"/>
              </a:solidFill>
              <a:latin typeface="Montserrat" panose="00000500000000000000"/>
              <a:ea typeface="+mn-ea"/>
              <a:cs typeface="Montserrat" panose="0000050000000000000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vorySQL V2.</a:t>
            </a:r>
            <a:r>
              <a:rPr lang="en-US" altLang="zh-CN" spc="3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</a:t>
            </a:r>
            <a:endParaRPr lang="zh-CN" altLang="en-US"/>
          </a:p>
        </p:txBody>
      </p:sp>
      <p:pic>
        <p:nvPicPr>
          <p:cNvPr id="5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941070" y="1364615"/>
            <a:ext cx="9434195" cy="5417185"/>
          </a:xfrm>
          <a:prstGeom prst="rect">
            <a:avLst/>
          </a:prstGeom>
        </p:spPr>
      </p:pic>
      <p:graphicFrame>
        <p:nvGraphicFramePr>
          <p:cNvPr id="9" name="Google Shape;130;g1057c05bba8_1_20"/>
          <p:cNvGraphicFramePr/>
          <p:nvPr>
            <p:custDataLst>
              <p:tags r:id="rId3"/>
            </p:custDataLst>
          </p:nvPr>
        </p:nvGraphicFramePr>
        <p:xfrm>
          <a:off x="1304925" y="1807845"/>
          <a:ext cx="8402320" cy="46443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源代码库</a:t>
            </a:r>
            <a:endParaRPr lang="zh-CN" altLang="en-US"/>
          </a:p>
        </p:txBody>
      </p:sp>
      <p:pic>
        <p:nvPicPr>
          <p:cNvPr id="6" name="Shape-8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174625" y="1166495"/>
            <a:ext cx="11576685" cy="5515610"/>
          </a:xfrm>
          <a:prstGeom prst="rect">
            <a:avLst/>
          </a:prstGeom>
        </p:spPr>
      </p:pic>
      <p:sp>
        <p:nvSpPr>
          <p:cNvPr id="128" name="Google Shape;128;g1057c05bba8_1_20"/>
          <p:cNvSpPr txBox="1"/>
          <p:nvPr>
            <p:custDataLst>
              <p:tags r:id="rId3"/>
            </p:custDataLst>
          </p:nvPr>
        </p:nvSpPr>
        <p:spPr>
          <a:xfrm>
            <a:off x="371475" y="1179830"/>
            <a:ext cx="3971290" cy="546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5669" tIns="42822" rIns="85669" bIns="42822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875" b="1" i="0" u="none" strike="noStrike" cap="none" dirty="0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30" name="Google Shape;130;g1057c05bba8_1_20"/>
          <p:cNvSpPr txBox="1"/>
          <p:nvPr>
            <p:custDataLst>
              <p:tags r:id="rId4"/>
            </p:custDataLst>
          </p:nvPr>
        </p:nvSpPr>
        <p:spPr>
          <a:xfrm>
            <a:off x="174625" y="1726565"/>
            <a:ext cx="5551805" cy="326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5669" tIns="42822" rIns="85669" bIns="42822" anchor="t" anchorCtr="0">
            <a:normAutofit fontScale="92500"/>
          </a:bodyPr>
          <a:lstStyle/>
          <a:p>
            <a:pPr marL="101600"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en-US" altLang="zh-CN" sz="2625" b="1" dirty="0"/>
              <a:t>GitHub</a:t>
            </a:r>
            <a:br>
              <a:rPr lang="en-US" altLang="zh-CN" sz="2625" dirty="0">
                <a:solidFill>
                  <a:srgbClr val="E0620E"/>
                </a:solidFill>
              </a:rPr>
            </a:br>
            <a:r>
              <a:rPr lang="en-US" altLang="zh-CN" sz="2625" dirty="0">
                <a:solidFill>
                  <a:srgbClr val="E0620E"/>
                </a:solidFill>
                <a:hlinkClick r:id="rId5"/>
              </a:rPr>
              <a:t>https://github.com/IvorySQL/IvorySQL</a:t>
            </a:r>
            <a:r>
              <a:rPr lang="en-US" altLang="zh-CN" sz="2625" dirty="0">
                <a:solidFill>
                  <a:srgbClr val="E0620E"/>
                </a:solidFill>
              </a:rPr>
              <a:t> </a:t>
            </a:r>
            <a:br>
              <a:rPr lang="en-US" altLang="zh-CN" sz="2625" dirty="0">
                <a:solidFill>
                  <a:srgbClr val="E0620E"/>
                </a:solidFill>
              </a:rPr>
            </a:br>
            <a:r>
              <a:rPr lang="en-US" altLang="zh-CN" sz="2625" dirty="0">
                <a:solidFill>
                  <a:srgbClr val="E0620E"/>
                </a:solidFill>
                <a:hlinkClick r:id="rId6"/>
              </a:rPr>
              <a:t>https://github.com/IvorySQL/Ivory-www</a:t>
            </a:r>
            <a:endParaRPr lang="en-US" altLang="zh-CN" sz="2625" dirty="0">
              <a:solidFill>
                <a:srgbClr val="E0620E"/>
              </a:solidFill>
            </a:endParaRPr>
          </a:p>
          <a:p>
            <a:pPr marL="101600"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en-US" altLang="zh-CN" sz="2625" dirty="0">
                <a:solidFill>
                  <a:srgbClr val="E0620E"/>
                </a:solidFill>
              </a:rPr>
              <a:t> </a:t>
            </a:r>
            <a:endParaRPr lang="en-US" altLang="zh-CN" sz="2625" dirty="0">
              <a:solidFill>
                <a:srgbClr val="E0620E"/>
              </a:solidFill>
            </a:endParaRPr>
          </a:p>
          <a:p>
            <a:pPr marL="101600"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</a:pPr>
            <a:r>
              <a:rPr lang="en-US" altLang="zh-CN" sz="2625" b="1" dirty="0" err="1"/>
              <a:t>Gittee</a:t>
            </a:r>
            <a:br>
              <a:rPr lang="en-US" altLang="zh-CN" sz="2625" dirty="0">
                <a:solidFill>
                  <a:srgbClr val="E0620E"/>
                </a:solidFill>
              </a:rPr>
            </a:br>
            <a:r>
              <a:rPr lang="en-US" altLang="zh-CN" sz="2625" dirty="0">
                <a:solidFill>
                  <a:srgbClr val="E0620E"/>
                </a:solidFill>
                <a:hlinkClick r:id="rId7"/>
              </a:rPr>
              <a:t>https://gitee.com/IvorySQL/IvorySQL</a:t>
            </a:r>
            <a:br>
              <a:rPr lang="en-US" altLang="zh-CN" sz="2625" dirty="0">
                <a:solidFill>
                  <a:srgbClr val="E0620E"/>
                </a:solidFill>
              </a:rPr>
            </a:br>
            <a:r>
              <a:rPr lang="en-US" altLang="zh-CN" sz="2625" dirty="0">
                <a:solidFill>
                  <a:srgbClr val="E0620E"/>
                </a:solidFill>
                <a:hlinkClick r:id="rId8"/>
              </a:rPr>
              <a:t>https://gitee.com/IvorySQL/Ivory-www</a:t>
            </a:r>
            <a:endParaRPr lang="en-US" altLang="zh-CN" sz="2625" dirty="0">
              <a:solidFill>
                <a:srgbClr val="E0620E"/>
              </a:solidFill>
            </a:endParaRPr>
          </a:p>
          <a:p>
            <a:pPr marL="914400" marR="0" lvl="1" indent="-355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endParaRPr lang="zh-CN" altLang="en-US" sz="1500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726430" y="2054860"/>
            <a:ext cx="5845175" cy="363601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Shape-8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635" y="-53340"/>
            <a:ext cx="12242165" cy="6009640"/>
          </a:xfrm>
          <a:prstGeom prst="rect">
            <a:avLst/>
          </a:prstGeom>
        </p:spPr>
      </p:pic>
      <p:sp>
        <p:nvSpPr>
          <p:cNvPr id="144" name="Google Shape;144;g1057c05bba8_0_37"/>
          <p:cNvSpPr txBox="1"/>
          <p:nvPr>
            <p:custDataLst>
              <p:tags r:id="rId3"/>
            </p:custDataLst>
          </p:nvPr>
        </p:nvSpPr>
        <p:spPr>
          <a:xfrm>
            <a:off x="539683" y="836560"/>
            <a:ext cx="10167567" cy="570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5669" tIns="42822" rIns="85669" bIns="42822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sz="2625" b="1" spc="3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vorySQL发展路线</a:t>
            </a:r>
            <a:endParaRPr lang="zh-CN" altLang="en-US" sz="2625" b="1" i="0" u="none" strike="noStrike" cap="none" spc="3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5" name="矩形 4"/>
          <p:cNvSpPr/>
          <p:nvPr>
            <p:custDataLst>
              <p:tags r:id="rId4"/>
            </p:custDataLst>
          </p:nvPr>
        </p:nvSpPr>
        <p:spPr>
          <a:xfrm>
            <a:off x="7645251" y="2243418"/>
            <a:ext cx="3272152" cy="3333611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5683" tIns="42841" rIns="85683" bIns="42841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875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>
            <p:custDataLst>
              <p:tags r:id="rId5"/>
            </p:custDataLst>
          </p:nvPr>
        </p:nvSpPr>
        <p:spPr>
          <a:xfrm>
            <a:off x="4203644" y="2243418"/>
            <a:ext cx="3272152" cy="3333611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5683" tIns="42841" rIns="85683" bIns="42841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875" dirty="0">
              <a:solidFill>
                <a:schemeClr val="tx1"/>
              </a:solidFill>
            </a:endParaRPr>
          </a:p>
        </p:txBody>
      </p:sp>
      <p:sp>
        <p:nvSpPr>
          <p:cNvPr id="7" name="矩形 6"/>
          <p:cNvSpPr/>
          <p:nvPr>
            <p:custDataLst>
              <p:tags r:id="rId6"/>
            </p:custDataLst>
          </p:nvPr>
        </p:nvSpPr>
        <p:spPr>
          <a:xfrm>
            <a:off x="762037" y="2243418"/>
            <a:ext cx="3272152" cy="3333611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5683" tIns="42841" rIns="85683" bIns="42841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875" dirty="0">
              <a:solidFill>
                <a:schemeClr val="tx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027264" y="1759458"/>
            <a:ext cx="2226413" cy="1518009"/>
            <a:chOff x="693291" y="1473296"/>
            <a:chExt cx="2376000" cy="1620000"/>
          </a:xfrm>
        </p:grpSpPr>
        <p:sp>
          <p:nvSpPr>
            <p:cNvPr id="10" name="圆角矩形 9"/>
            <p:cNvSpPr/>
            <p:nvPr>
              <p:custDataLst>
                <p:tags r:id="rId7"/>
              </p:custDataLst>
            </p:nvPr>
          </p:nvSpPr>
          <p:spPr>
            <a:xfrm>
              <a:off x="693291" y="1473296"/>
              <a:ext cx="2376000" cy="1620000"/>
            </a:xfrm>
            <a:prstGeom prst="roundRect">
              <a:avLst>
                <a:gd name="adj" fmla="val 0"/>
              </a:avLst>
            </a:prstGeom>
            <a:solidFill>
              <a:srgbClr val="A4B9EE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875" spc="3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文本框 10"/>
            <p:cNvSpPr txBox="1"/>
            <p:nvPr>
              <p:custDataLst>
                <p:tags r:id="rId8"/>
              </p:custDataLst>
            </p:nvPr>
          </p:nvSpPr>
          <p:spPr>
            <a:xfrm>
              <a:off x="956388" y="2235747"/>
              <a:ext cx="1214374" cy="4059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875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内部规划</a:t>
              </a:r>
              <a:endParaRPr lang="zh-CN" altLang="en-US" sz="1875" b="1" spc="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/>
            <p:cNvSpPr txBox="1"/>
            <p:nvPr>
              <p:custDataLst>
                <p:tags r:id="rId9"/>
              </p:custDataLst>
            </p:nvPr>
          </p:nvSpPr>
          <p:spPr>
            <a:xfrm>
              <a:off x="956388" y="1702919"/>
              <a:ext cx="1794603" cy="651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375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37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4469291" y="1759458"/>
            <a:ext cx="2226413" cy="1518009"/>
            <a:chOff x="691877" y="3183936"/>
            <a:chExt cx="2376000" cy="1620000"/>
          </a:xfrm>
        </p:grpSpPr>
        <p:sp>
          <p:nvSpPr>
            <p:cNvPr id="49" name="圆角矩形 48"/>
            <p:cNvSpPr/>
            <p:nvPr>
              <p:custDataLst>
                <p:tags r:id="rId10"/>
              </p:custDataLst>
            </p:nvPr>
          </p:nvSpPr>
          <p:spPr>
            <a:xfrm>
              <a:off x="691877" y="3183936"/>
              <a:ext cx="2376000" cy="1620000"/>
            </a:xfrm>
            <a:prstGeom prst="roundRect">
              <a:avLst>
                <a:gd name="adj" fmla="val 0"/>
              </a:avLst>
            </a:prstGeom>
            <a:solidFill>
              <a:srgbClr val="FFD966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875" spc="3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文本框 49"/>
            <p:cNvSpPr txBox="1"/>
            <p:nvPr>
              <p:custDataLst>
                <p:tags r:id="rId11"/>
              </p:custDataLst>
            </p:nvPr>
          </p:nvSpPr>
          <p:spPr>
            <a:xfrm>
              <a:off x="924494" y="3998442"/>
              <a:ext cx="1214374" cy="4059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875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外部建议</a:t>
              </a:r>
              <a:endParaRPr lang="zh-CN" altLang="en-US" sz="1875" b="1" spc="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文本框 50"/>
            <p:cNvSpPr txBox="1"/>
            <p:nvPr>
              <p:custDataLst>
                <p:tags r:id="rId12"/>
              </p:custDataLst>
            </p:nvPr>
          </p:nvSpPr>
          <p:spPr>
            <a:xfrm>
              <a:off x="924494" y="3460805"/>
              <a:ext cx="704771" cy="651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3375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37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7911320" y="1759458"/>
            <a:ext cx="2249274" cy="1518009"/>
            <a:chOff x="693290" y="4907376"/>
            <a:chExt cx="2400397" cy="1620000"/>
          </a:xfrm>
        </p:grpSpPr>
        <p:sp>
          <p:nvSpPr>
            <p:cNvPr id="53" name="圆角矩形 52"/>
            <p:cNvSpPr/>
            <p:nvPr>
              <p:custDataLst>
                <p:tags r:id="rId13"/>
              </p:custDataLst>
            </p:nvPr>
          </p:nvSpPr>
          <p:spPr>
            <a:xfrm>
              <a:off x="693290" y="4907376"/>
              <a:ext cx="2400397" cy="1620000"/>
            </a:xfrm>
            <a:prstGeom prst="roundRect">
              <a:avLst>
                <a:gd name="adj" fmla="val 0"/>
              </a:avLst>
            </a:prstGeom>
            <a:solidFill>
              <a:srgbClr val="A4B9EE"/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875" spc="3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文本框 53"/>
            <p:cNvSpPr txBox="1"/>
            <p:nvPr>
              <p:custDataLst>
                <p:tags r:id="rId14"/>
              </p:custDataLst>
            </p:nvPr>
          </p:nvSpPr>
          <p:spPr>
            <a:xfrm>
              <a:off x="925908" y="5715547"/>
              <a:ext cx="1377013" cy="4059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75" b="1" spc="3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市场反馈</a:t>
              </a:r>
              <a:endParaRPr lang="zh-CN" altLang="en-US" sz="1875" b="1" spc="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文本框 54"/>
            <p:cNvSpPr txBox="1"/>
            <p:nvPr>
              <p:custDataLst>
                <p:tags r:id="rId15"/>
              </p:custDataLst>
            </p:nvPr>
          </p:nvSpPr>
          <p:spPr>
            <a:xfrm>
              <a:off x="925908" y="5182719"/>
              <a:ext cx="2033160" cy="651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375" b="1" dirty="0"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37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文本框 55"/>
          <p:cNvSpPr txBox="1"/>
          <p:nvPr>
            <p:custDataLst>
              <p:tags r:id="rId16"/>
            </p:custDataLst>
          </p:nvPr>
        </p:nvSpPr>
        <p:spPr>
          <a:xfrm>
            <a:off x="1025818" y="3468866"/>
            <a:ext cx="2482432" cy="16678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 fontAlgn="auto">
              <a:lnSpc>
                <a:spcPts val="2500"/>
              </a:lnSpc>
              <a:spcAft>
                <a:spcPts val="1200"/>
              </a:spcAft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基于一些经验积累，从内部进行了研发规划，</a:t>
            </a:r>
            <a:r>
              <a:rPr lang="zh-CN" altLang="en-US" sz="150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目前的内部来看主要是数据类型和</a:t>
            </a:r>
            <a:r>
              <a:rPr lang="en-US" altLang="zh-CN" sz="150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SQL</a:t>
            </a:r>
            <a:r>
              <a:rPr lang="zh-CN" altLang="en-US" sz="150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层兼容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57" name="文本框 56"/>
          <p:cNvSpPr txBox="1"/>
          <p:nvPr>
            <p:custDataLst>
              <p:tags r:id="rId17"/>
            </p:custDataLst>
          </p:nvPr>
        </p:nvSpPr>
        <p:spPr>
          <a:xfrm>
            <a:off x="4543588" y="3468866"/>
            <a:ext cx="2525273" cy="16684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 fontAlgn="auto">
              <a:lnSpc>
                <a:spcPts val="2500"/>
              </a:lnSpc>
              <a:spcAft>
                <a:spcPts val="1200"/>
              </a:spcAft>
            </a:pPr>
            <a:r>
              <a:rPr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从github上去接收一些意见或者建议，通过分析整理汇总纳入到ivorysql研发规划中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58" name="文本框 57"/>
          <p:cNvSpPr txBox="1"/>
          <p:nvPr>
            <p:custDataLst>
              <p:tags r:id="rId18"/>
            </p:custDataLst>
          </p:nvPr>
        </p:nvSpPr>
        <p:spPr>
          <a:xfrm>
            <a:off x="7920932" y="3468866"/>
            <a:ext cx="2632377" cy="1900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indent="0" fontAlgn="auto">
              <a:lnSpc>
                <a:spcPct val="130000"/>
              </a:lnSpc>
              <a:spcAft>
                <a:spcPts val="1200"/>
              </a:spcAft>
            </a:pPr>
            <a:r>
              <a:rPr lang="zh-CN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实际使用的组织或者个人所反馈的信息，调整开发计划</a:t>
            </a:r>
            <a:endParaRPr lang="zh-CN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/>
              <a:t>IvorySQL 2</a:t>
            </a:r>
            <a:r>
              <a:rPr lang="zh-CN" altLang="en-US"/>
              <a:t>整体架构</a:t>
            </a:r>
            <a:endParaRPr lang="zh-CN" altLang="en-US"/>
          </a:p>
        </p:txBody>
      </p:sp>
      <p:pic>
        <p:nvPicPr>
          <p:cNvPr id="9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650875" y="1238250"/>
            <a:ext cx="10365105" cy="538035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133600" y="1299210"/>
            <a:ext cx="7665085" cy="469265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Oracle-PL/iSQL languag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669925" y="1152525"/>
            <a:ext cx="9353550" cy="548830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709920" y="2338070"/>
            <a:ext cx="5857240" cy="3034030"/>
          </a:xfrm>
          <a:prstGeom prst="rect">
            <a:avLst/>
          </a:prstGeom>
        </p:spPr>
      </p:pic>
      <p:sp>
        <p:nvSpPr>
          <p:cNvPr id="8" name="文本框 7"/>
          <p:cNvSpPr txBox="1"/>
          <p:nvPr>
            <p:custDataLst>
              <p:tags r:id="rId5"/>
            </p:custDataLst>
          </p:nvPr>
        </p:nvSpPr>
        <p:spPr>
          <a:xfrm>
            <a:off x="1151255" y="1948815"/>
            <a:ext cx="4204970" cy="4416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fontAlgn="auto">
              <a:lnSpc>
                <a:spcPct val="130000"/>
              </a:lnSpc>
              <a:spcAft>
                <a:spcPts val="1200"/>
              </a:spcAft>
              <a:buClrTx/>
              <a:buSzTx/>
              <a:buFontTx/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en-US" altLang="zh-CN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L/iSQL是从PL/pgSQL克隆而来的，在体系结构和设计上与PL/pgSQL完全相同。其目的是为Oracle的PL/SQL提供语法和功能兼容。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fontAlgn="auto">
              <a:lnSpc>
                <a:spcPct val="13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类型：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fontAlgn="auto">
              <a:lnSpc>
                <a:spcPct val="13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ACKAGES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85750" indent="-285750" algn="l" fontAlgn="auto">
              <a:lnSpc>
                <a:spcPct val="130000"/>
              </a:lnSpc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ROCEDURES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 fontAlgn="auto">
              <a:lnSpc>
                <a:spcPct val="130000"/>
              </a:lnSpc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UNCTIONS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 fontAlgn="auto">
              <a:lnSpc>
                <a:spcPct val="130000"/>
              </a:lnSpc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rgbClr val="7030A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RIGGERS</a:t>
            </a: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fontAlgn="auto">
              <a:lnSpc>
                <a:spcPct val="13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zh-CN" altLang="en-US" sz="1500" dirty="0">
              <a:solidFill>
                <a:srgbClr val="7030A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标题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Shape-8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-113030" y="-58420"/>
            <a:ext cx="13284200" cy="691642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custDataLst>
              <p:tags r:id="rId3"/>
            </p:custDataLst>
          </p:nvPr>
        </p:nvSpPr>
        <p:spPr>
          <a:xfrm>
            <a:off x="828040" y="360045"/>
            <a:ext cx="6082665" cy="64389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 panose="020B0604020202020204"/>
              <a:buNone/>
              <a:defRPr sz="32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lvl="0" algn="l"/>
            <a:r>
              <a:rPr lang="zh-CN" altLang="en-US" sz="2800" spc="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Oracle兼容</a:t>
            </a:r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</a:t>
            </a:r>
            <a:r>
              <a:rPr lang="zh-CN" altLang="en-US" sz="2800" spc="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Package</a:t>
            </a:r>
            <a:endParaRPr lang="en-CA" sz="2800" b="0" dirty="0">
              <a:solidFill>
                <a:srgbClr val="172B4D"/>
              </a:solidFill>
              <a:effectLst/>
              <a:latin typeface="+mn-lt"/>
              <a:ea typeface="+mn-lt"/>
              <a:sym typeface="+mn-ea"/>
            </a:endParaRPr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7805" y="1264285"/>
            <a:ext cx="6941820" cy="4329430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619387" y="1183005"/>
            <a:ext cx="6657340" cy="53149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ym typeface="+mn-ea"/>
              </a:rPr>
              <a:t>IvorySQL 3</a:t>
            </a:r>
            <a:r>
              <a:rPr lang="zh-CN" altLang="en-US"/>
              <a:t>整体架构</a:t>
            </a:r>
            <a:endParaRPr lang="zh-CN" altLang="en-US"/>
          </a:p>
        </p:txBody>
      </p:sp>
      <p:pic>
        <p:nvPicPr>
          <p:cNvPr id="9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650875" y="1238250"/>
            <a:ext cx="10365105" cy="5380355"/>
          </a:xfrm>
          <a:prstGeom prst="rect">
            <a:avLst/>
          </a:prstGeom>
        </p:spPr>
      </p:pic>
      <p:sp>
        <p:nvSpPr>
          <p:cNvPr id="13" name="矩形 12"/>
          <p:cNvSpPr/>
          <p:nvPr>
            <p:custDataLst>
              <p:tags r:id="rId3"/>
            </p:custDataLst>
          </p:nvPr>
        </p:nvSpPr>
        <p:spPr>
          <a:xfrm>
            <a:off x="2078412" y="1565986"/>
            <a:ext cx="1107931" cy="26240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G工具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" name="矩形 13"/>
          <p:cNvSpPr/>
          <p:nvPr>
            <p:custDataLst>
              <p:tags r:id="rId4"/>
            </p:custDataLst>
          </p:nvPr>
        </p:nvSpPr>
        <p:spPr>
          <a:xfrm>
            <a:off x="3470763" y="1565986"/>
            <a:ext cx="1326304" cy="26240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Oracle应用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15" name="直接连接符 14"/>
          <p:cNvCxnSpPr/>
          <p:nvPr>
            <p:custDataLst>
              <p:tags r:id="rId5"/>
            </p:custDataLst>
          </p:nvPr>
        </p:nvCxnSpPr>
        <p:spPr>
          <a:xfrm>
            <a:off x="1877889" y="1979527"/>
            <a:ext cx="8722427" cy="422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>
            <p:custDataLst>
              <p:tags r:id="rId6"/>
            </p:custDataLst>
          </p:nvPr>
        </p:nvSpPr>
        <p:spPr>
          <a:xfrm>
            <a:off x="2078412" y="2426983"/>
            <a:ext cx="1107931" cy="615848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G SQL解析器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17" name="直接箭头连接符 16"/>
          <p:cNvCxnSpPr>
            <a:stCxn id="13" idx="2"/>
            <a:endCxn id="16" idx="0"/>
          </p:cNvCxnSpPr>
          <p:nvPr>
            <p:custDataLst>
              <p:tags r:id="rId7"/>
            </p:custDataLst>
          </p:nvPr>
        </p:nvCxnSpPr>
        <p:spPr>
          <a:xfrm>
            <a:off x="2632377" y="1828391"/>
            <a:ext cx="0" cy="598592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/>
          <p:cNvSpPr txBox="1"/>
          <p:nvPr>
            <p:custDataLst>
              <p:tags r:id="rId8"/>
            </p:custDataLst>
          </p:nvPr>
        </p:nvSpPr>
        <p:spPr>
          <a:xfrm>
            <a:off x="1877695" y="2098675"/>
            <a:ext cx="704215" cy="306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/>
              <a:t>5432</a:t>
            </a:r>
            <a:endParaRPr lang="en-US" altLang="zh-CN" sz="1400"/>
          </a:p>
        </p:txBody>
      </p:sp>
      <p:sp>
        <p:nvSpPr>
          <p:cNvPr id="19" name="矩形 18"/>
          <p:cNvSpPr/>
          <p:nvPr>
            <p:custDataLst>
              <p:tags r:id="rId9"/>
            </p:custDataLst>
          </p:nvPr>
        </p:nvSpPr>
        <p:spPr>
          <a:xfrm>
            <a:off x="3444582" y="2426983"/>
            <a:ext cx="1383426" cy="615848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>
                <a:solidFill>
                  <a:schemeClr val="bg1"/>
                </a:solidFill>
              </a:rPr>
              <a:t>Oracle SQL</a:t>
            </a:r>
            <a:endParaRPr lang="en-US" altLang="zh-CN" sz="1400">
              <a:solidFill>
                <a:schemeClr val="bg1"/>
              </a:solidFill>
            </a:endParaRPr>
          </a:p>
          <a:p>
            <a:pPr algn="ctr"/>
            <a:r>
              <a:rPr lang="zh-CN" altLang="en-US" sz="1400">
                <a:solidFill>
                  <a:schemeClr val="bg1"/>
                </a:solidFill>
              </a:rPr>
              <a:t>解析器</a:t>
            </a:r>
            <a:endParaRPr lang="zh-CN" altLang="en-US" sz="1400">
              <a:solidFill>
                <a:schemeClr val="bg1"/>
              </a:solidFill>
            </a:endParaRPr>
          </a:p>
        </p:txBody>
      </p:sp>
      <p:cxnSp>
        <p:nvCxnSpPr>
          <p:cNvPr id="20" name="直接箭头连接符 19"/>
          <p:cNvCxnSpPr>
            <a:stCxn id="14" idx="2"/>
            <a:endCxn id="19" idx="0"/>
          </p:cNvCxnSpPr>
          <p:nvPr>
            <p:custDataLst>
              <p:tags r:id="rId10"/>
            </p:custDataLst>
          </p:nvPr>
        </p:nvCxnSpPr>
        <p:spPr>
          <a:xfrm>
            <a:off x="4134213" y="1828391"/>
            <a:ext cx="2380" cy="598592"/>
          </a:xfrm>
          <a:prstGeom prst="straightConnector1">
            <a:avLst/>
          </a:prstGeom>
          <a:ln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>
            <p:custDataLst>
              <p:tags r:id="rId11"/>
            </p:custDataLst>
          </p:nvPr>
        </p:nvSpPr>
        <p:spPr>
          <a:xfrm>
            <a:off x="3445510" y="2098675"/>
            <a:ext cx="629920" cy="306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/>
              <a:t>1521</a:t>
            </a:r>
            <a:endParaRPr lang="en-US" altLang="zh-CN" sz="1400"/>
          </a:p>
        </p:txBody>
      </p:sp>
      <p:sp>
        <p:nvSpPr>
          <p:cNvPr id="22" name="矩形 21"/>
          <p:cNvSpPr/>
          <p:nvPr>
            <p:custDataLst>
              <p:tags r:id="rId12"/>
            </p:custDataLst>
          </p:nvPr>
        </p:nvSpPr>
        <p:spPr>
          <a:xfrm>
            <a:off x="2078412" y="3469461"/>
            <a:ext cx="2749596" cy="615848"/>
          </a:xfrm>
          <a:prstGeom prst="rect">
            <a:avLst/>
          </a:prstGeom>
          <a:solidFill>
            <a:srgbClr val="F9CD88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>
                <a:solidFill>
                  <a:schemeClr val="bg1"/>
                </a:solidFill>
              </a:rPr>
              <a:t>查询重写</a:t>
            </a:r>
            <a:endParaRPr lang="zh-CN" altLang="en-US" sz="1400">
              <a:solidFill>
                <a:schemeClr val="bg1"/>
              </a:solidFill>
            </a:endParaRPr>
          </a:p>
        </p:txBody>
      </p:sp>
      <p:sp>
        <p:nvSpPr>
          <p:cNvPr id="23" name="矩形 22"/>
          <p:cNvSpPr/>
          <p:nvPr>
            <p:custDataLst>
              <p:tags r:id="rId13"/>
            </p:custDataLst>
          </p:nvPr>
        </p:nvSpPr>
        <p:spPr>
          <a:xfrm>
            <a:off x="2078412" y="4091854"/>
            <a:ext cx="2749596" cy="615848"/>
          </a:xfrm>
          <a:prstGeom prst="rect">
            <a:avLst/>
          </a:prstGeom>
          <a:solidFill>
            <a:srgbClr val="F9CD88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查询优化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24" name="矩形 23"/>
          <p:cNvSpPr/>
          <p:nvPr>
            <p:custDataLst>
              <p:tags r:id="rId14"/>
            </p:custDataLst>
          </p:nvPr>
        </p:nvSpPr>
        <p:spPr>
          <a:xfrm>
            <a:off x="2078412" y="4701157"/>
            <a:ext cx="2749596" cy="615848"/>
          </a:xfrm>
          <a:prstGeom prst="rect">
            <a:avLst/>
          </a:prstGeom>
          <a:solidFill>
            <a:srgbClr val="F9CD88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查询执行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25" name="直接箭头连接符 24"/>
          <p:cNvCxnSpPr/>
          <p:nvPr>
            <p:custDataLst>
              <p:tags r:id="rId15"/>
            </p:custDataLst>
          </p:nvPr>
        </p:nvCxnSpPr>
        <p:spPr>
          <a:xfrm flipH="1">
            <a:off x="2628212" y="3042831"/>
            <a:ext cx="4165" cy="4218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>
            <p:custDataLst>
              <p:tags r:id="rId16"/>
            </p:custDataLst>
          </p:nvPr>
        </p:nvCxnSpPr>
        <p:spPr>
          <a:xfrm flipH="1">
            <a:off x="4136593" y="3054136"/>
            <a:ext cx="4165" cy="4218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>
            <p:custDataLst>
              <p:tags r:id="rId17"/>
            </p:custDataLst>
          </p:nvPr>
        </p:nvCxnSpPr>
        <p:spPr>
          <a:xfrm flipH="1">
            <a:off x="2513373" y="5324145"/>
            <a:ext cx="4165" cy="4218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/>
          <p:cNvCxnSpPr/>
          <p:nvPr>
            <p:custDataLst>
              <p:tags r:id="rId18"/>
            </p:custDataLst>
          </p:nvPr>
        </p:nvCxnSpPr>
        <p:spPr>
          <a:xfrm flipH="1">
            <a:off x="3363659" y="5324145"/>
            <a:ext cx="4165" cy="4218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>
            <p:custDataLst>
              <p:tags r:id="rId19"/>
            </p:custDataLst>
          </p:nvPr>
        </p:nvCxnSpPr>
        <p:spPr>
          <a:xfrm flipH="1">
            <a:off x="4294273" y="5324145"/>
            <a:ext cx="4165" cy="4218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圆柱形 29"/>
          <p:cNvSpPr/>
          <p:nvPr>
            <p:custDataLst>
              <p:tags r:id="rId20"/>
            </p:custDataLst>
          </p:nvPr>
        </p:nvSpPr>
        <p:spPr>
          <a:xfrm>
            <a:off x="2155170" y="5753156"/>
            <a:ext cx="2539554" cy="658094"/>
          </a:xfrm>
          <a:prstGeom prst="can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1" name="文本框 30"/>
          <p:cNvSpPr txBox="1"/>
          <p:nvPr>
            <p:custDataLst>
              <p:tags r:id="rId21"/>
            </p:custDataLst>
          </p:nvPr>
        </p:nvSpPr>
        <p:spPr>
          <a:xfrm>
            <a:off x="2449110" y="5985809"/>
            <a:ext cx="1937987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>
                <a:solidFill>
                  <a:schemeClr val="bg1"/>
                </a:solidFill>
              </a:rPr>
              <a:t>存储管理</a:t>
            </a:r>
            <a:r>
              <a:rPr lang="en-US" altLang="zh-CN" sz="1000">
                <a:solidFill>
                  <a:schemeClr val="bg1"/>
                </a:solidFill>
              </a:rPr>
              <a:t>|</a:t>
            </a:r>
            <a:r>
              <a:rPr lang="zh-CN" altLang="en-US" sz="1000">
                <a:solidFill>
                  <a:schemeClr val="bg1"/>
                </a:solidFill>
              </a:rPr>
              <a:t>缓存区管理</a:t>
            </a:r>
            <a:r>
              <a:rPr lang="en-US" altLang="zh-CN" sz="1000">
                <a:solidFill>
                  <a:schemeClr val="bg1"/>
                </a:solidFill>
              </a:rPr>
              <a:t>|</a:t>
            </a:r>
            <a:r>
              <a:rPr lang="zh-CN" altLang="en-US" sz="1000">
                <a:solidFill>
                  <a:schemeClr val="bg1"/>
                </a:solidFill>
              </a:rPr>
              <a:t>事务管理</a:t>
            </a:r>
            <a:endParaRPr lang="zh-CN" altLang="en-US" sz="1000">
              <a:solidFill>
                <a:schemeClr val="bg1"/>
              </a:solidFill>
            </a:endParaRPr>
          </a:p>
          <a:p>
            <a:pPr algn="ctr"/>
            <a:r>
              <a:rPr lang="zh-CN" altLang="en-US" sz="1000">
                <a:solidFill>
                  <a:schemeClr val="bg1"/>
                </a:solidFill>
              </a:rPr>
              <a:t>日志管理</a:t>
            </a:r>
            <a:r>
              <a:rPr lang="en-US" altLang="zh-CN" sz="1000">
                <a:solidFill>
                  <a:schemeClr val="bg1"/>
                </a:solidFill>
              </a:rPr>
              <a:t>|</a:t>
            </a:r>
            <a:r>
              <a:rPr lang="zh-CN" altLang="en-US" sz="1000">
                <a:solidFill>
                  <a:schemeClr val="bg1"/>
                </a:solidFill>
              </a:rPr>
              <a:t>并发控制</a:t>
            </a:r>
            <a:r>
              <a:rPr lang="en-US" altLang="zh-CN" sz="1000">
                <a:solidFill>
                  <a:schemeClr val="bg1"/>
                </a:solidFill>
              </a:rPr>
              <a:t>|</a:t>
            </a:r>
            <a:r>
              <a:rPr lang="zh-CN" altLang="en-US" sz="1000">
                <a:solidFill>
                  <a:schemeClr val="bg1"/>
                </a:solidFill>
              </a:rPr>
              <a:t>锁管理</a:t>
            </a:r>
            <a:endParaRPr lang="zh-CN" altLang="en-US" sz="1000">
              <a:solidFill>
                <a:schemeClr val="bg1"/>
              </a:solidFill>
            </a:endParaRPr>
          </a:p>
        </p:txBody>
      </p:sp>
      <p:sp>
        <p:nvSpPr>
          <p:cNvPr id="32" name="矩形 31"/>
          <p:cNvSpPr/>
          <p:nvPr>
            <p:custDataLst>
              <p:tags r:id="rId22"/>
            </p:custDataLst>
          </p:nvPr>
        </p:nvSpPr>
        <p:spPr>
          <a:xfrm>
            <a:off x="5557505" y="2438288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L/pgSQL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3" name="矩形 32"/>
          <p:cNvSpPr/>
          <p:nvPr>
            <p:custDataLst>
              <p:tags r:id="rId23"/>
            </p:custDataLst>
          </p:nvPr>
        </p:nvSpPr>
        <p:spPr>
          <a:xfrm>
            <a:off x="5557505" y="2841713"/>
            <a:ext cx="1511951" cy="403425"/>
          </a:xfrm>
          <a:prstGeom prst="rect">
            <a:avLst/>
          </a:prstGeom>
          <a:solidFill>
            <a:srgbClr val="92D050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>
                <a:solidFill>
                  <a:schemeClr val="bg1"/>
                </a:solidFill>
              </a:rPr>
              <a:t>PL/iSQL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34" name="矩形 33"/>
          <p:cNvSpPr/>
          <p:nvPr>
            <p:custDataLst>
              <p:tags r:id="rId24"/>
            </p:custDataLst>
          </p:nvPr>
        </p:nvSpPr>
        <p:spPr>
          <a:xfrm>
            <a:off x="5557505" y="3245138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L/Python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5" name="矩形 34"/>
          <p:cNvSpPr/>
          <p:nvPr>
            <p:custDataLst>
              <p:tags r:id="rId25"/>
            </p:custDataLst>
          </p:nvPr>
        </p:nvSpPr>
        <p:spPr>
          <a:xfrm>
            <a:off x="5557505" y="3648563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L/TCL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6" name="矩形 35"/>
          <p:cNvSpPr/>
          <p:nvPr>
            <p:custDataLst>
              <p:tags r:id="rId26"/>
            </p:custDataLst>
          </p:nvPr>
        </p:nvSpPr>
        <p:spPr>
          <a:xfrm>
            <a:off x="5557505" y="4051988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L/Perl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7" name="矩形 36"/>
          <p:cNvSpPr/>
          <p:nvPr>
            <p:custDataLst>
              <p:tags r:id="rId27"/>
            </p:custDataLst>
          </p:nvPr>
        </p:nvSpPr>
        <p:spPr>
          <a:xfrm>
            <a:off x="5557505" y="4455413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</a:t>
            </a:r>
            <a:r>
              <a:rPr lang="en-US" altLang="zh-CN" sz="1400">
                <a:solidFill>
                  <a:schemeClr val="bg1"/>
                </a:solidFill>
                <a:sym typeface="+mn-ea"/>
              </a:rPr>
              <a:t>L/R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8" name="矩形 37"/>
          <p:cNvSpPr/>
          <p:nvPr>
            <p:custDataLst>
              <p:tags r:id="rId28"/>
            </p:custDataLst>
          </p:nvPr>
        </p:nvSpPr>
        <p:spPr>
          <a:xfrm>
            <a:off x="5557505" y="4858838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PL/Java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39" name="矩形 38"/>
          <p:cNvSpPr/>
          <p:nvPr>
            <p:custDataLst>
              <p:tags r:id="rId29"/>
            </p:custDataLst>
          </p:nvPr>
        </p:nvSpPr>
        <p:spPr>
          <a:xfrm>
            <a:off x="5557505" y="5262263"/>
            <a:ext cx="151195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...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0" name="矩形 39"/>
          <p:cNvSpPr/>
          <p:nvPr>
            <p:custDataLst>
              <p:tags r:id="rId30"/>
            </p:custDataLst>
          </p:nvPr>
        </p:nvSpPr>
        <p:spPr>
          <a:xfrm>
            <a:off x="7919742" y="2426983"/>
            <a:ext cx="234141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PostGIS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1" name="矩形 40"/>
          <p:cNvSpPr/>
          <p:nvPr>
            <p:custDataLst>
              <p:tags r:id="rId31"/>
            </p:custDataLst>
          </p:nvPr>
        </p:nvSpPr>
        <p:spPr>
          <a:xfrm>
            <a:off x="7920337" y="2833978"/>
            <a:ext cx="2340816" cy="403425"/>
          </a:xfrm>
          <a:prstGeom prst="rect">
            <a:avLst/>
          </a:prstGeom>
          <a:solidFill>
            <a:srgbClr val="92D050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IvorySQL_ORA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2" name="矩形 41"/>
          <p:cNvSpPr/>
          <p:nvPr>
            <p:custDataLst>
              <p:tags r:id="rId32"/>
            </p:custDataLst>
          </p:nvPr>
        </p:nvSpPr>
        <p:spPr>
          <a:xfrm>
            <a:off x="7919742" y="3228478"/>
            <a:ext cx="234141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Postgres_fdw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3" name="矩形 42"/>
          <p:cNvSpPr/>
          <p:nvPr>
            <p:custDataLst>
              <p:tags r:id="rId33"/>
            </p:custDataLst>
          </p:nvPr>
        </p:nvSpPr>
        <p:spPr>
          <a:xfrm>
            <a:off x="7919147" y="3642018"/>
            <a:ext cx="234260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Oracle_fdw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4" name="矩形 43"/>
          <p:cNvSpPr/>
          <p:nvPr>
            <p:custDataLst>
              <p:tags r:id="rId34"/>
            </p:custDataLst>
          </p:nvPr>
        </p:nvSpPr>
        <p:spPr>
          <a:xfrm>
            <a:off x="7919742" y="4049013"/>
            <a:ext cx="2340816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pg_idx_advisor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5" name="矩形 44"/>
          <p:cNvSpPr/>
          <p:nvPr>
            <p:custDataLst>
              <p:tags r:id="rId35"/>
            </p:custDataLst>
          </p:nvPr>
        </p:nvSpPr>
        <p:spPr>
          <a:xfrm>
            <a:off x="7919147" y="4456008"/>
            <a:ext cx="234141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pg_logqueryid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6" name="矩形 45"/>
          <p:cNvSpPr/>
          <p:nvPr>
            <p:custDataLst>
              <p:tags r:id="rId36"/>
            </p:custDataLst>
          </p:nvPr>
        </p:nvSpPr>
        <p:spPr>
          <a:xfrm>
            <a:off x="7919147" y="4857053"/>
            <a:ext cx="2340816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400">
                <a:solidFill>
                  <a:schemeClr val="bg1"/>
                </a:solidFill>
                <a:sym typeface="+mn-ea"/>
              </a:rPr>
              <a:t>pg_stat_statements</a:t>
            </a:r>
            <a:endParaRPr lang="en-US" altLang="zh-CN" sz="1400">
              <a:solidFill>
                <a:schemeClr val="bg1"/>
              </a:solidFill>
              <a:sym typeface="+mn-ea"/>
            </a:endParaRPr>
          </a:p>
        </p:txBody>
      </p:sp>
      <p:sp>
        <p:nvSpPr>
          <p:cNvPr id="47" name="矩形 46"/>
          <p:cNvSpPr/>
          <p:nvPr>
            <p:custDataLst>
              <p:tags r:id="rId37"/>
            </p:custDataLst>
          </p:nvPr>
        </p:nvSpPr>
        <p:spPr>
          <a:xfrm>
            <a:off x="7919147" y="5269998"/>
            <a:ext cx="2341411" cy="40342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400">
                <a:solidFill>
                  <a:schemeClr val="bg1"/>
                </a:solidFill>
                <a:sym typeface="+mn-ea"/>
              </a:rPr>
              <a:t>...</a:t>
            </a:r>
            <a:endParaRPr lang="zh-CN" altLang="en-US" sz="140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ym typeface="+mn-ea"/>
              </a:rPr>
              <a:t>IvorySQL 3</a:t>
            </a:r>
            <a:r>
              <a:rPr lang="zh-CN" altLang="en-US">
                <a:sym typeface="+mn-ea"/>
              </a:rPr>
              <a:t>开发功能</a:t>
            </a:r>
            <a:endParaRPr lang="zh-CN" altLang="en-US">
              <a:sym typeface="+mn-ea"/>
            </a:endParaRPr>
          </a:p>
        </p:txBody>
      </p:sp>
      <p:sp>
        <p:nvSpPr>
          <p:cNvPr id="87" name="矩形 86"/>
          <p:cNvSpPr/>
          <p:nvPr>
            <p:custDataLst>
              <p:tags r:id="rId1"/>
            </p:custDataLst>
          </p:nvPr>
        </p:nvSpPr>
        <p:spPr>
          <a:xfrm>
            <a:off x="274955" y="3411855"/>
            <a:ext cx="805815" cy="16954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</a:t>
            </a:r>
            <a:r>
              <a:rPr lang="zh-CN" altLang="en-US" sz="900">
                <a:solidFill>
                  <a:schemeClr val="bg1"/>
                </a:solidFill>
                <a:sym typeface="+mn-ea"/>
              </a:rPr>
              <a:t>工具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88" name="矩形 87"/>
          <p:cNvSpPr/>
          <p:nvPr>
            <p:custDataLst>
              <p:tags r:id="rId2"/>
            </p:custDataLst>
          </p:nvPr>
        </p:nvSpPr>
        <p:spPr>
          <a:xfrm>
            <a:off x="275590" y="4277995"/>
            <a:ext cx="946785" cy="194945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Oracle</a:t>
            </a:r>
            <a:r>
              <a:rPr lang="zh-CN" altLang="en-US" sz="900">
                <a:solidFill>
                  <a:schemeClr val="bg1"/>
                </a:solidFill>
                <a:sym typeface="+mn-ea"/>
              </a:rPr>
              <a:t>应用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89" name="矩形 88"/>
          <p:cNvSpPr/>
          <p:nvPr>
            <p:custDataLst>
              <p:tags r:id="rId3"/>
            </p:custDataLst>
          </p:nvPr>
        </p:nvSpPr>
        <p:spPr>
          <a:xfrm>
            <a:off x="1657617" y="3267658"/>
            <a:ext cx="1031973" cy="44359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 SQL</a:t>
            </a:r>
            <a:r>
              <a:rPr lang="zh-CN" altLang="en-US" sz="900">
                <a:solidFill>
                  <a:schemeClr val="bg1"/>
                </a:solidFill>
                <a:sym typeface="+mn-ea"/>
              </a:rPr>
              <a:t>解析器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90" name="直接箭头连接符 89"/>
          <p:cNvCxnSpPr>
            <a:stCxn id="87" idx="3"/>
            <a:endCxn id="89" idx="1"/>
          </p:cNvCxnSpPr>
          <p:nvPr>
            <p:custDataLst>
              <p:tags r:id="rId4"/>
            </p:custDataLst>
          </p:nvPr>
        </p:nvCxnSpPr>
        <p:spPr>
          <a:xfrm flipV="1">
            <a:off x="1080791" y="3489786"/>
            <a:ext cx="576580" cy="6985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文本框 90"/>
          <p:cNvSpPr txBox="1"/>
          <p:nvPr>
            <p:custDataLst>
              <p:tags r:id="rId5"/>
            </p:custDataLst>
          </p:nvPr>
        </p:nvSpPr>
        <p:spPr>
          <a:xfrm>
            <a:off x="1080135" y="3271520"/>
            <a:ext cx="487680" cy="22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wrap="square" rtlCol="0">
            <a:spAutoFit/>
          </a:bodyPr>
          <a:p>
            <a:pPr algn="ctr"/>
            <a:r>
              <a:rPr lang="en-US" altLang="zh-CN" sz="900"/>
              <a:t>5432</a:t>
            </a:r>
            <a:endParaRPr lang="en-US" altLang="zh-CN" sz="900"/>
          </a:p>
        </p:txBody>
      </p:sp>
      <p:sp>
        <p:nvSpPr>
          <p:cNvPr id="92" name="矩形 91"/>
          <p:cNvSpPr/>
          <p:nvPr>
            <p:custDataLst>
              <p:tags r:id="rId6"/>
            </p:custDataLst>
          </p:nvPr>
        </p:nvSpPr>
        <p:spPr>
          <a:xfrm>
            <a:off x="1657617" y="4167169"/>
            <a:ext cx="1045835" cy="445520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Oracle SQL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解析器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122" name="直接箭头连接符 121"/>
          <p:cNvCxnSpPr>
            <a:stCxn id="88" idx="3"/>
            <a:endCxn id="92" idx="1"/>
          </p:cNvCxnSpPr>
          <p:nvPr>
            <p:custDataLst>
              <p:tags r:id="rId7"/>
            </p:custDataLst>
          </p:nvPr>
        </p:nvCxnSpPr>
        <p:spPr>
          <a:xfrm>
            <a:off x="1222109" y="4375496"/>
            <a:ext cx="434975" cy="1397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文本框 122"/>
          <p:cNvSpPr txBox="1"/>
          <p:nvPr>
            <p:custDataLst>
              <p:tags r:id="rId8"/>
            </p:custDataLst>
          </p:nvPr>
        </p:nvSpPr>
        <p:spPr>
          <a:xfrm>
            <a:off x="1151890" y="4144645"/>
            <a:ext cx="461645" cy="22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wrap="square" rtlCol="0">
            <a:spAutoFit/>
          </a:bodyPr>
          <a:p>
            <a:pPr algn="ctr"/>
            <a:r>
              <a:rPr lang="en-US" altLang="zh-CN" sz="900"/>
              <a:t>1521</a:t>
            </a:r>
            <a:endParaRPr lang="en-US" altLang="zh-CN" sz="900"/>
          </a:p>
        </p:txBody>
      </p:sp>
      <p:sp>
        <p:nvSpPr>
          <p:cNvPr id="125" name="矩形 124"/>
          <p:cNvSpPr/>
          <p:nvPr>
            <p:custDataLst>
              <p:tags r:id="rId9"/>
            </p:custDataLst>
          </p:nvPr>
        </p:nvSpPr>
        <p:spPr>
          <a:xfrm>
            <a:off x="3502077" y="3159070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pgSQL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26" name="矩形 125"/>
          <p:cNvSpPr/>
          <p:nvPr>
            <p:custDataLst>
              <p:tags r:id="rId10"/>
            </p:custDataLst>
          </p:nvPr>
        </p:nvSpPr>
        <p:spPr>
          <a:xfrm>
            <a:off x="3502077" y="3420144"/>
            <a:ext cx="978449" cy="261074"/>
          </a:xfrm>
          <a:prstGeom prst="rect">
            <a:avLst/>
          </a:prstGeom>
          <a:solidFill>
            <a:schemeClr val="accent6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iSQL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27" name="矩形 126"/>
          <p:cNvSpPr/>
          <p:nvPr>
            <p:custDataLst>
              <p:tags r:id="rId11"/>
            </p:custDataLst>
          </p:nvPr>
        </p:nvSpPr>
        <p:spPr>
          <a:xfrm>
            <a:off x="3502077" y="3681217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Python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28" name="矩形 127"/>
          <p:cNvSpPr/>
          <p:nvPr>
            <p:custDataLst>
              <p:tags r:id="rId12"/>
            </p:custDataLst>
          </p:nvPr>
        </p:nvSpPr>
        <p:spPr>
          <a:xfrm>
            <a:off x="3502077" y="3942291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TCL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29" name="矩形 128"/>
          <p:cNvSpPr/>
          <p:nvPr>
            <p:custDataLst>
              <p:tags r:id="rId13"/>
            </p:custDataLst>
          </p:nvPr>
        </p:nvSpPr>
        <p:spPr>
          <a:xfrm>
            <a:off x="3502077" y="4203365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Perl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0" name="矩形 129"/>
          <p:cNvSpPr/>
          <p:nvPr>
            <p:custDataLst>
              <p:tags r:id="rId14"/>
            </p:custDataLst>
          </p:nvPr>
        </p:nvSpPr>
        <p:spPr>
          <a:xfrm>
            <a:off x="3502077" y="4464439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R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1" name="矩形 130"/>
          <p:cNvSpPr/>
          <p:nvPr>
            <p:custDataLst>
              <p:tags r:id="rId15"/>
            </p:custDataLst>
          </p:nvPr>
        </p:nvSpPr>
        <p:spPr>
          <a:xfrm>
            <a:off x="3502077" y="4725512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Java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2" name="矩形 131"/>
          <p:cNvSpPr/>
          <p:nvPr>
            <p:custDataLst>
              <p:tags r:id="rId16"/>
            </p:custDataLst>
          </p:nvPr>
        </p:nvSpPr>
        <p:spPr>
          <a:xfrm>
            <a:off x="5030783" y="3151754"/>
            <a:ext cx="1397784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ostGIS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3" name="矩形 132"/>
          <p:cNvSpPr/>
          <p:nvPr>
            <p:custDataLst>
              <p:tags r:id="rId17"/>
            </p:custDataLst>
          </p:nvPr>
        </p:nvSpPr>
        <p:spPr>
          <a:xfrm>
            <a:off x="5031168" y="3415138"/>
            <a:ext cx="1397399" cy="261074"/>
          </a:xfrm>
          <a:prstGeom prst="rect">
            <a:avLst/>
          </a:prstGeom>
          <a:solidFill>
            <a:schemeClr val="accent6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IvorySQL_ORA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4" name="矩形 133"/>
          <p:cNvSpPr/>
          <p:nvPr>
            <p:custDataLst>
              <p:tags r:id="rId18"/>
            </p:custDataLst>
          </p:nvPr>
        </p:nvSpPr>
        <p:spPr>
          <a:xfrm>
            <a:off x="5030783" y="3670435"/>
            <a:ext cx="1397784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ostgres_fdw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5" name="矩形 134"/>
          <p:cNvSpPr/>
          <p:nvPr>
            <p:custDataLst>
              <p:tags r:id="rId19"/>
            </p:custDataLst>
          </p:nvPr>
        </p:nvSpPr>
        <p:spPr>
          <a:xfrm>
            <a:off x="5031168" y="3938055"/>
            <a:ext cx="139739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Oracle_fdw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6" name="矩形 135"/>
          <p:cNvSpPr/>
          <p:nvPr>
            <p:custDataLst>
              <p:tags r:id="rId20"/>
            </p:custDataLst>
          </p:nvPr>
        </p:nvSpPr>
        <p:spPr>
          <a:xfrm>
            <a:off x="5030783" y="4201440"/>
            <a:ext cx="1397784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g_idx_advisor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7" name="矩形 136"/>
          <p:cNvSpPr/>
          <p:nvPr>
            <p:custDataLst>
              <p:tags r:id="rId21"/>
            </p:custDataLst>
          </p:nvPr>
        </p:nvSpPr>
        <p:spPr>
          <a:xfrm>
            <a:off x="5030398" y="4464824"/>
            <a:ext cx="139816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g_logqueryid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38" name="矩形 137"/>
          <p:cNvSpPr/>
          <p:nvPr>
            <p:custDataLst>
              <p:tags r:id="rId22"/>
            </p:custDataLst>
          </p:nvPr>
        </p:nvSpPr>
        <p:spPr>
          <a:xfrm>
            <a:off x="5030398" y="4724357"/>
            <a:ext cx="139816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g_stat_statements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40" name="矩形 139"/>
          <p:cNvSpPr/>
          <p:nvPr>
            <p:custDataLst>
              <p:tags r:id="rId23"/>
            </p:custDataLst>
          </p:nvPr>
        </p:nvSpPr>
        <p:spPr>
          <a:xfrm>
            <a:off x="3502462" y="2974239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pgSQL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1" name="矩形 140"/>
          <p:cNvSpPr/>
          <p:nvPr>
            <p:custDataLst>
              <p:tags r:id="rId24"/>
            </p:custDataLst>
          </p:nvPr>
        </p:nvSpPr>
        <p:spPr>
          <a:xfrm>
            <a:off x="3502462" y="3235313"/>
            <a:ext cx="978449" cy="261074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PL/iSQL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2" name="矩形 141"/>
          <p:cNvSpPr/>
          <p:nvPr>
            <p:custDataLst>
              <p:tags r:id="rId25"/>
            </p:custDataLst>
          </p:nvPr>
        </p:nvSpPr>
        <p:spPr>
          <a:xfrm>
            <a:off x="3502462" y="3496386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Python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3" name="矩形 142"/>
          <p:cNvSpPr/>
          <p:nvPr>
            <p:custDataLst>
              <p:tags r:id="rId26"/>
            </p:custDataLst>
          </p:nvPr>
        </p:nvSpPr>
        <p:spPr>
          <a:xfrm>
            <a:off x="3502462" y="3757460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TCL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4" name="矩形 143"/>
          <p:cNvSpPr/>
          <p:nvPr>
            <p:custDataLst>
              <p:tags r:id="rId27"/>
            </p:custDataLst>
          </p:nvPr>
        </p:nvSpPr>
        <p:spPr>
          <a:xfrm>
            <a:off x="3502462" y="4018534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Perl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5" name="矩形 144"/>
          <p:cNvSpPr/>
          <p:nvPr>
            <p:custDataLst>
              <p:tags r:id="rId28"/>
            </p:custDataLst>
          </p:nvPr>
        </p:nvSpPr>
        <p:spPr>
          <a:xfrm>
            <a:off x="3502462" y="4279608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R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6" name="矩形 145"/>
          <p:cNvSpPr/>
          <p:nvPr>
            <p:custDataLst>
              <p:tags r:id="rId29"/>
            </p:custDataLst>
          </p:nvPr>
        </p:nvSpPr>
        <p:spPr>
          <a:xfrm>
            <a:off x="3502462" y="4540681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Java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7" name="矩形 146"/>
          <p:cNvSpPr/>
          <p:nvPr>
            <p:custDataLst>
              <p:tags r:id="rId30"/>
            </p:custDataLst>
          </p:nvPr>
        </p:nvSpPr>
        <p:spPr>
          <a:xfrm>
            <a:off x="3502462" y="4801755"/>
            <a:ext cx="97844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L/V8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8" name="矩形 147"/>
          <p:cNvSpPr/>
          <p:nvPr>
            <p:custDataLst>
              <p:tags r:id="rId31"/>
            </p:custDataLst>
          </p:nvPr>
        </p:nvSpPr>
        <p:spPr>
          <a:xfrm>
            <a:off x="5031168" y="2966923"/>
            <a:ext cx="1397784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ostGIS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49" name="矩形 148"/>
          <p:cNvSpPr/>
          <p:nvPr>
            <p:custDataLst>
              <p:tags r:id="rId32"/>
            </p:custDataLst>
          </p:nvPr>
        </p:nvSpPr>
        <p:spPr>
          <a:xfrm>
            <a:off x="5031553" y="3230307"/>
            <a:ext cx="1397399" cy="261074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IvorySQL_ORA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0" name="矩形 149"/>
          <p:cNvSpPr/>
          <p:nvPr>
            <p:custDataLst>
              <p:tags r:id="rId33"/>
            </p:custDataLst>
          </p:nvPr>
        </p:nvSpPr>
        <p:spPr>
          <a:xfrm>
            <a:off x="5031168" y="3485604"/>
            <a:ext cx="1397784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ostgres_fdw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1" name="矩形 150"/>
          <p:cNvSpPr/>
          <p:nvPr>
            <p:custDataLst>
              <p:tags r:id="rId34"/>
            </p:custDataLst>
          </p:nvPr>
        </p:nvSpPr>
        <p:spPr>
          <a:xfrm>
            <a:off x="5031553" y="3753224"/>
            <a:ext cx="139739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Oracle_fdw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2" name="矩形 151"/>
          <p:cNvSpPr/>
          <p:nvPr>
            <p:custDataLst>
              <p:tags r:id="rId35"/>
            </p:custDataLst>
          </p:nvPr>
        </p:nvSpPr>
        <p:spPr>
          <a:xfrm>
            <a:off x="5031168" y="4016609"/>
            <a:ext cx="1397784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_idx_advisor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3" name="矩形 152"/>
          <p:cNvSpPr/>
          <p:nvPr>
            <p:custDataLst>
              <p:tags r:id="rId36"/>
            </p:custDataLst>
          </p:nvPr>
        </p:nvSpPr>
        <p:spPr>
          <a:xfrm>
            <a:off x="5030783" y="4279993"/>
            <a:ext cx="139816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_logqueryid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4" name="矩形 153"/>
          <p:cNvSpPr/>
          <p:nvPr>
            <p:custDataLst>
              <p:tags r:id="rId37"/>
            </p:custDataLst>
          </p:nvPr>
        </p:nvSpPr>
        <p:spPr>
          <a:xfrm>
            <a:off x="5030783" y="4539526"/>
            <a:ext cx="139816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_stat_statements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55" name="矩形 154"/>
          <p:cNvSpPr/>
          <p:nvPr>
            <p:custDataLst>
              <p:tags r:id="rId38"/>
            </p:custDataLst>
          </p:nvPr>
        </p:nvSpPr>
        <p:spPr>
          <a:xfrm>
            <a:off x="5030783" y="4806761"/>
            <a:ext cx="1398169" cy="261074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_query_rewrite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grpSp>
        <p:nvGrpSpPr>
          <p:cNvPr id="156" name="组合 155"/>
          <p:cNvGrpSpPr/>
          <p:nvPr/>
        </p:nvGrpSpPr>
        <p:grpSpPr>
          <a:xfrm>
            <a:off x="8403949" y="1211028"/>
            <a:ext cx="978064" cy="1044295"/>
            <a:chOff x="15230" y="4345"/>
            <a:chExt cx="2540" cy="2712"/>
          </a:xfrm>
        </p:grpSpPr>
        <p:sp>
          <p:nvSpPr>
            <p:cNvPr id="157" name="矩形 156"/>
            <p:cNvSpPr/>
            <p:nvPr>
              <p:custDataLst>
                <p:tags r:id="rId39"/>
              </p:custDataLst>
            </p:nvPr>
          </p:nvSpPr>
          <p:spPr>
            <a:xfrm>
              <a:off x="15230" y="4345"/>
              <a:ext cx="2541" cy="6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>
                <a:buClrTx/>
                <a:buSzTx/>
                <a:buFontTx/>
              </a:pPr>
              <a:r>
                <a:rPr lang="en-US" altLang="zh-CN" sz="900">
                  <a:solidFill>
                    <a:schemeClr val="bg1"/>
                  </a:solidFill>
                  <a:sym typeface="+mn-ea"/>
                </a:rPr>
                <a:t>内置数据类型</a:t>
              </a:r>
              <a:endParaRPr lang="en-US" altLang="zh-CN" sz="90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158" name="矩形 157"/>
            <p:cNvSpPr/>
            <p:nvPr>
              <p:custDataLst>
                <p:tags r:id="rId40"/>
              </p:custDataLst>
            </p:nvPr>
          </p:nvSpPr>
          <p:spPr>
            <a:xfrm>
              <a:off x="15230" y="5023"/>
              <a:ext cx="2541" cy="6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>
                <a:buClrTx/>
                <a:buSzTx/>
                <a:buFontTx/>
              </a:pPr>
              <a:r>
                <a:rPr lang="en-US" altLang="zh-CN" sz="900">
                  <a:solidFill>
                    <a:schemeClr val="bg1"/>
                  </a:solidFill>
                  <a:sym typeface="+mn-ea"/>
                </a:rPr>
                <a:t>guc</a:t>
              </a:r>
              <a:r>
                <a:rPr lang="en-US" altLang="zh-CN" sz="900">
                  <a:solidFill>
                    <a:schemeClr val="bg1"/>
                  </a:solidFill>
                  <a:sym typeface="+mn-ea"/>
                </a:rPr>
                <a:t>参数</a:t>
              </a:r>
              <a:endParaRPr lang="en-US" altLang="zh-CN" sz="90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159" name="矩形 158"/>
            <p:cNvSpPr/>
            <p:nvPr>
              <p:custDataLst>
                <p:tags r:id="rId41"/>
              </p:custDataLst>
            </p:nvPr>
          </p:nvSpPr>
          <p:spPr>
            <a:xfrm>
              <a:off x="15230" y="5701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  <a:sym typeface="+mn-ea"/>
                </a:rPr>
                <a:t>内置字符函数</a:t>
              </a:r>
              <a:endParaRPr lang="zh-CN" altLang="en-US" sz="900">
                <a:solidFill>
                  <a:schemeClr val="bg1"/>
                </a:solidFill>
                <a:sym typeface="+mn-ea"/>
              </a:endParaRPr>
            </a:p>
          </p:txBody>
        </p:sp>
        <p:sp>
          <p:nvSpPr>
            <p:cNvPr id="160" name="矩形 159"/>
            <p:cNvSpPr/>
            <p:nvPr>
              <p:custDataLst>
                <p:tags r:id="rId42"/>
              </p:custDataLst>
            </p:nvPr>
          </p:nvSpPr>
          <p:spPr>
            <a:xfrm>
              <a:off x="15230" y="6379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  <a:sym typeface="+mn-ea"/>
                </a:rPr>
                <a:t>内置时间函数</a:t>
              </a:r>
              <a:endParaRPr lang="zh-CN" altLang="en-US" sz="900">
                <a:solidFill>
                  <a:schemeClr val="bg1"/>
                </a:solidFill>
                <a:sym typeface="+mn-ea"/>
              </a:endParaRPr>
            </a:p>
          </p:txBody>
        </p:sp>
      </p:grpSp>
      <p:sp>
        <p:nvSpPr>
          <p:cNvPr id="161" name="矩形 160"/>
          <p:cNvSpPr/>
          <p:nvPr>
            <p:custDataLst>
              <p:tags r:id="rId43"/>
            </p:custDataLst>
          </p:nvPr>
        </p:nvSpPr>
        <p:spPr>
          <a:xfrm>
            <a:off x="6971123" y="3267658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R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62" name="矩形 161"/>
          <p:cNvSpPr/>
          <p:nvPr>
            <p:custDataLst>
              <p:tags r:id="rId44"/>
            </p:custDataLst>
          </p:nvPr>
        </p:nvSpPr>
        <p:spPr>
          <a:xfrm>
            <a:off x="6971123" y="3528732"/>
            <a:ext cx="978449" cy="261074"/>
          </a:xfrm>
          <a:prstGeom prst="rect">
            <a:avLst/>
          </a:prstGeom>
          <a:solidFill>
            <a:schemeClr val="accent1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Java</a:t>
            </a:r>
            <a:endParaRPr lang="en-US" altLang="zh-CN" sz="900">
              <a:solidFill>
                <a:schemeClr val="bg1"/>
              </a:solidFill>
            </a:endParaRPr>
          </a:p>
        </p:txBody>
      </p:sp>
      <p:sp>
        <p:nvSpPr>
          <p:cNvPr id="163" name="矩形 162"/>
          <p:cNvSpPr/>
          <p:nvPr>
            <p:custDataLst>
              <p:tags r:id="rId45"/>
            </p:custDataLst>
          </p:nvPr>
        </p:nvSpPr>
        <p:spPr>
          <a:xfrm>
            <a:off x="6971508" y="3082827"/>
            <a:ext cx="978449" cy="261074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内置功能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64" name="矩形 163"/>
          <p:cNvSpPr/>
          <p:nvPr>
            <p:custDataLst>
              <p:tags r:id="rId46"/>
            </p:custDataLst>
          </p:nvPr>
        </p:nvSpPr>
        <p:spPr>
          <a:xfrm>
            <a:off x="6971508" y="3343901"/>
            <a:ext cx="978449" cy="261074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SQL</a:t>
            </a:r>
            <a:r>
              <a:rPr lang="en-US" altLang="zh-CN" sz="900">
                <a:solidFill>
                  <a:schemeClr val="bg1"/>
                </a:solidFill>
                <a:sym typeface="+mn-ea"/>
              </a:rPr>
              <a:t>兼容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65" name="矩形 164"/>
          <p:cNvSpPr/>
          <p:nvPr>
            <p:custDataLst>
              <p:tags r:id="rId47"/>
            </p:custDataLst>
          </p:nvPr>
        </p:nvSpPr>
        <p:spPr>
          <a:xfrm>
            <a:off x="6971508" y="3604975"/>
            <a:ext cx="978449" cy="26107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NLS</a:t>
            </a:r>
            <a:r>
              <a:rPr lang="zh-CN" altLang="en-US" sz="900">
                <a:solidFill>
                  <a:schemeClr val="bg1"/>
                </a:solidFill>
              </a:rPr>
              <a:t>参数</a:t>
            </a:r>
            <a:endParaRPr lang="zh-CN" altLang="en-US" sz="900">
              <a:solidFill>
                <a:schemeClr val="bg1"/>
              </a:solidFill>
            </a:endParaRPr>
          </a:p>
        </p:txBody>
      </p:sp>
      <p:sp>
        <p:nvSpPr>
          <p:cNvPr id="166" name="矩形 165"/>
          <p:cNvSpPr/>
          <p:nvPr>
            <p:custDataLst>
              <p:tags r:id="rId48"/>
            </p:custDataLst>
          </p:nvPr>
        </p:nvSpPr>
        <p:spPr>
          <a:xfrm>
            <a:off x="6971508" y="3844870"/>
            <a:ext cx="978449" cy="26107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bg1"/>
                </a:solidFill>
              </a:rPr>
              <a:t>PL/SQL</a:t>
            </a:r>
            <a:r>
              <a:rPr lang="zh-CN" altLang="zh-CN" sz="900">
                <a:solidFill>
                  <a:schemeClr val="bg1"/>
                </a:solidFill>
              </a:rPr>
              <a:t>兼容</a:t>
            </a:r>
            <a:endParaRPr lang="zh-CN" altLang="zh-CN" sz="900">
              <a:solidFill>
                <a:schemeClr val="bg1"/>
              </a:solidFill>
            </a:endParaRPr>
          </a:p>
        </p:txBody>
      </p:sp>
      <p:sp>
        <p:nvSpPr>
          <p:cNvPr id="167" name="矩形 166"/>
          <p:cNvSpPr/>
          <p:nvPr>
            <p:custDataLst>
              <p:tags r:id="rId49"/>
            </p:custDataLst>
          </p:nvPr>
        </p:nvSpPr>
        <p:spPr>
          <a:xfrm>
            <a:off x="6971508" y="4105944"/>
            <a:ext cx="978449" cy="26107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p>
            <a:pPr algn="ctr"/>
            <a:r>
              <a:rPr lang="zh-CN" altLang="zh-CN" sz="900">
                <a:solidFill>
                  <a:schemeClr val="bg1"/>
                </a:solidFill>
              </a:rPr>
              <a:t>其它</a:t>
            </a:r>
            <a:endParaRPr lang="zh-CN" altLang="zh-CN" sz="900">
              <a:solidFill>
                <a:schemeClr val="bg1"/>
              </a:solidFill>
            </a:endParaRPr>
          </a:p>
        </p:txBody>
      </p:sp>
      <p:grpSp>
        <p:nvGrpSpPr>
          <p:cNvPr id="168" name="组合 167"/>
          <p:cNvGrpSpPr/>
          <p:nvPr/>
        </p:nvGrpSpPr>
        <p:grpSpPr>
          <a:xfrm>
            <a:off x="8403949" y="5046271"/>
            <a:ext cx="978064" cy="783221"/>
            <a:chOff x="19310" y="10515"/>
            <a:chExt cx="2540" cy="2034"/>
          </a:xfrm>
        </p:grpSpPr>
        <p:sp>
          <p:nvSpPr>
            <p:cNvPr id="169" name="矩形 168"/>
            <p:cNvSpPr/>
            <p:nvPr>
              <p:custDataLst>
                <p:tags r:id="rId50"/>
              </p:custDataLst>
            </p:nvPr>
          </p:nvSpPr>
          <p:spPr>
            <a:xfrm>
              <a:off x="19310" y="10515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大小写敏感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70" name="矩形 169"/>
            <p:cNvSpPr/>
            <p:nvPr>
              <p:custDataLst>
                <p:tags r:id="rId51"/>
              </p:custDataLst>
            </p:nvPr>
          </p:nvSpPr>
          <p:spPr>
            <a:xfrm>
              <a:off x="19310" y="11193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空转</a:t>
              </a:r>
              <a:r>
                <a:rPr lang="en-US" altLang="zh-CN" sz="900">
                  <a:solidFill>
                    <a:schemeClr val="bg1"/>
                  </a:solidFill>
                </a:rPr>
                <a:t>NULL</a:t>
              </a:r>
              <a:endParaRPr lang="en-US" altLang="zh-CN" sz="90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>
              <p:custDataLst>
                <p:tags r:id="rId52"/>
              </p:custDataLst>
            </p:nvPr>
          </p:nvSpPr>
          <p:spPr>
            <a:xfrm>
              <a:off x="19310" y="11871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参数解析模块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403949" y="3814835"/>
            <a:ext cx="978064" cy="1047376"/>
            <a:chOff x="15230" y="7604"/>
            <a:chExt cx="2540" cy="2720"/>
          </a:xfrm>
        </p:grpSpPr>
        <p:sp>
          <p:nvSpPr>
            <p:cNvPr id="173" name="矩形 172"/>
            <p:cNvSpPr/>
            <p:nvPr>
              <p:custDataLst>
                <p:tags r:id="rId53"/>
              </p:custDataLst>
            </p:nvPr>
          </p:nvSpPr>
          <p:spPr>
            <a:xfrm>
              <a:off x="15230" y="7604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嵌套子程序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74" name="矩形 173"/>
            <p:cNvSpPr/>
            <p:nvPr>
              <p:custDataLst>
                <p:tags r:id="rId54"/>
              </p:custDataLst>
            </p:nvPr>
          </p:nvSpPr>
          <p:spPr>
            <a:xfrm>
              <a:off x="15230" y="8263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函数兼容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>
              <p:custDataLst>
                <p:tags r:id="rId55"/>
              </p:custDataLst>
            </p:nvPr>
          </p:nvSpPr>
          <p:spPr>
            <a:xfrm>
              <a:off x="15230" y="8968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存储过程兼容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76" name="矩形 175"/>
            <p:cNvSpPr/>
            <p:nvPr>
              <p:custDataLst>
                <p:tags r:id="rId56"/>
              </p:custDataLst>
            </p:nvPr>
          </p:nvSpPr>
          <p:spPr>
            <a:xfrm>
              <a:off x="15230" y="9646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匿名块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177" name="组合 176"/>
          <p:cNvGrpSpPr/>
          <p:nvPr/>
        </p:nvGrpSpPr>
        <p:grpSpPr>
          <a:xfrm>
            <a:off x="8403949" y="2352359"/>
            <a:ext cx="978064" cy="1277644"/>
            <a:chOff x="19310" y="6025"/>
            <a:chExt cx="2540" cy="3318"/>
          </a:xfrm>
        </p:grpSpPr>
        <p:sp>
          <p:nvSpPr>
            <p:cNvPr id="178" name="矩形 177"/>
            <p:cNvSpPr/>
            <p:nvPr>
              <p:custDataLst>
                <p:tags r:id="rId57"/>
              </p:custDataLst>
            </p:nvPr>
          </p:nvSpPr>
          <p:spPr>
            <a:xfrm>
              <a:off x="19310" y="8065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zh-CN" altLang="en-US" sz="900">
                  <a:solidFill>
                    <a:schemeClr val="bg1"/>
                  </a:solidFill>
                </a:rPr>
                <a:t>全局唯一索引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79" name="矩形 178"/>
            <p:cNvSpPr/>
            <p:nvPr>
              <p:custDataLst>
                <p:tags r:id="rId58"/>
              </p:custDataLst>
            </p:nvPr>
          </p:nvSpPr>
          <p:spPr>
            <a:xfrm>
              <a:off x="19310" y="8665"/>
              <a:ext cx="2541" cy="678"/>
            </a:xfrm>
            <a:prstGeom prst="rect">
              <a:avLst/>
            </a:prstGeom>
            <a:solidFill>
              <a:srgbClr val="92D050"/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en-US" altLang="zh-CN" sz="900">
                  <a:solidFill>
                    <a:schemeClr val="bg1"/>
                  </a:solidFill>
                </a:rPr>
                <a:t>merge</a:t>
              </a:r>
              <a:endParaRPr lang="en-US" altLang="zh-CN" sz="900">
                <a:solidFill>
                  <a:schemeClr val="bg1"/>
                </a:solidFill>
              </a:endParaRPr>
            </a:p>
          </p:txBody>
        </p:sp>
        <p:sp>
          <p:nvSpPr>
            <p:cNvPr id="180" name="矩形 179"/>
            <p:cNvSpPr/>
            <p:nvPr>
              <p:custDataLst>
                <p:tags r:id="rId59"/>
              </p:custDataLst>
            </p:nvPr>
          </p:nvSpPr>
          <p:spPr>
            <a:xfrm>
              <a:off x="19310" y="6703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en-US" altLang="zh-CN" sz="900">
                  <a:solidFill>
                    <a:schemeClr val="bg1"/>
                  </a:solidFill>
                </a:rPr>
                <a:t>q</a:t>
              </a:r>
              <a:r>
                <a:rPr lang="zh-CN" altLang="en-US" sz="900">
                  <a:solidFill>
                    <a:schemeClr val="bg1"/>
                  </a:solidFill>
                </a:rPr>
                <a:t>转义</a:t>
              </a:r>
              <a:endParaRPr lang="zh-CN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81" name="矩形 180"/>
            <p:cNvSpPr/>
            <p:nvPr>
              <p:custDataLst>
                <p:tags r:id="rId60"/>
              </p:custDataLst>
            </p:nvPr>
          </p:nvSpPr>
          <p:spPr>
            <a:xfrm>
              <a:off x="19310" y="7381"/>
              <a:ext cx="2541" cy="67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mpd="sng">
              <a:solidFill>
                <a:schemeClr val="accent1">
                  <a:shade val="50000"/>
                </a:schemeClr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r>
                <a:rPr lang="en-US" altLang="zh-CN" sz="900">
                  <a:solidFill>
                    <a:schemeClr val="bg1"/>
                  </a:solidFill>
                </a:rPr>
                <a:t>oracle like</a:t>
              </a:r>
              <a:endParaRPr lang="en-US" altLang="zh-CN" sz="900">
                <a:solidFill>
                  <a:schemeClr val="bg1"/>
                </a:solidFill>
              </a:endParaRPr>
            </a:p>
          </p:txBody>
        </p:sp>
        <p:sp>
          <p:nvSpPr>
            <p:cNvPr id="182" name="矩形 181"/>
            <p:cNvSpPr/>
            <p:nvPr>
              <p:custDataLst>
                <p:tags r:id="rId61"/>
              </p:custDataLst>
            </p:nvPr>
          </p:nvSpPr>
          <p:spPr>
            <a:xfrm>
              <a:off x="19310" y="6025"/>
              <a:ext cx="2541" cy="678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>
                <a:buClrTx/>
                <a:buSzTx/>
                <a:buFontTx/>
              </a:pPr>
              <a:r>
                <a:rPr lang="en-US" altLang="zh-CN" sz="900">
                  <a:solidFill>
                    <a:schemeClr val="bg1"/>
                  </a:solidFill>
                  <a:sym typeface="+mn-ea"/>
                </a:rPr>
                <a:t>自增列兼容</a:t>
              </a:r>
              <a:endParaRPr lang="en-US" altLang="zh-CN" sz="900">
                <a:solidFill>
                  <a:schemeClr val="bg1"/>
                </a:solidFill>
                <a:sym typeface="+mn-ea"/>
              </a:endParaRPr>
            </a:p>
          </p:txBody>
        </p:sp>
      </p:grpSp>
      <p:sp>
        <p:nvSpPr>
          <p:cNvPr id="183" name="右箭头 182"/>
          <p:cNvSpPr/>
          <p:nvPr>
            <p:custDataLst>
              <p:tags r:id="rId62"/>
            </p:custDataLst>
          </p:nvPr>
        </p:nvSpPr>
        <p:spPr>
          <a:xfrm>
            <a:off x="4614913" y="3790191"/>
            <a:ext cx="323454" cy="23951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900"/>
          </a:p>
        </p:txBody>
      </p:sp>
      <p:sp>
        <p:nvSpPr>
          <p:cNvPr id="184" name="右箭头 183"/>
          <p:cNvSpPr/>
          <p:nvPr>
            <p:custDataLst>
              <p:tags r:id="rId63"/>
            </p:custDataLst>
          </p:nvPr>
        </p:nvSpPr>
        <p:spPr>
          <a:xfrm>
            <a:off x="6509431" y="3706246"/>
            <a:ext cx="323454" cy="23951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900"/>
          </a:p>
        </p:txBody>
      </p:sp>
      <p:sp>
        <p:nvSpPr>
          <p:cNvPr id="185" name="右箭头 184"/>
          <p:cNvSpPr/>
          <p:nvPr>
            <p:custDataLst>
              <p:tags r:id="rId64"/>
            </p:custDataLst>
          </p:nvPr>
        </p:nvSpPr>
        <p:spPr>
          <a:xfrm>
            <a:off x="8034287" y="3630004"/>
            <a:ext cx="323454" cy="23951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900"/>
          </a:p>
        </p:txBody>
      </p:sp>
      <p:sp>
        <p:nvSpPr>
          <p:cNvPr id="186" name="右箭头 185"/>
          <p:cNvSpPr/>
          <p:nvPr>
            <p:custDataLst>
              <p:tags r:id="rId65"/>
            </p:custDataLst>
          </p:nvPr>
        </p:nvSpPr>
        <p:spPr>
          <a:xfrm>
            <a:off x="2951434" y="3798662"/>
            <a:ext cx="323454" cy="23951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900"/>
          </a:p>
        </p:txBody>
      </p:sp>
      <p:cxnSp>
        <p:nvCxnSpPr>
          <p:cNvPr id="187" name="直接连接符 186"/>
          <p:cNvCxnSpPr/>
          <p:nvPr>
            <p:custDataLst>
              <p:tags r:id="rId66"/>
            </p:custDataLst>
          </p:nvPr>
        </p:nvCxnSpPr>
        <p:spPr>
          <a:xfrm flipH="1">
            <a:off x="3043850" y="1494821"/>
            <a:ext cx="8471" cy="442939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矩形 187"/>
          <p:cNvSpPr/>
          <p:nvPr>
            <p:custDataLst>
              <p:tags r:id="rId67"/>
            </p:custDataLst>
          </p:nvPr>
        </p:nvSpPr>
        <p:spPr>
          <a:xfrm>
            <a:off x="1663008" y="4947695"/>
            <a:ext cx="1026582" cy="359650"/>
          </a:xfrm>
          <a:prstGeom prst="rect">
            <a:avLst/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900">
                <a:solidFill>
                  <a:schemeClr val="bg1"/>
                </a:solidFill>
                <a:sym typeface="+mn-ea"/>
              </a:rPr>
              <a:t>Oracle </a:t>
            </a:r>
            <a:r>
              <a:rPr lang="en-US" altLang="zh-CN" sz="900">
                <a:solidFill>
                  <a:schemeClr val="bg1"/>
                </a:solidFill>
                <a:sym typeface="+mn-ea"/>
              </a:rPr>
              <a:t>测试框架</a:t>
            </a:r>
            <a:endParaRPr lang="en-US" altLang="zh-CN" sz="900">
              <a:solidFill>
                <a:schemeClr val="bg1"/>
              </a:solidFill>
              <a:sym typeface="+mn-ea"/>
            </a:endParaRPr>
          </a:p>
        </p:txBody>
      </p:sp>
      <p:sp>
        <p:nvSpPr>
          <p:cNvPr id="189" name="矩形 188"/>
          <p:cNvSpPr/>
          <p:nvPr>
            <p:custDataLst>
              <p:tags r:id="rId68"/>
            </p:custDataLst>
          </p:nvPr>
        </p:nvSpPr>
        <p:spPr>
          <a:xfrm>
            <a:off x="1657617" y="2614588"/>
            <a:ext cx="1026582" cy="359650"/>
          </a:xfrm>
          <a:prstGeom prst="rect">
            <a:avLst/>
          </a:prstGeom>
          <a:solidFill>
            <a:srgbClr val="16729F"/>
          </a:solidFill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>
                <a:solidFill>
                  <a:schemeClr val="bg1"/>
                </a:solidFill>
                <a:sym typeface="+mn-ea"/>
              </a:rPr>
              <a:t>pg </a:t>
            </a:r>
            <a:r>
              <a:rPr lang="zh-CN" altLang="en-US" sz="900">
                <a:solidFill>
                  <a:schemeClr val="bg1"/>
                </a:solidFill>
                <a:sym typeface="+mn-ea"/>
              </a:rPr>
              <a:t>测试框架</a:t>
            </a:r>
            <a:endParaRPr lang="zh-CN" altLang="en-US" sz="900">
              <a:solidFill>
                <a:schemeClr val="bg1"/>
              </a:solidFill>
              <a:sym typeface="+mn-ea"/>
            </a:endParaRPr>
          </a:p>
        </p:txBody>
      </p:sp>
      <p:cxnSp>
        <p:nvCxnSpPr>
          <p:cNvPr id="190" name="直接箭头连接符 189"/>
          <p:cNvCxnSpPr>
            <a:stCxn id="188" idx="0"/>
            <a:endCxn id="92" idx="2"/>
          </p:cNvCxnSpPr>
          <p:nvPr>
            <p:custDataLst>
              <p:tags r:id="rId69"/>
            </p:custDataLst>
          </p:nvPr>
        </p:nvCxnSpPr>
        <p:spPr>
          <a:xfrm flipV="1">
            <a:off x="2176299" y="4612688"/>
            <a:ext cx="4236" cy="3350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直接箭头连接符 190"/>
          <p:cNvCxnSpPr>
            <a:stCxn id="189" idx="2"/>
            <a:endCxn id="89" idx="0"/>
          </p:cNvCxnSpPr>
          <p:nvPr>
            <p:custDataLst>
              <p:tags r:id="rId70"/>
            </p:custDataLst>
          </p:nvPr>
        </p:nvCxnSpPr>
        <p:spPr>
          <a:xfrm>
            <a:off x="2170908" y="2974239"/>
            <a:ext cx="2695" cy="2934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国际交流与合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48" name="组合 47"/>
          <p:cNvGrpSpPr/>
          <p:nvPr/>
        </p:nvGrpSpPr>
        <p:grpSpPr>
          <a:xfrm>
            <a:off x="7185025" y="1494155"/>
            <a:ext cx="1736090" cy="988695"/>
            <a:chOff x="11527" y="9587"/>
            <a:chExt cx="2734" cy="1557"/>
          </a:xfrm>
        </p:grpSpPr>
        <p:sp>
          <p:nvSpPr>
            <p:cNvPr id="49" name="文本框 48"/>
            <p:cNvSpPr txBox="1"/>
            <p:nvPr>
              <p:custDataLst>
                <p:tags r:id="rId1"/>
              </p:custDataLst>
            </p:nvPr>
          </p:nvSpPr>
          <p:spPr>
            <a:xfrm>
              <a:off x="11768" y="10710"/>
              <a:ext cx="1095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l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反馈</a:t>
              </a:r>
              <a:r>
                <a:rPr lang="en-US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bug </a:t>
              </a:r>
              <a:endParaRPr lang="en-US" sz="1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11527" y="9587"/>
              <a:ext cx="2734" cy="1325"/>
              <a:chOff x="9571" y="7506"/>
              <a:chExt cx="2734" cy="1325"/>
            </a:xfrm>
          </p:grpSpPr>
          <p:sp>
            <p:nvSpPr>
              <p:cNvPr id="51" name="文本框 50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9571" y="7597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120</a:t>
                </a:r>
                <a:endParaRPr lang="en-US" altLang="zh-CN" sz="45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  <p:sp>
            <p:nvSpPr>
              <p:cNvPr id="52" name="文本框 51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11090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+</a:t>
                </a:r>
                <a:endParaRPr lang="en-US" altLang="zh-CN" sz="30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</p:grpSp>
      </p:grpSp>
      <p:grpSp>
        <p:nvGrpSpPr>
          <p:cNvPr id="14" name="组合 13"/>
          <p:cNvGrpSpPr/>
          <p:nvPr/>
        </p:nvGrpSpPr>
        <p:grpSpPr>
          <a:xfrm>
            <a:off x="9970135" y="1473835"/>
            <a:ext cx="1857375" cy="1010285"/>
            <a:chOff x="14601" y="2854"/>
            <a:chExt cx="2925" cy="1591"/>
          </a:xfrm>
        </p:grpSpPr>
        <p:sp>
          <p:nvSpPr>
            <p:cNvPr id="32" name="文本框 31"/>
            <p:cNvSpPr txBox="1"/>
            <p:nvPr>
              <p:custDataLst>
                <p:tags r:id="rId4"/>
              </p:custDataLst>
            </p:nvPr>
          </p:nvSpPr>
          <p:spPr>
            <a:xfrm>
              <a:off x="14726" y="4011"/>
              <a:ext cx="2800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l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</a:pPr>
              <a:r>
                <a:rPr lang="en-US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提交patch </a:t>
              </a:r>
              <a:endParaRPr lang="en-US" sz="1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53" name="组合 52"/>
            <p:cNvGrpSpPr/>
            <p:nvPr/>
          </p:nvGrpSpPr>
          <p:grpSpPr>
            <a:xfrm>
              <a:off x="14601" y="2854"/>
              <a:ext cx="2734" cy="1336"/>
              <a:chOff x="9573" y="7506"/>
              <a:chExt cx="2734" cy="1336"/>
            </a:xfrm>
          </p:grpSpPr>
          <p:sp>
            <p:nvSpPr>
              <p:cNvPr id="54" name="文本框 53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9573" y="7608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dirty="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160</a:t>
                </a:r>
                <a:endParaRPr lang="en-US" altLang="zh-CN" sz="4500" dirty="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  <p:sp>
            <p:nvSpPr>
              <p:cNvPr id="55" name="文本框 54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11090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+</a:t>
                </a:r>
                <a:endParaRPr lang="en-US" altLang="zh-CN" sz="30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</p:grpSp>
      </p:grpSp>
      <p:grpSp>
        <p:nvGrpSpPr>
          <p:cNvPr id="56" name="组合 55"/>
          <p:cNvGrpSpPr/>
          <p:nvPr/>
        </p:nvGrpSpPr>
        <p:grpSpPr>
          <a:xfrm>
            <a:off x="4000500" y="1473835"/>
            <a:ext cx="2827020" cy="1000760"/>
            <a:chOff x="15033" y="7185"/>
            <a:chExt cx="4452" cy="1576"/>
          </a:xfrm>
        </p:grpSpPr>
        <p:sp>
          <p:nvSpPr>
            <p:cNvPr id="57" name="文本框 56"/>
            <p:cNvSpPr txBox="1"/>
            <p:nvPr>
              <p:custDataLst>
                <p:tags r:id="rId7"/>
              </p:custDataLst>
            </p:nvPr>
          </p:nvSpPr>
          <p:spPr>
            <a:xfrm>
              <a:off x="15274" y="8327"/>
              <a:ext cx="1095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l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宋体" panose="02010600030101010101" pitchFamily="2" charset="-122"/>
                  <a:sym typeface="+mn-ea"/>
                </a:rPr>
                <a:t>涉及代码</a:t>
              </a:r>
              <a:endParaRPr lang="en-US" sz="1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59" name="组合 58"/>
            <p:cNvGrpSpPr/>
            <p:nvPr/>
          </p:nvGrpSpPr>
          <p:grpSpPr>
            <a:xfrm>
              <a:off x="15033" y="7185"/>
              <a:ext cx="4452" cy="1337"/>
              <a:chOff x="9828" y="7478"/>
              <a:chExt cx="4452" cy="1337"/>
            </a:xfrm>
          </p:grpSpPr>
          <p:sp>
            <p:nvSpPr>
              <p:cNvPr id="60" name="文本框 59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9828" y="7581"/>
                <a:ext cx="4452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dirty="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100000</a:t>
                </a:r>
                <a:endParaRPr lang="en-US" altLang="zh-CN" sz="4500" dirty="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  <p:sp>
            <p:nvSpPr>
              <p:cNvPr id="61" name="文本框 60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12917" y="7478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+</a:t>
                </a:r>
                <a:endParaRPr lang="en-US" altLang="zh-CN" sz="30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</p:grpSp>
      </p:grpSp>
      <p:pic>
        <p:nvPicPr>
          <p:cNvPr id="12" name="图片 11" descr="图片1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340360" y="2608580"/>
            <a:ext cx="6713855" cy="378650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7272020" y="2628265"/>
            <a:ext cx="4811395" cy="3305810"/>
          </a:xfrm>
          <a:prstGeom prst="rect">
            <a:avLst/>
          </a:prstGeom>
        </p:spPr>
      </p:pic>
      <p:grpSp>
        <p:nvGrpSpPr>
          <p:cNvPr id="8" name="组合 7"/>
          <p:cNvGrpSpPr/>
          <p:nvPr/>
        </p:nvGrpSpPr>
        <p:grpSpPr>
          <a:xfrm>
            <a:off x="1862455" y="1520190"/>
            <a:ext cx="1736090" cy="988695"/>
            <a:chOff x="11527" y="9587"/>
            <a:chExt cx="2734" cy="1557"/>
          </a:xfrm>
        </p:grpSpPr>
        <p:sp>
          <p:nvSpPr>
            <p:cNvPr id="9" name="文本框 8"/>
            <p:cNvSpPr txBox="1"/>
            <p:nvPr>
              <p:custDataLst>
                <p:tags r:id="rId14"/>
              </p:custDataLst>
            </p:nvPr>
          </p:nvSpPr>
          <p:spPr>
            <a:xfrm>
              <a:off x="11768" y="10710"/>
              <a:ext cx="1095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l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技术文章</a:t>
              </a:r>
              <a:r>
                <a:rPr lang="en-US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</a:t>
              </a:r>
              <a:endParaRPr lang="en-US" sz="1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1527" y="9587"/>
              <a:ext cx="2734" cy="1325"/>
              <a:chOff x="9571" y="7506"/>
              <a:chExt cx="2734" cy="1325"/>
            </a:xfrm>
          </p:grpSpPr>
          <p:sp>
            <p:nvSpPr>
              <p:cNvPr id="11" name="文本框 10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9571" y="7597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100</a:t>
                </a:r>
                <a:endParaRPr lang="en-US" altLang="zh-CN" sz="45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  <p:sp>
            <p:nvSpPr>
              <p:cNvPr id="13" name="文本框 12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11090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>
                    <a:solidFill>
                      <a:srgbClr val="47B2B8"/>
                    </a:solidFill>
                    <a:latin typeface="方正细圆简体" panose="02010601030101010101" charset="-122"/>
                    <a:ea typeface="方正细圆简体" panose="02010601030101010101" charset="-122"/>
                  </a:rPr>
                  <a:t>+</a:t>
                </a:r>
                <a:endParaRPr lang="en-US" altLang="zh-CN" sz="3000">
                  <a:solidFill>
                    <a:srgbClr val="47B2B8"/>
                  </a:solidFill>
                  <a:latin typeface="方正细圆简体" panose="02010601030101010101" charset="-122"/>
                  <a:ea typeface="方正细圆简体" panose="02010601030101010101" charset="-122"/>
                </a:endParaRPr>
              </a:p>
            </p:txBody>
          </p:sp>
        </p:grp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贡献</a:t>
            </a:r>
            <a:r>
              <a:rPr lang="en-US" altLang="zh-CN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/>
              </a:rPr>
              <a:t>IvorySQL</a:t>
            </a:r>
            <a:endParaRPr lang="en-US" altLang="zh-CN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aphicFrame>
        <p:nvGraphicFramePr>
          <p:cNvPr id="6" name="Google Shape;181;g1057c05bba8_0_25"/>
          <p:cNvGraphicFramePr/>
          <p:nvPr>
            <p:custDataLst>
              <p:tags r:id="rId1"/>
            </p:custDataLst>
          </p:nvPr>
        </p:nvGraphicFramePr>
        <p:xfrm>
          <a:off x="589915" y="1473200"/>
          <a:ext cx="11498580" cy="5101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加入我们 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Arial" panose="020B0604020202020204"/>
              </a:rPr>
              <a:t>Join us!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599" y="577373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Shape7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949960" y="1419225"/>
            <a:ext cx="10665460" cy="5438775"/>
          </a:xfrm>
          <a:prstGeom prst="rect">
            <a:avLst/>
          </a:prstGeom>
        </p:spPr>
      </p:pic>
      <p:sp>
        <p:nvSpPr>
          <p:cNvPr id="9" name="文本框 8"/>
          <p:cNvSpPr txBox="1"/>
          <p:nvPr>
            <p:custDataLst>
              <p:tags r:id="rId3"/>
            </p:custDataLst>
          </p:nvPr>
        </p:nvSpPr>
        <p:spPr>
          <a:xfrm>
            <a:off x="1245598" y="2533027"/>
            <a:ext cx="49312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请加小助理微信，加入</a:t>
            </a:r>
            <a:r>
              <a:rPr lang="en-US" altLang="zh-CN" b="1" dirty="0"/>
              <a:t>IvorySQL</a:t>
            </a:r>
            <a:r>
              <a:rPr lang="zh-CN" altLang="en-US" b="1" dirty="0"/>
              <a:t>技术交流群</a:t>
            </a:r>
            <a:endParaRPr lang="zh-CN" altLang="en-US" b="1" dirty="0"/>
          </a:p>
        </p:txBody>
      </p:sp>
      <p:pic>
        <p:nvPicPr>
          <p:cNvPr id="10" name="图片 9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7899490" y="3474013"/>
            <a:ext cx="2187667" cy="2187667"/>
          </a:xfrm>
          <a:prstGeom prst="rect">
            <a:avLst/>
          </a:prstGeom>
        </p:spPr>
      </p:pic>
      <p:sp>
        <p:nvSpPr>
          <p:cNvPr id="11" name="文本框 10"/>
          <p:cNvSpPr txBox="1"/>
          <p:nvPr>
            <p:custDataLst>
              <p:tags r:id="rId6"/>
            </p:custDataLst>
          </p:nvPr>
        </p:nvSpPr>
        <p:spPr>
          <a:xfrm>
            <a:off x="6524353" y="2533027"/>
            <a:ext cx="524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请关注</a:t>
            </a:r>
            <a:r>
              <a:rPr lang="en-US" altLang="zh-CN" b="1" dirty="0"/>
              <a:t>IvorySQL</a:t>
            </a:r>
            <a:r>
              <a:rPr lang="zh-CN" altLang="en-US" b="1" dirty="0"/>
              <a:t>公众号，时刻关注我们的技术分享</a:t>
            </a:r>
            <a:endParaRPr lang="zh-CN" altLang="en-US" b="1" dirty="0"/>
          </a:p>
        </p:txBody>
      </p:sp>
      <p:pic>
        <p:nvPicPr>
          <p:cNvPr id="12" name="图片 11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2257786" y="3559791"/>
            <a:ext cx="2024381" cy="201679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标题 4"/>
          <p:cNvSpPr>
            <a:spLocks noGrp="1"/>
          </p:cNvSpPr>
          <p:nvPr>
            <p:ph type="ctrTitle"/>
          </p:nvPr>
        </p:nvSpPr>
        <p:spPr>
          <a:xfrm>
            <a:off x="5810250" y="617855"/>
            <a:ext cx="5497830" cy="2319655"/>
          </a:xfrm>
        </p:spPr>
        <p:txBody>
          <a:bodyPr>
            <a:normAutofit/>
          </a:bodyPr>
          <a:lstStyle/>
          <a:p>
            <a:r>
              <a:rPr lang="zh-CN" altLang="en-US" sz="5335" dirty="0">
                <a:solidFill>
                  <a:srgbClr val="E0620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做开源</a:t>
            </a:r>
            <a:br>
              <a:rPr lang="en-US" altLang="zh-CN" sz="5335" dirty="0">
                <a:solidFill>
                  <a:srgbClr val="E0620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</a:br>
            <a:br>
              <a:rPr lang="en-US" altLang="zh-CN" sz="5335" dirty="0">
                <a:solidFill>
                  <a:srgbClr val="E0620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</a:br>
            <a:r>
              <a:rPr lang="zh-CN" altLang="en-US" sz="5335" dirty="0">
                <a:solidFill>
                  <a:srgbClr val="E0620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我们是认真的</a:t>
            </a:r>
            <a:r>
              <a:rPr lang="zh-CN" altLang="en-US" sz="5335" dirty="0">
                <a:solidFill>
                  <a:srgbClr val="E0620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 Semibold" panose="020B0702040204020203" pitchFamily="34" charset="0"/>
                <a:sym typeface="+mn-ea"/>
              </a:rPr>
              <a:t>！</a:t>
            </a:r>
            <a:endParaRPr lang="zh-CN" altLang="en-US" sz="5335" b="0" dirty="0"/>
          </a:p>
        </p:txBody>
      </p:sp>
      <p:sp>
        <p:nvSpPr>
          <p:cNvPr id="9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</a:rPr>
              <a:t>www.postgresqlchina.com</a:t>
            </a:r>
            <a:endParaRPr lang="en-US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国际交流与合作</a:t>
            </a:r>
            <a:endParaRPr lang="zh-CN" altLang="en-US" spc="3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548005" y="1428749"/>
            <a:ext cx="4409006" cy="4942507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>
              <a:lnSpc>
                <a:spcPct val="200000"/>
              </a:lnSpc>
            </a:pPr>
            <a:r>
              <a:rPr lang="en-US" sz="1600" b="0" dirty="0">
                <a:latin typeface="+mn-ea"/>
              </a:rPr>
              <a:t>PGCON2023</a:t>
            </a:r>
            <a:r>
              <a:rPr lang="zh-CN" altLang="en-US" sz="1600" dirty="0">
                <a:latin typeface="+mn-ea"/>
              </a:rPr>
              <a:t>于</a:t>
            </a:r>
            <a:r>
              <a:rPr lang="en-US" altLang="zh-CN" sz="1600" dirty="0">
                <a:latin typeface="+mn-ea"/>
              </a:rPr>
              <a:t>2023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5</a:t>
            </a:r>
            <a:r>
              <a:rPr lang="zh-CN" altLang="en-US" sz="1600" dirty="0">
                <a:latin typeface="+mn-ea"/>
              </a:rPr>
              <a:t>月</a:t>
            </a:r>
            <a:r>
              <a:rPr lang="en-US" altLang="zh-CN" sz="1600" dirty="0">
                <a:latin typeface="+mn-ea"/>
              </a:rPr>
              <a:t>30-6</a:t>
            </a:r>
            <a:r>
              <a:rPr lang="zh-CN" altLang="en-US" sz="1600" dirty="0">
                <a:latin typeface="+mn-ea"/>
              </a:rPr>
              <a:t>月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号在加拿大渥太华举行。</a:t>
            </a:r>
            <a:r>
              <a:rPr lang="zh-CN" sz="1600" b="0" dirty="0">
                <a:latin typeface="+mn-ea"/>
              </a:rPr>
              <a:t>瀚高</a:t>
            </a:r>
            <a:r>
              <a:rPr lang="en-US" sz="1600" b="0" dirty="0">
                <a:latin typeface="+mn-ea"/>
              </a:rPr>
              <a:t>IvorySQL</a:t>
            </a:r>
            <a:r>
              <a:rPr lang="zh-CN" altLang="en-US" sz="1600" b="0" dirty="0">
                <a:latin typeface="+mn-ea"/>
              </a:rPr>
              <a:t>作为</a:t>
            </a:r>
            <a:r>
              <a:rPr lang="en-US" altLang="zh-CN" sz="1600" dirty="0" err="1">
                <a:latin typeface="+mn-ea"/>
              </a:rPr>
              <a:t>PGCon</a:t>
            </a:r>
            <a:r>
              <a:rPr lang="zh-CN" altLang="en-US" sz="1600" dirty="0">
                <a:latin typeface="+mn-ea"/>
              </a:rPr>
              <a:t>的赞助商受邀参加并为大家介绍</a:t>
            </a:r>
            <a:r>
              <a:rPr lang="en-US" altLang="zh-CN" sz="1600" dirty="0">
                <a:latin typeface="+mn-ea"/>
              </a:rPr>
              <a:t>IvorySQL</a:t>
            </a:r>
            <a:r>
              <a:rPr lang="zh-CN" altLang="en-US" sz="1600" dirty="0">
                <a:latin typeface="+mn-ea"/>
              </a:rPr>
              <a:t>。</a:t>
            </a:r>
            <a:endParaRPr lang="en-US" altLang="zh-CN" sz="1600" b="0" dirty="0">
              <a:latin typeface="+mn-ea"/>
            </a:endParaRPr>
          </a:p>
          <a:p>
            <a:pPr indent="0">
              <a:lnSpc>
                <a:spcPct val="200000"/>
              </a:lnSpc>
            </a:pPr>
            <a:endParaRPr lang="zh-CN" altLang="en-US" sz="1600" b="0" dirty="0">
              <a:latin typeface="+mn-ea"/>
            </a:endParaRPr>
          </a:p>
          <a:p>
            <a:pPr indent="0">
              <a:lnSpc>
                <a:spcPct val="200000"/>
              </a:lnSpc>
            </a:pPr>
            <a:r>
              <a:rPr lang="zh-CN" altLang="en-US" sz="1600" b="0" dirty="0">
                <a:latin typeface="+mn-ea"/>
              </a:rPr>
              <a:t>作为基于PostgreSQL并具有Oracle兼容功能的开源数据库，IvorySQL的兼容特性和未来发展也备受大家关心，并在现场进行了很多技术交流。另外，本次会议上，瀚高研究院的Cary发表了题为《全局唯一索引，一种不同的方法》的主题演讲。</a:t>
            </a:r>
            <a:endParaRPr lang="zh-CN" altLang="en-US" sz="1600" b="0" dirty="0">
              <a:latin typeface="+mn-ea"/>
            </a:endParaRPr>
          </a:p>
        </p:txBody>
      </p:sp>
      <p:pic>
        <p:nvPicPr>
          <p:cNvPr id="6" name="图片 5" descr="tomlan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415412" y="984884"/>
            <a:ext cx="2187143" cy="2917391"/>
          </a:xfrm>
          <a:prstGeom prst="rect">
            <a:avLst/>
          </a:prstGeom>
        </p:spPr>
      </p:pic>
      <p:pic>
        <p:nvPicPr>
          <p:cNvPr id="7" name="图片 6" descr="pist-gis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043" y="981785"/>
            <a:ext cx="2187143" cy="2918217"/>
          </a:xfrm>
          <a:prstGeom prst="rect">
            <a:avLst/>
          </a:prstGeom>
        </p:spPr>
      </p:pic>
      <p:pic>
        <p:nvPicPr>
          <p:cNvPr id="8" name="图片 7" descr="电视萤幕里有许多人&#10;&#10;描述已自动生成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554" y="3429000"/>
            <a:ext cx="4362858" cy="3271504"/>
          </a:xfrm>
          <a:prstGeom prst="rect">
            <a:avLst/>
          </a:prstGeom>
        </p:spPr>
      </p:pic>
      <p:pic>
        <p:nvPicPr>
          <p:cNvPr id="10" name="图片 9" descr="男人们站在一起合影&#10;&#10;中度可信度描述已自动生成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5412" y="3634858"/>
            <a:ext cx="2298785" cy="3065646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国际交流与合作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 descr="文本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524" y="984885"/>
            <a:ext cx="4607392" cy="3071594"/>
          </a:xfrm>
          <a:prstGeom prst="rect">
            <a:avLst/>
          </a:prstGeom>
        </p:spPr>
      </p:pic>
      <p:pic>
        <p:nvPicPr>
          <p:cNvPr id="6" name="图片 5" descr="图形用户界面, 应用程序&#10;&#10;描述已自动生成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07" y="3607580"/>
            <a:ext cx="5401432" cy="3250420"/>
          </a:xfrm>
          <a:prstGeom prst="rect">
            <a:avLst/>
          </a:prstGeom>
        </p:spPr>
      </p:pic>
      <p:pic>
        <p:nvPicPr>
          <p:cNvPr id="7" name="图片 6" descr="一群人站在椅子上&#10;&#10;描述已自动生成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524" y="3362658"/>
            <a:ext cx="4607392" cy="3454191"/>
          </a:xfrm>
          <a:prstGeom prst="rect">
            <a:avLst/>
          </a:prstGeom>
        </p:spPr>
      </p:pic>
      <p:pic>
        <p:nvPicPr>
          <p:cNvPr id="4" name="图片 3" descr="图形用户界面, 应用程序&#10;&#10;描述已自动生成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4885"/>
            <a:ext cx="6878165" cy="301642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源贡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2" name="文本框 21"/>
          <p:cNvSpPr txBox="1"/>
          <p:nvPr>
            <p:custDataLst>
              <p:tags r:id="rId1"/>
            </p:custDataLst>
          </p:nvPr>
        </p:nvSpPr>
        <p:spPr>
          <a:xfrm>
            <a:off x="310716" y="1720532"/>
            <a:ext cx="8451850" cy="304609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G9.3.1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postgres.cn/docs/9.3/index.html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G9.4.4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postgres.cn/docs/9.4/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G9.5.3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postgres.cn/docs/9.5/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G9.6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postgres.cn/docs/9.6/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G10.1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postgres.cn/docs/10/ 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G11.2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postgres.cn/docs/11/index.html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4914900" y="2010410"/>
            <a:ext cx="6920230" cy="4099560"/>
          </a:xfrm>
          <a:prstGeom prst="rect">
            <a:avLst/>
          </a:prstGeom>
        </p:spPr>
      </p:pic>
      <p:sp>
        <p:nvSpPr>
          <p:cNvPr id="25" name="文本框 24"/>
          <p:cNvSpPr txBox="1"/>
          <p:nvPr>
            <p:custDataLst>
              <p:tags r:id="rId4"/>
            </p:custDataLst>
          </p:nvPr>
        </p:nvSpPr>
        <p:spPr>
          <a:xfrm>
            <a:off x="608330" y="1282700"/>
            <a:ext cx="11226800" cy="42989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pPr marL="342900" indent="-34290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zh-CN" altLang="en-US" sz="22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从P</a:t>
            </a:r>
            <a:r>
              <a:rPr lang="en-US" altLang="zh-CN" sz="22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G</a:t>
            </a:r>
            <a:r>
              <a:rPr lang="zh-CN" altLang="en-US" sz="22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9.3.1</a:t>
            </a:r>
            <a:r>
              <a:rPr lang="zh-CN" altLang="en-US" sz="2200" b="1" dirty="0">
                <a:solidFill>
                  <a:schemeClr val="tx1"/>
                </a:solidFill>
                <a:effectLst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开始</a:t>
            </a:r>
            <a:r>
              <a:rPr lang="zh-CN" altLang="en-US" sz="22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与</a:t>
            </a:r>
            <a:r>
              <a:rPr lang="zh-CN" altLang="en-US" sz="22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文档的翻译工作，</a:t>
            </a:r>
            <a:r>
              <a:rPr lang="zh-CN" altLang="en-US" sz="22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版本文档翻译链接</a:t>
            </a:r>
            <a:endParaRPr lang="zh-CN" altLang="en-US" sz="22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才培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096000" y="1140460"/>
            <a:ext cx="6000115" cy="549275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179955" y="2988945"/>
            <a:ext cx="2998470" cy="3643630"/>
          </a:xfrm>
          <a:prstGeom prst="rect">
            <a:avLst/>
          </a:prstGeom>
        </p:spPr>
      </p:pic>
      <p:sp>
        <p:nvSpPr>
          <p:cNvPr id="10" name="文本框 9"/>
          <p:cNvSpPr txBox="1"/>
          <p:nvPr>
            <p:custDataLst>
              <p:tags r:id="rId5"/>
            </p:custDataLst>
          </p:nvPr>
        </p:nvSpPr>
        <p:spPr>
          <a:xfrm>
            <a:off x="721995" y="1397635"/>
            <a:ext cx="4888865" cy="1964055"/>
          </a:xfrm>
          <a:prstGeom prst="rect">
            <a:avLst/>
          </a:prstGeom>
          <a:noFill/>
        </p:spPr>
        <p:txBody>
          <a:bodyPr wrap="square" rtlCol="0">
            <a:noAutofit/>
            <a:scene3d>
              <a:camera prst="orthographicFront"/>
              <a:lightRig rig="threePt" dir="t"/>
            </a:scene3d>
          </a:bodyPr>
          <a:lstStyle/>
          <a:p>
            <a:pPr indent="0" fontAlgn="auto">
              <a:lnSpc>
                <a:spcPct val="150000"/>
              </a:lnSpc>
            </a:pPr>
            <a:r>
              <a:rPr lang="en-US" altLang="zh-CN" sz="1600">
                <a:solidFill>
                  <a:schemeClr val="tx1"/>
                </a:solidFill>
                <a:sym typeface="+mn-ea"/>
              </a:rPr>
              <a:t>    </a:t>
            </a: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瀚高在高校人才培养方面，也是积极参与， 配合PG分会推动开源数据库为核心的课程改革，尤其是基础软件内核研发人员培养，与清华、北大、复旦、深圳大学等学校紧密合作，开设了内核相关课程。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fontAlgn="auto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ïṧḻïḋé" descr="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"/>
          <p:cNvGrpSpPr/>
          <p:nvPr/>
        </p:nvGrpSpPr>
        <p:grpSpPr>
          <a:xfrm>
            <a:off x="660399" y="1260924"/>
            <a:ext cx="10704285" cy="2547564"/>
            <a:chOff x="660399" y="1260924"/>
            <a:chExt cx="10704285" cy="2547564"/>
          </a:xfrm>
        </p:grpSpPr>
        <p:grpSp>
          <p:nvGrpSpPr>
            <p:cNvPr id="33" name="íSḷîďè"/>
            <p:cNvGrpSpPr/>
            <p:nvPr/>
          </p:nvGrpSpPr>
          <p:grpSpPr>
            <a:xfrm>
              <a:off x="8817118" y="1260924"/>
              <a:ext cx="2547566" cy="2547564"/>
              <a:chOff x="9312269" y="1356635"/>
              <a:chExt cx="1052245" cy="1052244"/>
            </a:xfrm>
          </p:grpSpPr>
          <p:grpSp>
            <p:nvGrpSpPr>
              <p:cNvPr id="37" name="işḷîďè"/>
              <p:cNvGrpSpPr/>
              <p:nvPr/>
            </p:nvGrpSpPr>
            <p:grpSpPr>
              <a:xfrm>
                <a:off x="9312269" y="1356635"/>
                <a:ext cx="1052245" cy="1052244"/>
                <a:chOff x="9204656" y="1368991"/>
                <a:chExt cx="1130275" cy="1130274"/>
              </a:xfrm>
            </p:grpSpPr>
            <p:sp>
              <p:nvSpPr>
                <p:cNvPr id="39" name="iṣḻíďè"/>
                <p:cNvSpPr/>
                <p:nvPr/>
              </p:nvSpPr>
              <p:spPr>
                <a:xfrm rot="19904300">
                  <a:off x="9342926" y="1507262"/>
                  <a:ext cx="853735" cy="853733"/>
                </a:xfrm>
                <a:prstGeom prst="arc">
                  <a:avLst>
                    <a:gd name="adj1" fmla="val 16200000"/>
                    <a:gd name="adj2" fmla="val 12111527"/>
                  </a:avLst>
                </a:prstGeom>
                <a:ln w="76200" cap="rnd">
                  <a:gradFill>
                    <a:gsLst>
                      <a:gs pos="100000">
                        <a:schemeClr val="accent3">
                          <a:lumMod val="20000"/>
                          <a:lumOff val="80000"/>
                        </a:schemeClr>
                      </a:gs>
                      <a:gs pos="20000">
                        <a:schemeClr val="accent3">
                          <a:lumMod val="75000"/>
                        </a:schemeClr>
                      </a:gs>
                    </a:gsLst>
                    <a:lin ang="120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40" name="íṩlîḍè"/>
                <p:cNvSpPr/>
                <p:nvPr/>
              </p:nvSpPr>
              <p:spPr>
                <a:xfrm rot="13480020">
                  <a:off x="9204656" y="1368991"/>
                  <a:ext cx="1130275" cy="1130274"/>
                </a:xfrm>
                <a:prstGeom prst="arc">
                  <a:avLst>
                    <a:gd name="adj1" fmla="val 16200000"/>
                    <a:gd name="adj2" fmla="val 12111527"/>
                  </a:avLst>
                </a:prstGeom>
                <a:ln w="76200" cap="rnd">
                  <a:gradFill>
                    <a:gsLst>
                      <a:gs pos="100000">
                        <a:schemeClr val="bg1">
                          <a:lumMod val="95000"/>
                          <a:alpha val="0"/>
                        </a:schemeClr>
                      </a:gs>
                      <a:gs pos="20000">
                        <a:schemeClr val="bg1">
                          <a:lumMod val="95000"/>
                        </a:schemeClr>
                      </a:gs>
                    </a:gsLst>
                    <a:lin ang="120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sp>
            <p:nvSpPr>
              <p:cNvPr id="38" name="iśḷïḋé"/>
              <p:cNvSpPr/>
              <p:nvPr/>
            </p:nvSpPr>
            <p:spPr>
              <a:xfrm>
                <a:off x="9633291" y="1677658"/>
                <a:ext cx="410200" cy="410198"/>
              </a:xfrm>
              <a:prstGeom prst="ellipse">
                <a:avLst/>
              </a:prstGeom>
              <a:solidFill>
                <a:schemeClr val="accent3"/>
              </a:solidFill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rPr>
                  <a:t>3</a:t>
                </a:r>
                <a:endParaRPr kumimoji="0" lang="zh-CN" alt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</p:grpSp>
        <p:sp>
          <p:nvSpPr>
            <p:cNvPr id="34" name="íSḻïḓé"/>
            <p:cNvSpPr/>
            <p:nvPr/>
          </p:nvSpPr>
          <p:spPr>
            <a:xfrm>
              <a:off x="660399" y="3207834"/>
              <a:ext cx="1442720" cy="411480"/>
            </a:xfrm>
            <a:prstGeom prst="roundRect">
              <a:avLst/>
            </a:prstGeom>
            <a:gradFill>
              <a:gsLst>
                <a:gs pos="0">
                  <a:schemeClr val="accent3">
                    <a:lumMod val="60000"/>
                    <a:lumOff val="40000"/>
                  </a:schemeClr>
                </a:gs>
                <a:gs pos="60000">
                  <a:schemeClr val="accent3"/>
                </a:gs>
              </a:gsLst>
              <a:lin ang="2700000" scaled="0"/>
            </a:gradFill>
            <a:ln w="57150" cap="rnd">
              <a:noFill/>
              <a:prstDash val="solid"/>
              <a:round/>
            </a:ln>
            <a:effectLst>
              <a:outerShdw blurRad="50800" dist="50800" dir="5400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defTabSz="913765"/>
              <a:r>
                <a:rPr lang="en-US" altLang="zh-CN" sz="1200" b="1" dirty="0">
                  <a:solidFill>
                    <a:schemeClr val="bg1"/>
                  </a:solidFill>
                  <a:sym typeface="+mn-ea"/>
                </a:rPr>
                <a:t>PART THREE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pic>
        <p:nvPicPr>
          <p:cNvPr id="41" name="图片 40" descr="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34037" y="3100387"/>
            <a:ext cx="923925" cy="657225"/>
          </a:xfrm>
          <a:prstGeom prst="rect">
            <a:avLst/>
          </a:prstGeom>
        </p:spPr>
      </p:pic>
      <p:sp>
        <p:nvSpPr>
          <p:cNvPr id="2" name="e7d195523061f1c0" descr="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" hidden="1"/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</a:t>
            </a:r>
            <a:endParaRPr lang="zh-CN" altLang="en-US" sz="100"/>
          </a:p>
        </p:txBody>
      </p:sp>
      <p:grpSp>
        <p:nvGrpSpPr>
          <p:cNvPr id="12" name="ïṧḻïḋé" descr="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"/>
          <p:cNvGrpSpPr/>
          <p:nvPr/>
        </p:nvGrpSpPr>
        <p:grpSpPr>
          <a:xfrm>
            <a:off x="666080" y="1260924"/>
            <a:ext cx="10698604" cy="3747314"/>
            <a:chOff x="666080" y="1260924"/>
            <a:chExt cx="10698604" cy="3747314"/>
          </a:xfrm>
        </p:grpSpPr>
        <p:sp>
          <p:nvSpPr>
            <p:cNvPr id="16" name="íṩlîḍè"/>
            <p:cNvSpPr/>
            <p:nvPr/>
          </p:nvSpPr>
          <p:spPr>
            <a:xfrm rot="13480020">
              <a:off x="8817118" y="1260924"/>
              <a:ext cx="2547566" cy="2547564"/>
            </a:xfrm>
            <a:prstGeom prst="arc">
              <a:avLst>
                <a:gd name="adj1" fmla="val 16200000"/>
                <a:gd name="adj2" fmla="val 12111527"/>
              </a:avLst>
            </a:prstGeom>
            <a:ln w="76200" cap="rnd">
              <a:gradFill>
                <a:gsLst>
                  <a:gs pos="100000">
                    <a:schemeClr val="bg1">
                      <a:lumMod val="95000"/>
                      <a:alpha val="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20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8" name="íş1îḍè"/>
            <p:cNvSpPr txBox="1"/>
            <p:nvPr/>
          </p:nvSpPr>
          <p:spPr>
            <a:xfrm>
              <a:off x="666080" y="3932548"/>
              <a:ext cx="7360319" cy="10756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spAutoFit/>
            </a:bodyPr>
            <a:lstStyle>
              <a:defPPr>
                <a:defRPr lang="zh-CN"/>
              </a:defPPr>
              <a:lvl1pPr>
                <a:buSzPct val="25000"/>
                <a:defRPr sz="3600" b="1">
                  <a:latin typeface="Gadugi" panose="020B0502040204020203" pitchFamily="34" charset="0"/>
                  <a:ea typeface="Gadugi" panose="020B0502040204020203" pitchFamily="34" charset="0"/>
                </a:defRPr>
              </a:lvl1pPr>
            </a:lstStyle>
            <a:p>
              <a:pPr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4800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hat is IvorySQL</a:t>
              </a:r>
              <a:endParaRPr lang="en-US" altLang="zh-CN" sz="48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3200" b="0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IvorySQL</a:t>
              </a:r>
              <a:r>
                <a:rPr lang="zh-CN" altLang="en-US" sz="3200" b="0" dirty="0">
                  <a:solidFill>
                    <a:schemeClr val="bg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是什么</a:t>
              </a:r>
              <a:endParaRPr lang="zh-CN" altLang="en-US" sz="3200" b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cxnSp>
        <p:nvCxnSpPr>
          <p:cNvPr id="58" name="iṣḻïḋe"/>
          <p:cNvCxnSpPr/>
          <p:nvPr/>
        </p:nvCxnSpPr>
        <p:spPr>
          <a:xfrm>
            <a:off x="3151196" y="5034019"/>
            <a:ext cx="637989" cy="0"/>
          </a:xfrm>
          <a:prstGeom prst="line">
            <a:avLst/>
          </a:prstGeom>
          <a:ln w="76200" cap="rnd">
            <a:gradFill>
              <a:gsLst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  <a:gs pos="20000">
                  <a:schemeClr val="accent1"/>
                </a:gs>
              </a:gsLst>
              <a:lin ang="1200000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ís1idê"/>
          <p:cNvSpPr/>
          <p:nvPr>
            <p:custDataLst>
              <p:tags r:id="rId2"/>
            </p:custDataLst>
          </p:nvPr>
        </p:nvSpPr>
        <p:spPr>
          <a:xfrm>
            <a:off x="0" y="5604287"/>
            <a:ext cx="12192000" cy="631413"/>
          </a:xfrm>
          <a:prstGeom prst="rect">
            <a:avLst/>
          </a:prstGeom>
          <a:solidFill>
            <a:srgbClr val="E4EBFE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3"/>
    </p:custData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Shape-8"/>
          <p:cNvPicPr/>
          <p:nvPr>
            <p:custDataLst>
              <p:tags r:id="rId1"/>
            </p:custDataLst>
          </p:nvPr>
        </p:nvPicPr>
        <p:blipFill rotWithShape="1">
          <a:blip r:embed="rId2"/>
          <a:stretch>
            <a:fillRect/>
          </a:stretch>
        </p:blipFill>
        <p:spPr>
          <a:xfrm>
            <a:off x="63500" y="1238885"/>
            <a:ext cx="11654790" cy="5125720"/>
          </a:xfrm>
          <a:prstGeom prst="rect">
            <a:avLst/>
          </a:prstGeom>
        </p:spPr>
      </p:pic>
      <p:sp>
        <p:nvSpPr>
          <p:cNvPr id="13" name="椭圆 12"/>
          <p:cNvSpPr/>
          <p:nvPr>
            <p:custDataLst>
              <p:tags r:id="rId3"/>
            </p:custDataLst>
          </p:nvPr>
        </p:nvSpPr>
        <p:spPr>
          <a:xfrm>
            <a:off x="3635375" y="1820545"/>
            <a:ext cx="4530725" cy="340804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127625" y="2641600"/>
            <a:ext cx="1818005" cy="1818005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7101840" y="1656080"/>
            <a:ext cx="1362075" cy="1437640"/>
            <a:chOff x="11138" y="2725"/>
            <a:chExt cx="2145" cy="2264"/>
          </a:xfrm>
        </p:grpSpPr>
        <p:pic>
          <p:nvPicPr>
            <p:cNvPr id="15" name="图片 14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/>
            <a:stretch>
              <a:fillRect/>
            </a:stretch>
          </p:blipFill>
          <p:spPr>
            <a:xfrm>
              <a:off x="11456" y="2725"/>
              <a:ext cx="1508" cy="1435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>
              <p:custDataLst>
                <p:tags r:id="rId8"/>
              </p:custDataLst>
            </p:nvPr>
          </p:nvSpPr>
          <p:spPr>
            <a:xfrm>
              <a:off x="11138" y="4409"/>
              <a:ext cx="2145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经验</a:t>
              </a: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7101205" y="4339590"/>
            <a:ext cx="1362075" cy="1456690"/>
            <a:chOff x="11924" y="6928"/>
            <a:chExt cx="2145" cy="2294"/>
          </a:xfrm>
        </p:grpSpPr>
        <p:pic>
          <p:nvPicPr>
            <p:cNvPr id="16" name="图片 15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0"/>
            <a:stretch>
              <a:fillRect/>
            </a:stretch>
          </p:blipFill>
          <p:spPr>
            <a:xfrm>
              <a:off x="12392" y="6928"/>
              <a:ext cx="1209" cy="1400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>
              <p:custDataLst>
                <p:tags r:id="rId11"/>
              </p:custDataLst>
            </p:nvPr>
          </p:nvSpPr>
          <p:spPr>
            <a:xfrm>
              <a:off x="11924" y="8642"/>
              <a:ext cx="2145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需求</a:t>
              </a: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394075" y="4227830"/>
            <a:ext cx="1362075" cy="1628140"/>
            <a:chOff x="6086" y="6658"/>
            <a:chExt cx="2145" cy="2564"/>
          </a:xfrm>
        </p:grpSpPr>
        <p:sp>
          <p:nvSpPr>
            <p:cNvPr id="22" name="文本框 21"/>
            <p:cNvSpPr txBox="1"/>
            <p:nvPr>
              <p:custDataLst>
                <p:tags r:id="rId12"/>
              </p:custDataLst>
            </p:nvPr>
          </p:nvSpPr>
          <p:spPr>
            <a:xfrm>
              <a:off x="6086" y="8642"/>
              <a:ext cx="2145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诉求</a:t>
              </a: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3" name="图片 22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4"/>
            <a:stretch>
              <a:fillRect/>
            </a:stretch>
          </p:blipFill>
          <p:spPr>
            <a:xfrm>
              <a:off x="6342" y="6658"/>
              <a:ext cx="1632" cy="1752"/>
            </a:xfrm>
            <a:prstGeom prst="rect">
              <a:avLst/>
            </a:prstGeom>
          </p:spPr>
        </p:pic>
      </p:grpSp>
      <p:grpSp>
        <p:nvGrpSpPr>
          <p:cNvPr id="24" name="组合 23"/>
          <p:cNvGrpSpPr/>
          <p:nvPr/>
        </p:nvGrpSpPr>
        <p:grpSpPr>
          <a:xfrm>
            <a:off x="3312795" y="1403350"/>
            <a:ext cx="1362075" cy="1688465"/>
            <a:chOff x="5958" y="2210"/>
            <a:chExt cx="2145" cy="2659"/>
          </a:xfrm>
        </p:grpSpPr>
        <p:sp>
          <p:nvSpPr>
            <p:cNvPr id="25" name="文本框 24"/>
            <p:cNvSpPr txBox="1"/>
            <p:nvPr>
              <p:custDataLst>
                <p:tags r:id="rId15"/>
              </p:custDataLst>
            </p:nvPr>
          </p:nvSpPr>
          <p:spPr>
            <a:xfrm>
              <a:off x="5958" y="4289"/>
              <a:ext cx="2145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安全</a:t>
              </a: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6" name="图片 25" descr="微信图片_20220602111624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17"/>
            <a:stretch>
              <a:fillRect/>
            </a:stretch>
          </p:blipFill>
          <p:spPr>
            <a:xfrm>
              <a:off x="6009" y="2210"/>
              <a:ext cx="1965" cy="195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pc="3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7" name="文本框 6"/>
          <p:cNvSpPr txBox="1"/>
          <p:nvPr>
            <p:custDataLst>
              <p:tags r:id="rId1"/>
            </p:custDataLst>
          </p:nvPr>
        </p:nvSpPr>
        <p:spPr>
          <a:xfrm>
            <a:off x="721995" y="1619885"/>
            <a:ext cx="722884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由瀚高发起的开源项目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基于PostgreSQL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源分支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当前版本是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vorySQL Release 2.2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pache 2.0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源协议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00%与PostgreSQL兼容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579745" y="1059815"/>
            <a:ext cx="6318885" cy="579818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KSO_WM_BEAUTIFY_FLAG" val=""/>
</p:tagLst>
</file>

<file path=ppt/tags/tag10.xml><?xml version="1.0" encoding="utf-8"?>
<p:tagLst xmlns:p="http://schemas.openxmlformats.org/presentationml/2006/main">
  <p:tag name="KSO_WM_BEAUTIFY_FLAG" val=""/>
</p:tagLst>
</file>

<file path=ppt/tags/tag100.xml><?xml version="1.0" encoding="utf-8"?>
<p:tagLst xmlns:p="http://schemas.openxmlformats.org/presentationml/2006/main">
  <p:tag name="KSO_WM_BEAUTIFY_FLAG" val=""/>
</p:tagLst>
</file>

<file path=ppt/tags/tag101.xml><?xml version="1.0" encoding="utf-8"?>
<p:tagLst xmlns:p="http://schemas.openxmlformats.org/presentationml/2006/main">
  <p:tag name="KSO_WM_BEAUTIFY_FLAG" val=""/>
</p:tagLst>
</file>

<file path=ppt/tags/tag102.xml><?xml version="1.0" encoding="utf-8"?>
<p:tagLst xmlns:p="http://schemas.openxmlformats.org/presentationml/2006/main">
  <p:tag name="KSO_WM_BEAUTIFY_FLAG" val=""/>
</p:tagLst>
</file>

<file path=ppt/tags/tag103.xml><?xml version="1.0" encoding="utf-8"?>
<p:tagLst xmlns:p="http://schemas.openxmlformats.org/presentationml/2006/main">
  <p:tag name="KSO_WM_BEAUTIFY_FLAG" val=""/>
</p:tagLst>
</file>

<file path=ppt/tags/tag104.xml><?xml version="1.0" encoding="utf-8"?>
<p:tagLst xmlns:p="http://schemas.openxmlformats.org/presentationml/2006/main">
  <p:tag name="KSO_WM_BEAUTIFY_FLAG" val=""/>
</p:tagLst>
</file>

<file path=ppt/tags/tag105.xml><?xml version="1.0" encoding="utf-8"?>
<p:tagLst xmlns:p="http://schemas.openxmlformats.org/presentationml/2006/main">
  <p:tag name="KSO_WM_BEAUTIFY_FLAG" val=""/>
</p:tagLst>
</file>

<file path=ppt/tags/tag106.xml><?xml version="1.0" encoding="utf-8"?>
<p:tagLst xmlns:p="http://schemas.openxmlformats.org/presentationml/2006/main">
  <p:tag name="KSO_WM_BEAUTIFY_FLAG" val=""/>
</p:tagLst>
</file>

<file path=ppt/tags/tag107.xml><?xml version="1.0" encoding="utf-8"?>
<p:tagLst xmlns:p="http://schemas.openxmlformats.org/presentationml/2006/main">
  <p:tag name="KSO_WM_BEAUTIFY_FLAG" val=""/>
</p:tagLst>
</file>

<file path=ppt/tags/tag108.xml><?xml version="1.0" encoding="utf-8"?>
<p:tagLst xmlns:p="http://schemas.openxmlformats.org/presentationml/2006/main">
  <p:tag name="KSO_WM_BEAUTIFY_FLAG" val=""/>
</p:tagLst>
</file>

<file path=ppt/tags/tag109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10.xml><?xml version="1.0" encoding="utf-8"?>
<p:tagLst xmlns:p="http://schemas.openxmlformats.org/presentationml/2006/main">
  <p:tag name="KSO_WM_BEAUTIFY_FLAG" val=""/>
</p:tagLst>
</file>

<file path=ppt/tags/tag111.xml><?xml version="1.0" encoding="utf-8"?>
<p:tagLst xmlns:p="http://schemas.openxmlformats.org/presentationml/2006/main">
  <p:tag name="KSO_WM_BEAUTIFY_FLAG" val=""/>
</p:tagLst>
</file>

<file path=ppt/tags/tag112.xml><?xml version="1.0" encoding="utf-8"?>
<p:tagLst xmlns:p="http://schemas.openxmlformats.org/presentationml/2006/main">
  <p:tag name="KSO_WM_BEAUTIFY_FLAG" val=""/>
</p:tagLst>
</file>

<file path=ppt/tags/tag113.xml><?xml version="1.0" encoding="utf-8"?>
<p:tagLst xmlns:p="http://schemas.openxmlformats.org/presentationml/2006/main">
  <p:tag name="KSO_WM_BEAUTIFY_FLAG" val=""/>
</p:tagLst>
</file>

<file path=ppt/tags/tag114.xml><?xml version="1.0" encoding="utf-8"?>
<p:tagLst xmlns:p="http://schemas.openxmlformats.org/presentationml/2006/main">
  <p:tag name="KSO_WM_BEAUTIFY_FLAG" val=""/>
</p:tagLst>
</file>

<file path=ppt/tags/tag115.xml><?xml version="1.0" encoding="utf-8"?>
<p:tagLst xmlns:p="http://schemas.openxmlformats.org/presentationml/2006/main">
  <p:tag name="KSO_WM_BEAUTIFY_FLAG" val=""/>
</p:tagLst>
</file>

<file path=ppt/tags/tag116.xml><?xml version="1.0" encoding="utf-8"?>
<p:tagLst xmlns:p="http://schemas.openxmlformats.org/presentationml/2006/main">
  <p:tag name="KSO_WM_BEAUTIFY_FLAG" val=""/>
</p:tagLst>
</file>

<file path=ppt/tags/tag117.xml><?xml version="1.0" encoding="utf-8"?>
<p:tagLst xmlns:p="http://schemas.openxmlformats.org/presentationml/2006/main">
  <p:tag name="KSO_WM_BEAUTIFY_FLAG" val=""/>
</p:tagLst>
</file>

<file path=ppt/tags/tag118.xml><?xml version="1.0" encoding="utf-8"?>
<p:tagLst xmlns:p="http://schemas.openxmlformats.org/presentationml/2006/main">
  <p:tag name="KSO_WM_BEAUTIFY_FLAG" val=""/>
</p:tagLst>
</file>

<file path=ppt/tags/tag119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20.xml><?xml version="1.0" encoding="utf-8"?>
<p:tagLst xmlns:p="http://schemas.openxmlformats.org/presentationml/2006/main">
  <p:tag name="KSO_WM_BEAUTIFY_FLAG" val=""/>
</p:tagLst>
</file>

<file path=ppt/tags/tag121.xml><?xml version="1.0" encoding="utf-8"?>
<p:tagLst xmlns:p="http://schemas.openxmlformats.org/presentationml/2006/main">
  <p:tag name="KSO_WM_BEAUTIFY_FLAG" val=""/>
</p:tagLst>
</file>

<file path=ppt/tags/tag122.xml><?xml version="1.0" encoding="utf-8"?>
<p:tagLst xmlns:p="http://schemas.openxmlformats.org/presentationml/2006/main">
  <p:tag name="KSO_WM_BEAUTIFY_FLAG" val=""/>
</p:tagLst>
</file>

<file path=ppt/tags/tag123.xml><?xml version="1.0" encoding="utf-8"?>
<p:tagLst xmlns:p="http://schemas.openxmlformats.org/presentationml/2006/main">
  <p:tag name="KSO_WM_BEAUTIFY_FLAG" val=""/>
</p:tagLst>
</file>

<file path=ppt/tags/tag124.xml><?xml version="1.0" encoding="utf-8"?>
<p:tagLst xmlns:p="http://schemas.openxmlformats.org/presentationml/2006/main">
  <p:tag name="KSO_WM_BEAUTIFY_FLAG" val=""/>
</p:tagLst>
</file>

<file path=ppt/tags/tag125.xml><?xml version="1.0" encoding="utf-8"?>
<p:tagLst xmlns:p="http://schemas.openxmlformats.org/presentationml/2006/main">
  <p:tag name="KSO_WM_BEAUTIFY_FLAG" val=""/>
</p:tagLst>
</file>

<file path=ppt/tags/tag126.xml><?xml version="1.0" encoding="utf-8"?>
<p:tagLst xmlns:p="http://schemas.openxmlformats.org/presentationml/2006/main">
  <p:tag name="KSO_WM_BEAUTIFY_FLAG" val=""/>
</p:tagLst>
</file>

<file path=ppt/tags/tag127.xml><?xml version="1.0" encoding="utf-8"?>
<p:tagLst xmlns:p="http://schemas.openxmlformats.org/presentationml/2006/main">
  <p:tag name="KSO_WM_BEAUTIFY_FLAG" val=""/>
</p:tagLst>
</file>

<file path=ppt/tags/tag128.xml><?xml version="1.0" encoding="utf-8"?>
<p:tagLst xmlns:p="http://schemas.openxmlformats.org/presentationml/2006/main">
  <p:tag name="KSO_WM_BEAUTIFY_FLAG" val=""/>
</p:tagLst>
</file>

<file path=ppt/tags/tag129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30.xml><?xml version="1.0" encoding="utf-8"?>
<p:tagLst xmlns:p="http://schemas.openxmlformats.org/presentationml/2006/main">
  <p:tag name="KSO_WM_BEAUTIFY_FLAG" val=""/>
</p:tagLst>
</file>

<file path=ppt/tags/tag131.xml><?xml version="1.0" encoding="utf-8"?>
<p:tagLst xmlns:p="http://schemas.openxmlformats.org/presentationml/2006/main">
  <p:tag name="KSO_WM_BEAUTIFY_FLAG" val=""/>
</p:tagLst>
</file>

<file path=ppt/tags/tag132.xml><?xml version="1.0" encoding="utf-8"?>
<p:tagLst xmlns:p="http://schemas.openxmlformats.org/presentationml/2006/main">
  <p:tag name="KSO_WM_BEAUTIFY_FLAG" val=""/>
</p:tagLst>
</file>

<file path=ppt/tags/tag133.xml><?xml version="1.0" encoding="utf-8"?>
<p:tagLst xmlns:p="http://schemas.openxmlformats.org/presentationml/2006/main">
  <p:tag name="KSO_WM_BEAUTIFY_FLAG" val=""/>
</p:tagLst>
</file>

<file path=ppt/tags/tag134.xml><?xml version="1.0" encoding="utf-8"?>
<p:tagLst xmlns:p="http://schemas.openxmlformats.org/presentationml/2006/main">
  <p:tag name="KSO_WM_BEAUTIFY_FLAG" val=""/>
</p:tagLst>
</file>

<file path=ppt/tags/tag135.xml><?xml version="1.0" encoding="utf-8"?>
<p:tagLst xmlns:p="http://schemas.openxmlformats.org/presentationml/2006/main">
  <p:tag name="KSO_WM_BEAUTIFY_FLAG" val=""/>
</p:tagLst>
</file>

<file path=ppt/tags/tag136.xml><?xml version="1.0" encoding="utf-8"?>
<p:tagLst xmlns:p="http://schemas.openxmlformats.org/presentationml/2006/main">
  <p:tag name="KSO_WM_BEAUTIFY_FLAG" val=""/>
</p:tagLst>
</file>

<file path=ppt/tags/tag137.xml><?xml version="1.0" encoding="utf-8"?>
<p:tagLst xmlns:p="http://schemas.openxmlformats.org/presentationml/2006/main">
  <p:tag name="KSO_WM_BEAUTIFY_FLAG" val=""/>
</p:tagLst>
</file>

<file path=ppt/tags/tag138.xml><?xml version="1.0" encoding="utf-8"?>
<p:tagLst xmlns:p="http://schemas.openxmlformats.org/presentationml/2006/main">
  <p:tag name="KSO_WM_BEAUTIFY_FLAG" val=""/>
</p:tagLst>
</file>

<file path=ppt/tags/tag139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40.xml><?xml version="1.0" encoding="utf-8"?>
<p:tagLst xmlns:p="http://schemas.openxmlformats.org/presentationml/2006/main">
  <p:tag name="KSO_WM_BEAUTIFY_FLAG" val=""/>
</p:tagLst>
</file>

<file path=ppt/tags/tag141.xml><?xml version="1.0" encoding="utf-8"?>
<p:tagLst xmlns:p="http://schemas.openxmlformats.org/presentationml/2006/main">
  <p:tag name="KSO_WM_BEAUTIFY_FLAG" val=""/>
</p:tagLst>
</file>

<file path=ppt/tags/tag142.xml><?xml version="1.0" encoding="utf-8"?>
<p:tagLst xmlns:p="http://schemas.openxmlformats.org/presentationml/2006/main">
  <p:tag name="KSO_WM_BEAUTIFY_FLAG" val=""/>
</p:tagLst>
</file>

<file path=ppt/tags/tag143.xml><?xml version="1.0" encoding="utf-8"?>
<p:tagLst xmlns:p="http://schemas.openxmlformats.org/presentationml/2006/main">
  <p:tag name="KSO_WM_BEAUTIFY_FLAG" val=""/>
</p:tagLst>
</file>

<file path=ppt/tags/tag144.xml><?xml version="1.0" encoding="utf-8"?>
<p:tagLst xmlns:p="http://schemas.openxmlformats.org/presentationml/2006/main">
  <p:tag name="KSO_WM_BEAUTIFY_FLAG" val=""/>
</p:tagLst>
</file>

<file path=ppt/tags/tag145.xml><?xml version="1.0" encoding="utf-8"?>
<p:tagLst xmlns:p="http://schemas.openxmlformats.org/presentationml/2006/main">
  <p:tag name="KSO_WM_BEAUTIFY_FLAG" val=""/>
</p:tagLst>
</file>

<file path=ppt/tags/tag146.xml><?xml version="1.0" encoding="utf-8"?>
<p:tagLst xmlns:p="http://schemas.openxmlformats.org/presentationml/2006/main">
  <p:tag name="KSO_WM_BEAUTIFY_FLAG" val=""/>
</p:tagLst>
</file>

<file path=ppt/tags/tag147.xml><?xml version="1.0" encoding="utf-8"?>
<p:tagLst xmlns:p="http://schemas.openxmlformats.org/presentationml/2006/main">
  <p:tag name="KSO_WM_BEAUTIFY_FLAG" val=""/>
</p:tagLst>
</file>

<file path=ppt/tags/tag148.xml><?xml version="1.0" encoding="utf-8"?>
<p:tagLst xmlns:p="http://schemas.openxmlformats.org/presentationml/2006/main">
  <p:tag name="KSO_WM_BEAUTIFY_FLAG" val=""/>
</p:tagLst>
</file>

<file path=ppt/tags/tag149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50.xml><?xml version="1.0" encoding="utf-8"?>
<p:tagLst xmlns:p="http://schemas.openxmlformats.org/presentationml/2006/main">
  <p:tag name="KSO_WM_BEAUTIFY_FLAG" val=""/>
</p:tagLst>
</file>

<file path=ppt/tags/tag151.xml><?xml version="1.0" encoding="utf-8"?>
<p:tagLst xmlns:p="http://schemas.openxmlformats.org/presentationml/2006/main">
  <p:tag name="KSO_WM_BEAUTIFY_FLAG" val=""/>
</p:tagLst>
</file>

<file path=ppt/tags/tag152.xml><?xml version="1.0" encoding="utf-8"?>
<p:tagLst xmlns:p="http://schemas.openxmlformats.org/presentationml/2006/main">
  <p:tag name="KSO_WM_BEAUTIFY_FLAG" val=""/>
</p:tagLst>
</file>

<file path=ppt/tags/tag153.xml><?xml version="1.0" encoding="utf-8"?>
<p:tagLst xmlns:p="http://schemas.openxmlformats.org/presentationml/2006/main">
  <p:tag name="KSO_WM_BEAUTIFY_FLAG" val=""/>
</p:tagLst>
</file>

<file path=ppt/tags/tag154.xml><?xml version="1.0" encoding="utf-8"?>
<p:tagLst xmlns:p="http://schemas.openxmlformats.org/presentationml/2006/main">
  <p:tag name="KSO_WM_BEAUTIFY_FLAG" val=""/>
</p:tagLst>
</file>

<file path=ppt/tags/tag155.xml><?xml version="1.0" encoding="utf-8"?>
<p:tagLst xmlns:p="http://schemas.openxmlformats.org/presentationml/2006/main">
  <p:tag name="KSO_WM_BEAUTIFY_FLAG" val=""/>
</p:tagLst>
</file>

<file path=ppt/tags/tag156.xml><?xml version="1.0" encoding="utf-8"?>
<p:tagLst xmlns:p="http://schemas.openxmlformats.org/presentationml/2006/main">
  <p:tag name="KSO_WM_BEAUTIFY_FLAG" val=""/>
</p:tagLst>
</file>

<file path=ppt/tags/tag157.xml><?xml version="1.0" encoding="utf-8"?>
<p:tagLst xmlns:p="http://schemas.openxmlformats.org/presentationml/2006/main">
  <p:tag name="KSO_WM_BEAUTIFY_FLAG" val=""/>
</p:tagLst>
</file>

<file path=ppt/tags/tag158.xml><?xml version="1.0" encoding="utf-8"?>
<p:tagLst xmlns:p="http://schemas.openxmlformats.org/presentationml/2006/main">
  <p:tag name="KSO_WM_BEAUTIFY_FLAG" val=""/>
</p:tagLst>
</file>

<file path=ppt/tags/tag159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60.xml><?xml version="1.0" encoding="utf-8"?>
<p:tagLst xmlns:p="http://schemas.openxmlformats.org/presentationml/2006/main">
  <p:tag name="KSO_WM_BEAUTIFY_FLAG" val=""/>
</p:tagLst>
</file>

<file path=ppt/tags/tag161.xml><?xml version="1.0" encoding="utf-8"?>
<p:tagLst xmlns:p="http://schemas.openxmlformats.org/presentationml/2006/main">
  <p:tag name="KSO_WM_BEAUTIFY_FLAG" val=""/>
</p:tagLst>
</file>

<file path=ppt/tags/tag162.xml><?xml version="1.0" encoding="utf-8"?>
<p:tagLst xmlns:p="http://schemas.openxmlformats.org/presentationml/2006/main">
  <p:tag name="KSO_WM_BEAUTIFY_FLAG" val=""/>
</p:tagLst>
</file>

<file path=ppt/tags/tag163.xml><?xml version="1.0" encoding="utf-8"?>
<p:tagLst xmlns:p="http://schemas.openxmlformats.org/presentationml/2006/main">
  <p:tag name="KSO_WM_BEAUTIFY_FLAG" val=""/>
</p:tagLst>
</file>

<file path=ppt/tags/tag164.xml><?xml version="1.0" encoding="utf-8"?>
<p:tagLst xmlns:p="http://schemas.openxmlformats.org/presentationml/2006/main">
  <p:tag name="KSO_WM_BEAUTIFY_FLAG" val=""/>
</p:tagLst>
</file>

<file path=ppt/tags/tag165.xml><?xml version="1.0" encoding="utf-8"?>
<p:tagLst xmlns:p="http://schemas.openxmlformats.org/presentationml/2006/main">
  <p:tag name="KSO_WM_BEAUTIFY_FLAG" val=""/>
</p:tagLst>
</file>

<file path=ppt/tags/tag166.xml><?xml version="1.0" encoding="utf-8"?>
<p:tagLst xmlns:p="http://schemas.openxmlformats.org/presentationml/2006/main">
  <p:tag name="KSO_WM_BEAUTIFY_FLAG" val=""/>
</p:tagLst>
</file>

<file path=ppt/tags/tag167.xml><?xml version="1.0" encoding="utf-8"?>
<p:tagLst xmlns:p="http://schemas.openxmlformats.org/presentationml/2006/main">
  <p:tag name="KSO_WM_BEAUTIFY_FLAG" val=""/>
</p:tagLst>
</file>

<file path=ppt/tags/tag168.xml><?xml version="1.0" encoding="utf-8"?>
<p:tagLst xmlns:p="http://schemas.openxmlformats.org/presentationml/2006/main">
  <p:tag name="KSO_WM_BEAUTIFY_FLAG" val=""/>
</p:tagLst>
</file>

<file path=ppt/tags/tag169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70.xml><?xml version="1.0" encoding="utf-8"?>
<p:tagLst xmlns:p="http://schemas.openxmlformats.org/presentationml/2006/main">
  <p:tag name="KSO_WM_BEAUTIFY_FLAG" val=""/>
</p:tagLst>
</file>

<file path=ppt/tags/tag171.xml><?xml version="1.0" encoding="utf-8"?>
<p:tagLst xmlns:p="http://schemas.openxmlformats.org/presentationml/2006/main">
  <p:tag name="KSO_WM_BEAUTIFY_FLAG" val=""/>
</p:tagLst>
</file>

<file path=ppt/tags/tag172.xml><?xml version="1.0" encoding="utf-8"?>
<p:tagLst xmlns:p="http://schemas.openxmlformats.org/presentationml/2006/main">
  <p:tag name="KSO_WM_BEAUTIFY_FLAG" val=""/>
</p:tagLst>
</file>

<file path=ppt/tags/tag173.xml><?xml version="1.0" encoding="utf-8"?>
<p:tagLst xmlns:p="http://schemas.openxmlformats.org/presentationml/2006/main">
  <p:tag name="KSO_WM_BEAUTIFY_FLAG" val=""/>
</p:tagLst>
</file>

<file path=ppt/tags/tag174.xml><?xml version="1.0" encoding="utf-8"?>
<p:tagLst xmlns:p="http://schemas.openxmlformats.org/presentationml/2006/main">
  <p:tag name="KSO_WM_BEAUTIFY_FLAG" val=""/>
</p:tagLst>
</file>

<file path=ppt/tags/tag175.xml><?xml version="1.0" encoding="utf-8"?>
<p:tagLst xmlns:p="http://schemas.openxmlformats.org/presentationml/2006/main">
  <p:tag name="KSO_WM_BEAUTIFY_FLAG" val=""/>
</p:tagLst>
</file>

<file path=ppt/tags/tag176.xml><?xml version="1.0" encoding="utf-8"?>
<p:tagLst xmlns:p="http://schemas.openxmlformats.org/presentationml/2006/main">
  <p:tag name="KSO_WM_BEAUTIFY_FLAG" val=""/>
</p:tagLst>
</file>

<file path=ppt/tags/tag177.xml><?xml version="1.0" encoding="utf-8"?>
<p:tagLst xmlns:p="http://schemas.openxmlformats.org/presentationml/2006/main">
  <p:tag name="KSO_WM_BEAUTIFY_FLAG" val=""/>
</p:tagLst>
</file>

<file path=ppt/tags/tag178.xml><?xml version="1.0" encoding="utf-8"?>
<p:tagLst xmlns:p="http://schemas.openxmlformats.org/presentationml/2006/main">
  <p:tag name="KSO_WM_BEAUTIFY_FLAG" val=""/>
</p:tagLst>
</file>

<file path=ppt/tags/tag179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80.xml><?xml version="1.0" encoding="utf-8"?>
<p:tagLst xmlns:p="http://schemas.openxmlformats.org/presentationml/2006/main">
  <p:tag name="KSO_WM_BEAUTIFY_FLAG" val=""/>
</p:tagLst>
</file>

<file path=ppt/tags/tag181.xml><?xml version="1.0" encoding="utf-8"?>
<p:tagLst xmlns:p="http://schemas.openxmlformats.org/presentationml/2006/main">
  <p:tag name="KSO_WM_BEAUTIFY_FLAG" val=""/>
</p:tagLst>
</file>

<file path=ppt/tags/tag182.xml><?xml version="1.0" encoding="utf-8"?>
<p:tagLst xmlns:p="http://schemas.openxmlformats.org/presentationml/2006/main">
  <p:tag name="KSO_WM_BEAUTIFY_FLAG" val=""/>
</p:tagLst>
</file>

<file path=ppt/tags/tag183.xml><?xml version="1.0" encoding="utf-8"?>
<p:tagLst xmlns:p="http://schemas.openxmlformats.org/presentationml/2006/main">
  <p:tag name="KSO_WM_BEAUTIFY_FLAG" val=""/>
</p:tagLst>
</file>

<file path=ppt/tags/tag184.xml><?xml version="1.0" encoding="utf-8"?>
<p:tagLst xmlns:p="http://schemas.openxmlformats.org/presentationml/2006/main">
  <p:tag name="KSO_WM_BEAUTIFY_FLAG" val=""/>
</p:tagLst>
</file>

<file path=ppt/tags/tag185.xml><?xml version="1.0" encoding="utf-8"?>
<p:tagLst xmlns:p="http://schemas.openxmlformats.org/presentationml/2006/main">
  <p:tag name="KSO_WM_BEAUTIFY_FLAG" val=""/>
</p:tagLst>
</file>

<file path=ppt/tags/tag186.xml><?xml version="1.0" encoding="utf-8"?>
<p:tagLst xmlns:p="http://schemas.openxmlformats.org/presentationml/2006/main">
  <p:tag name="KSO_WM_BEAUTIFY_FLAG" val=""/>
</p:tagLst>
</file>

<file path=ppt/tags/tag187.xml><?xml version="1.0" encoding="utf-8"?>
<p:tagLst xmlns:p="http://schemas.openxmlformats.org/presentationml/2006/main">
  <p:tag name="KSO_WM_BEAUTIFY_FLAG" val=""/>
</p:tagLst>
</file>

<file path=ppt/tags/tag188.xml><?xml version="1.0" encoding="utf-8"?>
<p:tagLst xmlns:p="http://schemas.openxmlformats.org/presentationml/2006/main">
  <p:tag name="KSO_WM_BEAUTIFY_FLAG" val=""/>
</p:tagLst>
</file>

<file path=ppt/tags/tag189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190.xml><?xml version="1.0" encoding="utf-8"?>
<p:tagLst xmlns:p="http://schemas.openxmlformats.org/presentationml/2006/main">
  <p:tag name="KSO_WM_BEAUTIFY_FLAG" val=""/>
</p:tagLst>
</file>

<file path=ppt/tags/tag191.xml><?xml version="1.0" encoding="utf-8"?>
<p:tagLst xmlns:p="http://schemas.openxmlformats.org/presentationml/2006/main">
  <p:tag name="KSO_WM_BEAUTIFY_FLAG" val=""/>
</p:tagLst>
</file>

<file path=ppt/tags/tag192.xml><?xml version="1.0" encoding="utf-8"?>
<p:tagLst xmlns:p="http://schemas.openxmlformats.org/presentationml/2006/main">
  <p:tag name="KSO_WM_BEAUTIFY_FLAG" val=""/>
</p:tagLst>
</file>

<file path=ppt/tags/tag193.xml><?xml version="1.0" encoding="utf-8"?>
<p:tagLst xmlns:p="http://schemas.openxmlformats.org/presentationml/2006/main">
  <p:tag name="KSO_WM_BEAUTIFY_FLAG" val=""/>
</p:tagLst>
</file>

<file path=ppt/tags/tag194.xml><?xml version="1.0" encoding="utf-8"?>
<p:tagLst xmlns:p="http://schemas.openxmlformats.org/presentationml/2006/main">
  <p:tag name="KSO_WM_BEAUTIFY_FLAG" val=""/>
</p:tagLst>
</file>

<file path=ppt/tags/tag195.xml><?xml version="1.0" encoding="utf-8"?>
<p:tagLst xmlns:p="http://schemas.openxmlformats.org/presentationml/2006/main">
  <p:tag name="KSO_WM_BEAUTIFY_FLAG" val=""/>
</p:tagLst>
</file>

<file path=ppt/tags/tag196.xml><?xml version="1.0" encoding="utf-8"?>
<p:tagLst xmlns:p="http://schemas.openxmlformats.org/presentationml/2006/main">
  <p:tag name="KSO_WM_BEAUTIFY_FLAG" val=""/>
</p:tagLst>
</file>

<file path=ppt/tags/tag197.xml><?xml version="1.0" encoding="utf-8"?>
<p:tagLst xmlns:p="http://schemas.openxmlformats.org/presentationml/2006/main">
  <p:tag name="KSO_WM_BEAUTIFY_FLAG" val=""/>
</p:tagLst>
</file>

<file path=ppt/tags/tag198.xml><?xml version="1.0" encoding="utf-8"?>
<p:tagLst xmlns:p="http://schemas.openxmlformats.org/presentationml/2006/main">
  <p:tag name="KSO_WM_BEAUTIFY_FLAG" val=""/>
</p:tagLst>
</file>

<file path=ppt/tags/tag19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KSO_WM_BEAUTIFY_FLAG" val=""/>
</p:tagLst>
</file>

<file path=ppt/tags/tag200.xml><?xml version="1.0" encoding="utf-8"?>
<p:tagLst xmlns:p="http://schemas.openxmlformats.org/presentationml/2006/main">
  <p:tag name="KSO_WM_BEAUTIFY_FLAG" val=""/>
</p:tagLst>
</file>

<file path=ppt/tags/tag201.xml><?xml version="1.0" encoding="utf-8"?>
<p:tagLst xmlns:p="http://schemas.openxmlformats.org/presentationml/2006/main">
  <p:tag name="KSO_WM_BEAUTIFY_FLAG" val=""/>
</p:tagLst>
</file>

<file path=ppt/tags/tag202.xml><?xml version="1.0" encoding="utf-8"?>
<p:tagLst xmlns:p="http://schemas.openxmlformats.org/presentationml/2006/main">
  <p:tag name="KSO_WM_BEAUTIFY_FLAG" val=""/>
</p:tagLst>
</file>

<file path=ppt/tags/tag203.xml><?xml version="1.0" encoding="utf-8"?>
<p:tagLst xmlns:p="http://schemas.openxmlformats.org/presentationml/2006/main">
  <p:tag name="KSO_WM_BEAUTIFY_FLAG" val=""/>
</p:tagLst>
</file>

<file path=ppt/tags/tag204.xml><?xml version="1.0" encoding="utf-8"?>
<p:tagLst xmlns:p="http://schemas.openxmlformats.org/presentationml/2006/main">
  <p:tag name="KSO_WM_BEAUTIFY_FLAG" val=""/>
</p:tagLst>
</file>

<file path=ppt/tags/tag205.xml><?xml version="1.0" encoding="utf-8"?>
<p:tagLst xmlns:p="http://schemas.openxmlformats.org/presentationml/2006/main">
  <p:tag name="KSO_WM_BEAUTIFY_FLAG" val=""/>
</p:tagLst>
</file>

<file path=ppt/tags/tag206.xml><?xml version="1.0" encoding="utf-8"?>
<p:tagLst xmlns:p="http://schemas.openxmlformats.org/presentationml/2006/main">
  <p:tag name="KSO_WM_BEAUTIFY_FLAG" val=""/>
</p:tagLst>
</file>

<file path=ppt/tags/tag207.xml><?xml version="1.0" encoding="utf-8"?>
<p:tagLst xmlns:p="http://schemas.openxmlformats.org/presentationml/2006/main">
  <p:tag name="KSO_WM_BEAUTIFY_FLAG" val=""/>
</p:tagLst>
</file>

<file path=ppt/tags/tag208.xml><?xml version="1.0" encoding="utf-8"?>
<p:tagLst xmlns:p="http://schemas.openxmlformats.org/presentationml/2006/main">
  <p:tag name="KSO_WM_BEAUTIFY_FLAG" val=""/>
</p:tagLst>
</file>

<file path=ppt/tags/tag209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10.xml><?xml version="1.0" encoding="utf-8"?>
<p:tagLst xmlns:p="http://schemas.openxmlformats.org/presentationml/2006/main">
  <p:tag name="KSO_WM_BEAUTIFY_FLAG" val=""/>
</p:tagLst>
</file>

<file path=ppt/tags/tag211.xml><?xml version="1.0" encoding="utf-8"?>
<p:tagLst xmlns:p="http://schemas.openxmlformats.org/presentationml/2006/main">
  <p:tag name="KSO_WM_BEAUTIFY_FLAG" val=""/>
</p:tagLst>
</file>

<file path=ppt/tags/tag212.xml><?xml version="1.0" encoding="utf-8"?>
<p:tagLst xmlns:p="http://schemas.openxmlformats.org/presentationml/2006/main">
  <p:tag name="KSO_WM_BEAUTIFY_FLAG" val=""/>
</p:tagLst>
</file>

<file path=ppt/tags/tag213.xml><?xml version="1.0" encoding="utf-8"?>
<p:tagLst xmlns:p="http://schemas.openxmlformats.org/presentationml/2006/main">
  <p:tag name="KSO_WM_BEAUTIFY_FLAG" val=""/>
</p:tagLst>
</file>

<file path=ppt/tags/tag214.xml><?xml version="1.0" encoding="utf-8"?>
<p:tagLst xmlns:p="http://schemas.openxmlformats.org/presentationml/2006/main">
  <p:tag name="KSO_WM_BEAUTIFY_FLAG" val=""/>
</p:tagLst>
</file>

<file path=ppt/tags/tag215.xml><?xml version="1.0" encoding="utf-8"?>
<p:tagLst xmlns:p="http://schemas.openxmlformats.org/presentationml/2006/main">
  <p:tag name="KSO_WM_BEAUTIFY_FLAG" val=""/>
</p:tagLst>
</file>

<file path=ppt/tags/tag216.xml><?xml version="1.0" encoding="utf-8"?>
<p:tagLst xmlns:p="http://schemas.openxmlformats.org/presentationml/2006/main">
  <p:tag name="KSO_WM_BEAUTIFY_FLAG" val=""/>
</p:tagLst>
</file>

<file path=ppt/tags/tag217.xml><?xml version="1.0" encoding="utf-8"?>
<p:tagLst xmlns:p="http://schemas.openxmlformats.org/presentationml/2006/main">
  <p:tag name="KSO_WM_BEAUTIFY_FLAG" val=""/>
</p:tagLst>
</file>

<file path=ppt/tags/tag218.xml><?xml version="1.0" encoding="utf-8"?>
<p:tagLst xmlns:p="http://schemas.openxmlformats.org/presentationml/2006/main">
  <p:tag name="KSO_WM_BEAUTIFY_FLAG" val=""/>
</p:tagLst>
</file>

<file path=ppt/tags/tag219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20.xml><?xml version="1.0" encoding="utf-8"?>
<p:tagLst xmlns:p="http://schemas.openxmlformats.org/presentationml/2006/main">
  <p:tag name="KSO_WM_BEAUTIFY_FLAG" val=""/>
</p:tagLst>
</file>

<file path=ppt/tags/tag221.xml><?xml version="1.0" encoding="utf-8"?>
<p:tagLst xmlns:p="http://schemas.openxmlformats.org/presentationml/2006/main">
  <p:tag name="KSO_WM_BEAUTIFY_FLAG" val=""/>
</p:tagLst>
</file>

<file path=ppt/tags/tag222.xml><?xml version="1.0" encoding="utf-8"?>
<p:tagLst xmlns:p="http://schemas.openxmlformats.org/presentationml/2006/main">
  <p:tag name="KSO_WM_BEAUTIFY_FLAG" val=""/>
</p:tagLst>
</file>

<file path=ppt/tags/tag223.xml><?xml version="1.0" encoding="utf-8"?>
<p:tagLst xmlns:p="http://schemas.openxmlformats.org/presentationml/2006/main">
  <p:tag name="KSO_WM_BEAUTIFY_FLAG" val=""/>
</p:tagLst>
</file>

<file path=ppt/tags/tag224.xml><?xml version="1.0" encoding="utf-8"?>
<p:tagLst xmlns:p="http://schemas.openxmlformats.org/presentationml/2006/main">
  <p:tag name="KSO_WM_BEAUTIFY_FLAG" val=""/>
</p:tagLst>
</file>

<file path=ppt/tags/tag225.xml><?xml version="1.0" encoding="utf-8"?>
<p:tagLst xmlns:p="http://schemas.openxmlformats.org/presentationml/2006/main">
  <p:tag name="KSO_WM_BEAUTIFY_FLAG" val=""/>
</p:tagLst>
</file>

<file path=ppt/tags/tag226.xml><?xml version="1.0" encoding="utf-8"?>
<p:tagLst xmlns:p="http://schemas.openxmlformats.org/presentationml/2006/main">
  <p:tag name="KSO_WM_BEAUTIFY_FLAG" val=""/>
</p:tagLst>
</file>

<file path=ppt/tags/tag227.xml><?xml version="1.0" encoding="utf-8"?>
<p:tagLst xmlns:p="http://schemas.openxmlformats.org/presentationml/2006/main">
  <p:tag name="THINKCELLSHAPEDONOTDELETE" val="thinkcellActiveDocDoNotDelete"/>
</p:tagLst>
</file>

<file path=ppt/tags/tag228.xml><?xml version="1.0" encoding="utf-8"?>
<p:tagLst xmlns:p="http://schemas.openxmlformats.org/presentationml/2006/main">
  <p:tag name="THINKCELLSHAPEDONOTDELETE" val="t1Smkff3fSzGMOuItfjj3Fw"/>
</p:tagLst>
</file>

<file path=ppt/tags/tag229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9328476-1967-40c8-956a-ae77ed6f3f5f"/>
  <p:tag name="KSO_WPP_MARK_KEY" val="b6615204-e759-495b-be2f-80de8b95d91e"/>
  <p:tag name="COMMONDATA" val="eyJoZGlkIjoiZjJkYTdhMTExMTA1ZWM0MzYzZWExMzY4NzQxNWU5NWEifQ==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ISLIDE.DIAGRAM" val="#497680;#495085;#476194;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BEAUTIFY_FLAG" val=""/>
</p:tagLst>
</file>

<file path=ppt/tags/tag40.xml><?xml version="1.0" encoding="utf-8"?>
<p:tagLst xmlns:p="http://schemas.openxmlformats.org/presentationml/2006/main">
  <p:tag name="KSO_WM_BEAUTIFY_FLAG" val="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BEAUTIFY_FLAG" val=""/>
</p:tagLst>
</file>

<file path=ppt/tags/tag55.xml><?xml version="1.0" encoding="utf-8"?>
<p:tagLst xmlns:p="http://schemas.openxmlformats.org/presentationml/2006/main">
  <p:tag name="KSO_WM_BEAUTIFY_FLAG" val=""/>
</p:tagLst>
</file>

<file path=ppt/tags/tag56.xml><?xml version="1.0" encoding="utf-8"?>
<p:tagLst xmlns:p="http://schemas.openxmlformats.org/presentationml/2006/main">
  <p:tag name="KSO_WM_BEAUTIFY_FLAG" val=""/>
</p:tagLst>
</file>

<file path=ppt/tags/tag57.xml><?xml version="1.0" encoding="utf-8"?>
<p:tagLst xmlns:p="http://schemas.openxmlformats.org/presentationml/2006/main">
  <p:tag name="KSO_WM_BEAUTIFY_FLAG" val=""/>
</p:tagLst>
</file>

<file path=ppt/tags/tag58.xml><?xml version="1.0" encoding="utf-8"?>
<p:tagLst xmlns:p="http://schemas.openxmlformats.org/presentationml/2006/main">
  <p:tag name="KSO_WM_BEAUTIFY_FLAG" val=""/>
</p:tagLst>
</file>

<file path=ppt/tags/tag59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60.xml><?xml version="1.0" encoding="utf-8"?>
<p:tagLst xmlns:p="http://schemas.openxmlformats.org/presentationml/2006/main">
  <p:tag name="KSO_WM_BEAUTIFY_FLAG" val="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70.xml><?xml version="1.0" encoding="utf-8"?>
<p:tagLst xmlns:p="http://schemas.openxmlformats.org/presentationml/2006/main">
  <p:tag name="KSO_WM_BEAUTIFY_FLAG" val=""/>
</p:tagLst>
</file>

<file path=ppt/tags/tag71.xml><?xml version="1.0" encoding="utf-8"?>
<p:tagLst xmlns:p="http://schemas.openxmlformats.org/presentationml/2006/main">
  <p:tag name="KSO_WM_BEAUTIFY_FLAG" val="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BEAUTIFY_FLAG" val=""/>
</p:tagLst>
</file>

<file path=ppt/tags/tag74.xml><?xml version="1.0" encoding="utf-8"?>
<p:tagLst xmlns:p="http://schemas.openxmlformats.org/presentationml/2006/main">
  <p:tag name="KSO_WM_BEAUTIFY_FLAG" val="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BEAUTIFY_FLAG" val=""/>
</p:tagLst>
</file>

<file path=ppt/tags/tag79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80.xml><?xml version="1.0" encoding="utf-8"?>
<p:tagLst xmlns:p="http://schemas.openxmlformats.org/presentationml/2006/main">
  <p:tag name="KSO_WM_BEAUTIFY_FLAG" val=""/>
</p:tagLst>
</file>

<file path=ppt/tags/tag81.xml><?xml version="1.0" encoding="utf-8"?>
<p:tagLst xmlns:p="http://schemas.openxmlformats.org/presentationml/2006/main">
  <p:tag name="KSO_WM_BEAUTIFY_FLAG" val="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M_BEAUTIFY_FLAG" val=""/>
</p:tagLst>
</file>

<file path=ppt/tags/tag95.xml><?xml version="1.0" encoding="utf-8"?>
<p:tagLst xmlns:p="http://schemas.openxmlformats.org/presentationml/2006/main">
  <p:tag name="KSO_WM_BEAUTIFY_FLAG" val=""/>
</p:tagLst>
</file>

<file path=ppt/tags/tag96.xml><?xml version="1.0" encoding="utf-8"?>
<p:tagLst xmlns:p="http://schemas.openxmlformats.org/presentationml/2006/main">
  <p:tag name="KSO_WM_BEAUTIFY_FLAG" val=""/>
</p:tagLst>
</file>

<file path=ppt/tags/tag97.xml><?xml version="1.0" encoding="utf-8"?>
<p:tagLst xmlns:p="http://schemas.openxmlformats.org/presentationml/2006/main">
  <p:tag name="KSO_WM_BEAUTIFY_FLAG" val="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1A66"/>
      </a:accent1>
      <a:accent2>
        <a:srgbClr val="1C7DFF"/>
      </a:accent2>
      <a:accent3>
        <a:srgbClr val="0066F1"/>
      </a:accent3>
      <a:accent4>
        <a:srgbClr val="779AF8"/>
      </a:accent4>
      <a:accent5>
        <a:srgbClr val="56E395"/>
      </a:accent5>
      <a:accent6>
        <a:srgbClr val="F4BA4A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1A66"/>
    </a:accent1>
    <a:accent2>
      <a:srgbClr val="1C7DFF"/>
    </a:accent2>
    <a:accent3>
      <a:srgbClr val="0066F1"/>
    </a:accent3>
    <a:accent4>
      <a:srgbClr val="779AF8"/>
    </a:accent4>
    <a:accent5>
      <a:srgbClr val="56E395"/>
    </a:accent5>
    <a:accent6>
      <a:srgbClr val="F4BA4A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2804</Words>
  <Application>WPS 演示</Application>
  <PresentationFormat>宽屏</PresentationFormat>
  <Paragraphs>404</Paragraphs>
  <Slides>22</Slides>
  <Notes>20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9" baseType="lpstr">
      <vt:lpstr>Arial</vt:lpstr>
      <vt:lpstr>宋体</vt:lpstr>
      <vt:lpstr>Wingdings</vt:lpstr>
      <vt:lpstr>微软雅黑</vt:lpstr>
      <vt:lpstr>方正细圆简体</vt:lpstr>
      <vt:lpstr>Arial Unicode MS</vt:lpstr>
      <vt:lpstr>Arial</vt:lpstr>
      <vt:lpstr>等线</vt:lpstr>
      <vt:lpstr>Gadugi</vt:lpstr>
      <vt:lpstr>Calibri</vt:lpstr>
      <vt:lpstr>Montserrat</vt:lpstr>
      <vt:lpstr>Segoe Print</vt:lpstr>
      <vt:lpstr>Abadi</vt:lpstr>
      <vt:lpstr>Segoe UI Semibold</vt:lpstr>
      <vt:lpstr>微软雅黑 Light</vt:lpstr>
      <vt:lpstr>主题5</vt:lpstr>
      <vt:lpstr>TCLayout.ActiveDocument.1</vt:lpstr>
      <vt:lpstr>PowerPoint 演示文稿</vt:lpstr>
      <vt:lpstr>国际交流与合作</vt:lpstr>
      <vt:lpstr>国际交流与合作</vt:lpstr>
      <vt:lpstr>国际交流与合作</vt:lpstr>
      <vt:lpstr>开源贡献</vt:lpstr>
      <vt:lpstr>人才培养</vt:lpstr>
      <vt:lpstr>PowerPoint 演示文稿</vt:lpstr>
      <vt:lpstr>项目背景</vt:lpstr>
      <vt:lpstr>项目介绍</vt:lpstr>
      <vt:lpstr>项目历程</vt:lpstr>
      <vt:lpstr>PowerPoint 演示文稿</vt:lpstr>
      <vt:lpstr>IvorySQL V2.2</vt:lpstr>
      <vt:lpstr>源代码库</vt:lpstr>
      <vt:lpstr>PowerPoint 演示文稿</vt:lpstr>
      <vt:lpstr>IvorySQL 2整体架构</vt:lpstr>
      <vt:lpstr>Oracle-PL/iSQL language</vt:lpstr>
      <vt:lpstr>标题</vt:lpstr>
      <vt:lpstr>IvorySQL 3整体架构</vt:lpstr>
      <vt:lpstr>IvorySQL 3整体架构</vt:lpstr>
      <vt:lpstr>贡献IvorySQL</vt:lpstr>
      <vt:lpstr>加入我们 Join us!</vt:lpstr>
      <vt:lpstr>做开源  我们是认真的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tanyang</cp:lastModifiedBy>
  <cp:revision>150</cp:revision>
  <cp:lastPrinted>2019-05-23T16:00:00Z</cp:lastPrinted>
  <dcterms:created xsi:type="dcterms:W3CDTF">2019-05-23T16:00:00Z</dcterms:created>
  <dcterms:modified xsi:type="dcterms:W3CDTF">2023-06-16T09:0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14309</vt:lpwstr>
  </property>
  <property fmtid="{D5CDD505-2E9C-101B-9397-08002B2CF9AE}" pid="4" name="ICV">
    <vt:lpwstr>962B3129377344B597814DC0461537BA_12</vt:lpwstr>
  </property>
</Properties>
</file>